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2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23.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24.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4740" r:id="rId4"/>
    <p:sldMasterId id="2147484757" r:id="rId5"/>
    <p:sldMasterId id="2147484769" r:id="rId6"/>
    <p:sldMasterId id="2147484788" r:id="rId7"/>
    <p:sldMasterId id="2147484793" r:id="rId8"/>
  </p:sldMasterIdLst>
  <p:notesMasterIdLst>
    <p:notesMasterId r:id="rId81"/>
  </p:notesMasterIdLst>
  <p:handoutMasterIdLst>
    <p:handoutMasterId r:id="rId82"/>
  </p:handoutMasterIdLst>
  <p:sldIdLst>
    <p:sldId id="789" r:id="rId9"/>
    <p:sldId id="792" r:id="rId10"/>
    <p:sldId id="841" r:id="rId11"/>
    <p:sldId id="914" r:id="rId12"/>
    <p:sldId id="913" r:id="rId13"/>
    <p:sldId id="911" r:id="rId14"/>
    <p:sldId id="915" r:id="rId15"/>
    <p:sldId id="920" r:id="rId16"/>
    <p:sldId id="843" r:id="rId17"/>
    <p:sldId id="844" r:id="rId18"/>
    <p:sldId id="845" r:id="rId19"/>
    <p:sldId id="921" r:id="rId20"/>
    <p:sldId id="922" r:id="rId21"/>
    <p:sldId id="924" r:id="rId22"/>
    <p:sldId id="970" r:id="rId23"/>
    <p:sldId id="980" r:id="rId24"/>
    <p:sldId id="971" r:id="rId25"/>
    <p:sldId id="972" r:id="rId26"/>
    <p:sldId id="973" r:id="rId27"/>
    <p:sldId id="974" r:id="rId28"/>
    <p:sldId id="975" r:id="rId29"/>
    <p:sldId id="976" r:id="rId30"/>
    <p:sldId id="977" r:id="rId31"/>
    <p:sldId id="978" r:id="rId32"/>
    <p:sldId id="979" r:id="rId33"/>
    <p:sldId id="967" r:id="rId34"/>
    <p:sldId id="983" r:id="rId35"/>
    <p:sldId id="984" r:id="rId36"/>
    <p:sldId id="986" r:id="rId37"/>
    <p:sldId id="935" r:id="rId38"/>
    <p:sldId id="936" r:id="rId39"/>
    <p:sldId id="987" r:id="rId40"/>
    <p:sldId id="988" r:id="rId41"/>
    <p:sldId id="937" r:id="rId42"/>
    <p:sldId id="938" r:id="rId43"/>
    <p:sldId id="939" r:id="rId44"/>
    <p:sldId id="940" r:id="rId45"/>
    <p:sldId id="941" r:id="rId46"/>
    <p:sldId id="942" r:id="rId47"/>
    <p:sldId id="968" r:id="rId48"/>
    <p:sldId id="943" r:id="rId49"/>
    <p:sldId id="969" r:id="rId50"/>
    <p:sldId id="945" r:id="rId51"/>
    <p:sldId id="946" r:id="rId52"/>
    <p:sldId id="947" r:id="rId53"/>
    <p:sldId id="981" r:id="rId54"/>
    <p:sldId id="948" r:id="rId55"/>
    <p:sldId id="949" r:id="rId56"/>
    <p:sldId id="950" r:id="rId57"/>
    <p:sldId id="951" r:id="rId58"/>
    <p:sldId id="952" r:id="rId59"/>
    <p:sldId id="953" r:id="rId60"/>
    <p:sldId id="954" r:id="rId61"/>
    <p:sldId id="982" r:id="rId62"/>
    <p:sldId id="956" r:id="rId63"/>
    <p:sldId id="957" r:id="rId64"/>
    <p:sldId id="958" r:id="rId65"/>
    <p:sldId id="959" r:id="rId66"/>
    <p:sldId id="960" r:id="rId67"/>
    <p:sldId id="965" r:id="rId68"/>
    <p:sldId id="896" r:id="rId69"/>
    <p:sldId id="811" r:id="rId70"/>
    <p:sldId id="897" r:id="rId71"/>
    <p:sldId id="885" r:id="rId72"/>
    <p:sldId id="901" r:id="rId73"/>
    <p:sldId id="813" r:id="rId74"/>
    <p:sldId id="814" r:id="rId75"/>
    <p:sldId id="815" r:id="rId76"/>
    <p:sldId id="816" r:id="rId77"/>
    <p:sldId id="817" r:id="rId78"/>
    <p:sldId id="823" r:id="rId79"/>
    <p:sldId id="822" r:id="rId80"/>
  </p:sldIdLst>
  <p:sldSz cx="9144000" cy="6858000" type="screen4x3"/>
  <p:notesSz cx="6807200" cy="9939338"/>
  <p:defaultTextStyle>
    <a:defPPr>
      <a:defRPr lang="en-US"/>
    </a:defPPr>
    <a:lvl1pPr algn="l" rtl="0" fontAlgn="base">
      <a:spcBef>
        <a:spcPct val="0"/>
      </a:spcBef>
      <a:spcAft>
        <a:spcPct val="0"/>
      </a:spcAft>
      <a:defRPr sz="2800" b="1" kern="1200">
        <a:solidFill>
          <a:schemeClr val="tx1"/>
        </a:solidFill>
        <a:latin typeface="Franklin Gothic Medium" pitchFamily="34" charset="0"/>
        <a:ea typeface="標楷體" pitchFamily="65" charset="-120"/>
        <a:cs typeface="+mn-cs"/>
      </a:defRPr>
    </a:lvl1pPr>
    <a:lvl2pPr marL="457200" algn="l" rtl="0" fontAlgn="base">
      <a:spcBef>
        <a:spcPct val="0"/>
      </a:spcBef>
      <a:spcAft>
        <a:spcPct val="0"/>
      </a:spcAft>
      <a:defRPr sz="2800" b="1" kern="1200">
        <a:solidFill>
          <a:schemeClr val="tx1"/>
        </a:solidFill>
        <a:latin typeface="Franklin Gothic Medium" pitchFamily="34" charset="0"/>
        <a:ea typeface="標楷體" pitchFamily="65" charset="-120"/>
        <a:cs typeface="+mn-cs"/>
      </a:defRPr>
    </a:lvl2pPr>
    <a:lvl3pPr marL="914400" algn="l" rtl="0" fontAlgn="base">
      <a:spcBef>
        <a:spcPct val="0"/>
      </a:spcBef>
      <a:spcAft>
        <a:spcPct val="0"/>
      </a:spcAft>
      <a:defRPr sz="2800" b="1" kern="1200">
        <a:solidFill>
          <a:schemeClr val="tx1"/>
        </a:solidFill>
        <a:latin typeface="Franklin Gothic Medium" pitchFamily="34" charset="0"/>
        <a:ea typeface="標楷體" pitchFamily="65" charset="-120"/>
        <a:cs typeface="+mn-cs"/>
      </a:defRPr>
    </a:lvl3pPr>
    <a:lvl4pPr marL="1371600" algn="l" rtl="0" fontAlgn="base">
      <a:spcBef>
        <a:spcPct val="0"/>
      </a:spcBef>
      <a:spcAft>
        <a:spcPct val="0"/>
      </a:spcAft>
      <a:defRPr sz="2800" b="1" kern="1200">
        <a:solidFill>
          <a:schemeClr val="tx1"/>
        </a:solidFill>
        <a:latin typeface="Franklin Gothic Medium" pitchFamily="34" charset="0"/>
        <a:ea typeface="標楷體" pitchFamily="65" charset="-120"/>
        <a:cs typeface="+mn-cs"/>
      </a:defRPr>
    </a:lvl4pPr>
    <a:lvl5pPr marL="1828800" algn="l" rtl="0" fontAlgn="base">
      <a:spcBef>
        <a:spcPct val="0"/>
      </a:spcBef>
      <a:spcAft>
        <a:spcPct val="0"/>
      </a:spcAft>
      <a:defRPr sz="2800" b="1" kern="1200">
        <a:solidFill>
          <a:schemeClr val="tx1"/>
        </a:solidFill>
        <a:latin typeface="Franklin Gothic Medium" pitchFamily="34" charset="0"/>
        <a:ea typeface="標楷體" pitchFamily="65" charset="-120"/>
        <a:cs typeface="+mn-cs"/>
      </a:defRPr>
    </a:lvl5pPr>
    <a:lvl6pPr marL="2286000" algn="l" defTabSz="914400" rtl="0" eaLnBrk="1" latinLnBrk="0" hangingPunct="1">
      <a:defRPr sz="2800" b="1" kern="1200">
        <a:solidFill>
          <a:schemeClr val="tx1"/>
        </a:solidFill>
        <a:latin typeface="Franklin Gothic Medium" pitchFamily="34" charset="0"/>
        <a:ea typeface="標楷體" pitchFamily="65" charset="-120"/>
        <a:cs typeface="+mn-cs"/>
      </a:defRPr>
    </a:lvl6pPr>
    <a:lvl7pPr marL="2743200" algn="l" defTabSz="914400" rtl="0" eaLnBrk="1" latinLnBrk="0" hangingPunct="1">
      <a:defRPr sz="2800" b="1" kern="1200">
        <a:solidFill>
          <a:schemeClr val="tx1"/>
        </a:solidFill>
        <a:latin typeface="Franklin Gothic Medium" pitchFamily="34" charset="0"/>
        <a:ea typeface="標楷體" pitchFamily="65" charset="-120"/>
        <a:cs typeface="+mn-cs"/>
      </a:defRPr>
    </a:lvl7pPr>
    <a:lvl8pPr marL="3200400" algn="l" defTabSz="914400" rtl="0" eaLnBrk="1" latinLnBrk="0" hangingPunct="1">
      <a:defRPr sz="2800" b="1" kern="1200">
        <a:solidFill>
          <a:schemeClr val="tx1"/>
        </a:solidFill>
        <a:latin typeface="Franklin Gothic Medium" pitchFamily="34" charset="0"/>
        <a:ea typeface="標楷體" pitchFamily="65" charset="-120"/>
        <a:cs typeface="+mn-cs"/>
      </a:defRPr>
    </a:lvl8pPr>
    <a:lvl9pPr marL="3657600" algn="l" defTabSz="914400" rtl="0" eaLnBrk="1" latinLnBrk="0" hangingPunct="1">
      <a:defRPr sz="2800" b="1" kern="1200">
        <a:solidFill>
          <a:schemeClr val="tx1"/>
        </a:solidFill>
        <a:latin typeface="Franklin Gothic Medium" pitchFamily="34" charset="0"/>
        <a:ea typeface="標楷體" pitchFamily="65" charset="-120"/>
        <a:cs typeface="+mn-cs"/>
      </a:defRPr>
    </a:lvl9pPr>
  </p:defaultTextStyle>
  <p:extLst>
    <p:ext uri="{521415D9-36F7-43E2-AB2F-B90AF26B5E84}">
      <p14:sectionLst xmlns:p14="http://schemas.microsoft.com/office/powerpoint/2010/main">
        <p14:section name="Default Section" id="{EB4916AB-CB6E-417B-BF02-607C76ED3F7E}">
          <p14:sldIdLst>
            <p14:sldId id="789"/>
            <p14:sldId id="792"/>
          </p14:sldIdLst>
        </p14:section>
        <p14:section name="Adobe" id="{B9DF57C6-F186-4830-8361-829358338BE0}">
          <p14:sldIdLst>
            <p14:sldId id="841"/>
            <p14:sldId id="914"/>
            <p14:sldId id="913"/>
            <p14:sldId id="911"/>
            <p14:sldId id="915"/>
            <p14:sldId id="920"/>
            <p14:sldId id="843"/>
            <p14:sldId id="844"/>
            <p14:sldId id="845"/>
          </p14:sldIdLst>
        </p14:section>
        <p14:section name="MS" id="{119EE6E1-E413-4D6B-99BE-4421ADB34DFB}">
          <p14:sldIdLst>
            <p14:sldId id="921"/>
            <p14:sldId id="922"/>
            <p14:sldId id="924"/>
            <p14:sldId id="970"/>
            <p14:sldId id="980"/>
            <p14:sldId id="971"/>
            <p14:sldId id="972"/>
            <p14:sldId id="973"/>
            <p14:sldId id="974"/>
            <p14:sldId id="975"/>
            <p14:sldId id="976"/>
            <p14:sldId id="977"/>
            <p14:sldId id="978"/>
            <p14:sldId id="979"/>
            <p14:sldId id="967"/>
            <p14:sldId id="983"/>
            <p14:sldId id="984"/>
            <p14:sldId id="986"/>
            <p14:sldId id="935"/>
            <p14:sldId id="936"/>
            <p14:sldId id="987"/>
            <p14:sldId id="988"/>
            <p14:sldId id="937"/>
            <p14:sldId id="938"/>
            <p14:sldId id="939"/>
            <p14:sldId id="940"/>
            <p14:sldId id="941"/>
            <p14:sldId id="942"/>
            <p14:sldId id="968"/>
            <p14:sldId id="943"/>
            <p14:sldId id="969"/>
            <p14:sldId id="945"/>
            <p14:sldId id="946"/>
            <p14:sldId id="947"/>
            <p14:sldId id="981"/>
            <p14:sldId id="948"/>
            <p14:sldId id="949"/>
            <p14:sldId id="950"/>
            <p14:sldId id="951"/>
            <p14:sldId id="952"/>
            <p14:sldId id="953"/>
            <p14:sldId id="954"/>
            <p14:sldId id="982"/>
            <p14:sldId id="956"/>
            <p14:sldId id="957"/>
            <p14:sldId id="958"/>
            <p14:sldId id="959"/>
            <p14:sldId id="960"/>
            <p14:sldId id="965"/>
            <p14:sldId id="896"/>
            <p14:sldId id="811"/>
            <p14:sldId id="897"/>
            <p14:sldId id="885"/>
            <p14:sldId id="901"/>
          </p14:sldIdLst>
        </p14:section>
        <p14:section name="Autodesk" id="{67AD8A4E-F1D6-4C14-A5CD-A804020231A5}">
          <p14:sldIdLst>
            <p14:sldId id="813"/>
            <p14:sldId id="814"/>
            <p14:sldId id="815"/>
            <p14:sldId id="816"/>
            <p14:sldId id="817"/>
          </p14:sldIdLst>
        </p14:section>
        <p14:section name="Q&amp;A" id="{03B8507D-98C7-47FC-B1B8-F2FD7D9759A0}">
          <p14:sldIdLst>
            <p14:sldId id="823"/>
            <p14:sldId id="822"/>
          </p14:sldIdLst>
        </p14:section>
      </p14:sectionLst>
    </p:ex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15:guide id="1" orient="horz" pos="2931" userDrawn="1">
          <p15:clr>
            <a:srgbClr val="A4A3A4"/>
          </p15:clr>
        </p15:guide>
        <p15:guide id="2" pos="221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6" clrMode="bw" hiddenSlides="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FFCC66"/>
    <a:srgbClr val="FB53FF"/>
    <a:srgbClr val="CC33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940675A-B579-460E-94D1-54222C63F5DA}" styleName="無樣式、表格格線">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12C8C85-51F0-491E-9774-3900AFEF0FD7}" styleName="淺色樣式 2 - 輔色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750" autoAdjust="0"/>
    <p:restoredTop sz="87164" autoAdjust="0"/>
  </p:normalViewPr>
  <p:slideViewPr>
    <p:cSldViewPr snapToGrid="0">
      <p:cViewPr varScale="1">
        <p:scale>
          <a:sx n="78" d="100"/>
          <a:sy n="78" d="100"/>
        </p:scale>
        <p:origin x="-1824" y="-96"/>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4" d="100"/>
          <a:sy n="64" d="100"/>
        </p:scale>
        <p:origin x="-1656" y="-86"/>
      </p:cViewPr>
      <p:guideLst>
        <p:guide orient="horz" pos="3131"/>
        <p:guide pos="214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slide" Target="slides/slide55.xml"/><Relationship Id="rId68" Type="http://schemas.openxmlformats.org/officeDocument/2006/relationships/slide" Target="slides/slide60.xml"/><Relationship Id="rId76" Type="http://schemas.openxmlformats.org/officeDocument/2006/relationships/slide" Target="slides/slide68.xml"/><Relationship Id="rId84"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63.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slide" Target="slides/slide66.xml"/><Relationship Id="rId79" Type="http://schemas.openxmlformats.org/officeDocument/2006/relationships/slide" Target="slides/slide71.xml"/><Relationship Id="rId5" Type="http://schemas.openxmlformats.org/officeDocument/2006/relationships/slideMaster" Target="slideMasters/slideMaster2.xml"/><Relationship Id="rId61" Type="http://schemas.openxmlformats.org/officeDocument/2006/relationships/slide" Target="slides/slide53.xml"/><Relationship Id="rId82" Type="http://schemas.openxmlformats.org/officeDocument/2006/relationships/handoutMaster" Target="handoutMasters/handoutMaster1.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slide" Target="slides/slide69.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notesMaster" Target="notesMasters/notesMaster1.xml"/><Relationship Id="rId86"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D4206D2-793A-47BC-ADBC-664794A9F3DE}" type="doc">
      <dgm:prSet loTypeId="urn:microsoft.com/office/officeart/2005/8/layout/target2" loCatId="relationship" qsTypeId="urn:microsoft.com/office/officeart/2005/8/quickstyle/simple1" qsCatId="simple" csTypeId="urn:microsoft.com/office/officeart/2005/8/colors/accent1_2" csCatId="accent1" phldr="1"/>
      <dgm:spPr/>
      <dgm:t>
        <a:bodyPr/>
        <a:lstStyle/>
        <a:p>
          <a:endParaRPr lang="en-US"/>
        </a:p>
      </dgm:t>
    </dgm:pt>
    <dgm:pt modelId="{135E40F7-7AC2-4D2A-BEDA-3A53FB04BC3C}">
      <dgm:prSet phldrT="[Text]"/>
      <dgm:spPr/>
      <dgm:t>
        <a:bodyPr/>
        <a:lstStyle/>
        <a:p>
          <a:r>
            <a:rPr lang="en-US" dirty="0" smtClean="0"/>
            <a:t>Adobe.com</a:t>
          </a:r>
          <a:endParaRPr lang="en-US" dirty="0"/>
        </a:p>
      </dgm:t>
    </dgm:pt>
    <dgm:pt modelId="{79EA6515-A1AA-4B20-9D46-C8F8795BB321}" type="parTrans" cxnId="{96BBB930-B649-4105-9DD9-2F2096E7A701}">
      <dgm:prSet/>
      <dgm:spPr/>
      <dgm:t>
        <a:bodyPr/>
        <a:lstStyle/>
        <a:p>
          <a:endParaRPr lang="en-US"/>
        </a:p>
      </dgm:t>
    </dgm:pt>
    <dgm:pt modelId="{9BAE8DFE-1C95-4576-BE05-59615DC75C19}" type="sibTrans" cxnId="{96BBB930-B649-4105-9DD9-2F2096E7A701}">
      <dgm:prSet/>
      <dgm:spPr/>
      <dgm:t>
        <a:bodyPr/>
        <a:lstStyle/>
        <a:p>
          <a:endParaRPr lang="en-US"/>
        </a:p>
      </dgm:t>
    </dgm:pt>
    <dgm:pt modelId="{5AFB66CE-E0B3-45C0-A20D-DA42C660768A}">
      <dgm:prSet phldrT="[Text]"/>
      <dgm:spPr/>
      <dgm:t>
        <a:bodyPr/>
        <a:lstStyle/>
        <a:p>
          <a:r>
            <a:rPr lang="zh-TW" altLang="en-US" dirty="0" smtClean="0"/>
            <a:t>個人 </a:t>
          </a:r>
          <a:endParaRPr lang="en-US" dirty="0"/>
        </a:p>
      </dgm:t>
    </dgm:pt>
    <dgm:pt modelId="{FCE6D7F4-C6B1-4CCF-8C2D-8A11A9A3C503}" type="parTrans" cxnId="{FC6DF8BA-E041-4373-AD2F-08F3229ED9CE}">
      <dgm:prSet/>
      <dgm:spPr/>
      <dgm:t>
        <a:bodyPr/>
        <a:lstStyle/>
        <a:p>
          <a:endParaRPr lang="en-US"/>
        </a:p>
      </dgm:t>
    </dgm:pt>
    <dgm:pt modelId="{6722704A-728C-469E-8388-36402ED677D6}" type="sibTrans" cxnId="{FC6DF8BA-E041-4373-AD2F-08F3229ED9CE}">
      <dgm:prSet/>
      <dgm:spPr/>
      <dgm:t>
        <a:bodyPr/>
        <a:lstStyle/>
        <a:p>
          <a:endParaRPr lang="en-US"/>
        </a:p>
      </dgm:t>
    </dgm:pt>
    <dgm:pt modelId="{34DAF68E-F6CB-4128-8ABA-D632249B4A75}">
      <dgm:prSet phldrT="[Text]"/>
      <dgm:spPr/>
      <dgm:t>
        <a:bodyPr/>
        <a:lstStyle/>
        <a:p>
          <a:r>
            <a:rPr lang="zh-TW" altLang="en-US" dirty="0" smtClean="0"/>
            <a:t>企業</a:t>
          </a:r>
          <a:endParaRPr lang="en-US" dirty="0"/>
        </a:p>
      </dgm:t>
    </dgm:pt>
    <dgm:pt modelId="{59DBD309-4B78-4F64-87FC-FAC69032609D}" type="parTrans" cxnId="{5F843BC9-AC27-4EF5-937A-BC32AB1DEDF9}">
      <dgm:prSet/>
      <dgm:spPr/>
      <dgm:t>
        <a:bodyPr/>
        <a:lstStyle/>
        <a:p>
          <a:endParaRPr lang="en-US"/>
        </a:p>
      </dgm:t>
    </dgm:pt>
    <dgm:pt modelId="{BD4870A9-D852-42EB-9B84-A887DCB062A5}" type="sibTrans" cxnId="{5F843BC9-AC27-4EF5-937A-BC32AB1DEDF9}">
      <dgm:prSet/>
      <dgm:spPr/>
      <dgm:t>
        <a:bodyPr/>
        <a:lstStyle/>
        <a:p>
          <a:endParaRPr lang="en-US"/>
        </a:p>
      </dgm:t>
    </dgm:pt>
    <dgm:pt modelId="{DB3381A9-64E4-4F86-8A03-FF6CA6B19277}">
      <dgm:prSet phldrT="[Text]"/>
      <dgm:spPr/>
      <dgm:t>
        <a:bodyPr/>
        <a:lstStyle/>
        <a:p>
          <a:r>
            <a:rPr lang="zh-TW" altLang="en-US" dirty="0" smtClean="0"/>
            <a:t>授權經銷商</a:t>
          </a:r>
          <a:endParaRPr lang="en-US" dirty="0"/>
        </a:p>
      </dgm:t>
    </dgm:pt>
    <dgm:pt modelId="{8F890AFF-7851-4D71-A756-465DA4E6724D}" type="parTrans" cxnId="{1C9B1DD1-C7CE-40DD-8887-C02CDFD30DD5}">
      <dgm:prSet/>
      <dgm:spPr/>
      <dgm:t>
        <a:bodyPr/>
        <a:lstStyle/>
        <a:p>
          <a:endParaRPr lang="en-US"/>
        </a:p>
      </dgm:t>
    </dgm:pt>
    <dgm:pt modelId="{DE1CF906-EE06-48E3-AAD2-2B1D27D9DC39}" type="sibTrans" cxnId="{1C9B1DD1-C7CE-40DD-8887-C02CDFD30DD5}">
      <dgm:prSet/>
      <dgm:spPr/>
      <dgm:t>
        <a:bodyPr/>
        <a:lstStyle/>
        <a:p>
          <a:endParaRPr lang="en-US"/>
        </a:p>
      </dgm:t>
    </dgm:pt>
    <dgm:pt modelId="{61BDB20D-9ABA-45BE-8189-5B279E31D7EE}">
      <dgm:prSet phldrT="[Text]"/>
      <dgm:spPr/>
      <dgm:t>
        <a:bodyPr/>
        <a:lstStyle/>
        <a:p>
          <a:r>
            <a:rPr lang="zh-TW" altLang="en-US" dirty="0" smtClean="0"/>
            <a:t>政府機關</a:t>
          </a:r>
          <a:endParaRPr lang="en-US" dirty="0"/>
        </a:p>
      </dgm:t>
    </dgm:pt>
    <dgm:pt modelId="{4BDB9A32-C0A7-4EA9-8989-B7DAC98DFB04}" type="parTrans" cxnId="{40BBA4C3-72F4-4995-961E-873DDBE60864}">
      <dgm:prSet/>
      <dgm:spPr/>
      <dgm:t>
        <a:bodyPr/>
        <a:lstStyle/>
        <a:p>
          <a:endParaRPr lang="en-US"/>
        </a:p>
      </dgm:t>
    </dgm:pt>
    <dgm:pt modelId="{A35A7597-1CB9-42C8-981B-0BF75CC1AEC7}" type="sibTrans" cxnId="{40BBA4C3-72F4-4995-961E-873DDBE60864}">
      <dgm:prSet/>
      <dgm:spPr/>
      <dgm:t>
        <a:bodyPr/>
        <a:lstStyle/>
        <a:p>
          <a:endParaRPr lang="en-US"/>
        </a:p>
      </dgm:t>
    </dgm:pt>
    <dgm:pt modelId="{5BF55169-AD46-4F7D-A39B-63AFB066385A}">
      <dgm:prSet phldrT="[Text]"/>
      <dgm:spPr/>
      <dgm:t>
        <a:bodyPr/>
        <a:lstStyle/>
        <a:p>
          <a:r>
            <a:rPr lang="zh-TW" altLang="en-US" dirty="0" smtClean="0"/>
            <a:t>企業</a:t>
          </a:r>
          <a:endParaRPr lang="en-US" dirty="0"/>
        </a:p>
      </dgm:t>
    </dgm:pt>
    <dgm:pt modelId="{93FD2E6B-179B-4F93-9DE9-B64E11E6CED3}" type="parTrans" cxnId="{4EBCF0F1-FECE-4CCA-B724-AE89F944DA9D}">
      <dgm:prSet/>
      <dgm:spPr/>
      <dgm:t>
        <a:bodyPr/>
        <a:lstStyle/>
        <a:p>
          <a:endParaRPr lang="en-US"/>
        </a:p>
      </dgm:t>
    </dgm:pt>
    <dgm:pt modelId="{1B622245-07B5-41BA-A541-20B3522B964E}" type="sibTrans" cxnId="{4EBCF0F1-FECE-4CCA-B724-AE89F944DA9D}">
      <dgm:prSet/>
      <dgm:spPr/>
      <dgm:t>
        <a:bodyPr/>
        <a:lstStyle/>
        <a:p>
          <a:endParaRPr lang="en-US"/>
        </a:p>
      </dgm:t>
    </dgm:pt>
    <dgm:pt modelId="{8B424A02-78E9-472E-AAA0-9B606DD26C83}">
      <dgm:prSet phldrT="[Text]"/>
      <dgm:spPr/>
      <dgm:t>
        <a:bodyPr/>
        <a:lstStyle/>
        <a:p>
          <a:r>
            <a:rPr lang="en-US" altLang="zh-TW" dirty="0" smtClean="0"/>
            <a:t>Adobe </a:t>
          </a:r>
          <a:r>
            <a:rPr lang="zh-TW" altLang="en-US" dirty="0" smtClean="0"/>
            <a:t>代表洽詢</a:t>
          </a:r>
          <a:endParaRPr lang="en-US" dirty="0"/>
        </a:p>
      </dgm:t>
    </dgm:pt>
    <dgm:pt modelId="{232BEFA9-CF31-441D-9ACB-A58553B5F2B4}" type="parTrans" cxnId="{503333EC-963B-4158-91B2-98748E4CDDED}">
      <dgm:prSet/>
      <dgm:spPr/>
      <dgm:t>
        <a:bodyPr/>
        <a:lstStyle/>
        <a:p>
          <a:endParaRPr lang="en-US"/>
        </a:p>
      </dgm:t>
    </dgm:pt>
    <dgm:pt modelId="{15F83770-D3F2-416C-91EF-EC31814C5B73}" type="sibTrans" cxnId="{503333EC-963B-4158-91B2-98748E4CDDED}">
      <dgm:prSet/>
      <dgm:spPr/>
      <dgm:t>
        <a:bodyPr/>
        <a:lstStyle/>
        <a:p>
          <a:endParaRPr lang="en-US"/>
        </a:p>
      </dgm:t>
    </dgm:pt>
    <dgm:pt modelId="{C816C4D1-333F-401A-9666-C6F5F255269A}">
      <dgm:prSet phldrT="[Text]"/>
      <dgm:spPr/>
      <dgm:t>
        <a:bodyPr/>
        <a:lstStyle/>
        <a:p>
          <a:r>
            <a:rPr lang="zh-TW" altLang="en-US" dirty="0" smtClean="0"/>
            <a:t>政府機關</a:t>
          </a:r>
          <a:endParaRPr lang="en-US" dirty="0"/>
        </a:p>
      </dgm:t>
    </dgm:pt>
    <dgm:pt modelId="{00683C33-80BE-4A00-AD67-37703E8F000B}" type="parTrans" cxnId="{CAAB6365-A0BB-444C-AF41-89465F1A1B50}">
      <dgm:prSet/>
      <dgm:spPr/>
      <dgm:t>
        <a:bodyPr/>
        <a:lstStyle/>
        <a:p>
          <a:endParaRPr lang="en-US"/>
        </a:p>
      </dgm:t>
    </dgm:pt>
    <dgm:pt modelId="{7D666BFC-A714-4014-A9A9-FE067941E7ED}" type="sibTrans" cxnId="{CAAB6365-A0BB-444C-AF41-89465F1A1B50}">
      <dgm:prSet/>
      <dgm:spPr/>
      <dgm:t>
        <a:bodyPr/>
        <a:lstStyle/>
        <a:p>
          <a:endParaRPr lang="en-US"/>
        </a:p>
      </dgm:t>
    </dgm:pt>
    <dgm:pt modelId="{DE24D0DA-498D-42DE-BF85-1DE62B15B60E}">
      <dgm:prSet phldrT="[Text]"/>
      <dgm:spPr/>
      <dgm:t>
        <a:bodyPr/>
        <a:lstStyle/>
        <a:p>
          <a:r>
            <a:rPr lang="zh-TW" altLang="en-US" dirty="0" smtClean="0"/>
            <a:t>企業</a:t>
          </a:r>
          <a:endParaRPr lang="en-US" dirty="0"/>
        </a:p>
      </dgm:t>
    </dgm:pt>
    <dgm:pt modelId="{E00337E7-1BEB-4DDD-8205-2434EED946EA}" type="parTrans" cxnId="{C40E4518-8CF7-48B7-AF8D-4C69AB2B4336}">
      <dgm:prSet/>
      <dgm:spPr/>
      <dgm:t>
        <a:bodyPr/>
        <a:lstStyle/>
        <a:p>
          <a:endParaRPr lang="en-US"/>
        </a:p>
      </dgm:t>
    </dgm:pt>
    <dgm:pt modelId="{30E66D4F-341E-436C-9FB2-005F456C234B}" type="sibTrans" cxnId="{C40E4518-8CF7-48B7-AF8D-4C69AB2B4336}">
      <dgm:prSet/>
      <dgm:spPr/>
      <dgm:t>
        <a:bodyPr/>
        <a:lstStyle/>
        <a:p>
          <a:endParaRPr lang="en-US"/>
        </a:p>
      </dgm:t>
    </dgm:pt>
    <dgm:pt modelId="{ACF9FA82-28B9-4ACD-BA4C-B1DCEB15BF7B}">
      <dgm:prSet/>
      <dgm:spPr/>
      <dgm:t>
        <a:bodyPr/>
        <a:lstStyle/>
        <a:p>
          <a:r>
            <a:rPr lang="zh-TW" altLang="en-US" dirty="0" smtClean="0"/>
            <a:t>學校和大學</a:t>
          </a:r>
          <a:endParaRPr lang="en-US" altLang="zh-TW" dirty="0" smtClean="0"/>
        </a:p>
      </dgm:t>
    </dgm:pt>
    <dgm:pt modelId="{650A993A-5CBE-4C8B-8E9A-3AD961674D2C}" type="parTrans" cxnId="{0994F34C-2B3E-4CF9-A371-D8FE7AB99926}">
      <dgm:prSet/>
      <dgm:spPr/>
      <dgm:t>
        <a:bodyPr/>
        <a:lstStyle/>
        <a:p>
          <a:endParaRPr lang="en-US"/>
        </a:p>
      </dgm:t>
    </dgm:pt>
    <dgm:pt modelId="{5E7ECFC0-FF97-4344-95CF-F94F9FCC1B16}" type="sibTrans" cxnId="{0994F34C-2B3E-4CF9-A371-D8FE7AB99926}">
      <dgm:prSet/>
      <dgm:spPr/>
      <dgm:t>
        <a:bodyPr/>
        <a:lstStyle/>
        <a:p>
          <a:endParaRPr lang="en-US"/>
        </a:p>
      </dgm:t>
    </dgm:pt>
    <dgm:pt modelId="{274946F8-C6DB-4269-A56E-BFF251D442CF}">
      <dgm:prSet/>
      <dgm:spPr/>
      <dgm:t>
        <a:bodyPr/>
        <a:lstStyle/>
        <a:p>
          <a:r>
            <a:rPr lang="zh-TW" altLang="en-US" dirty="0" smtClean="0"/>
            <a:t>學校和大學</a:t>
          </a:r>
          <a:endParaRPr lang="en-US" altLang="zh-TW" dirty="0" smtClean="0"/>
        </a:p>
      </dgm:t>
    </dgm:pt>
    <dgm:pt modelId="{DA1E0DA8-B90A-4B4E-BD58-118608D4DC39}" type="parTrans" cxnId="{ECFF3E50-9207-41E5-9DBD-F71E315DCA79}">
      <dgm:prSet/>
      <dgm:spPr/>
      <dgm:t>
        <a:bodyPr/>
        <a:lstStyle/>
        <a:p>
          <a:endParaRPr lang="en-US"/>
        </a:p>
      </dgm:t>
    </dgm:pt>
    <dgm:pt modelId="{B49E4F6E-BB6B-4E33-8C64-C60AB3235571}" type="sibTrans" cxnId="{ECFF3E50-9207-41E5-9DBD-F71E315DCA79}">
      <dgm:prSet/>
      <dgm:spPr/>
      <dgm:t>
        <a:bodyPr/>
        <a:lstStyle/>
        <a:p>
          <a:endParaRPr lang="en-US"/>
        </a:p>
      </dgm:t>
    </dgm:pt>
    <dgm:pt modelId="{A820A9E9-3811-4548-AD2E-67367191D322}">
      <dgm:prSet/>
      <dgm:spPr/>
      <dgm:t>
        <a:bodyPr/>
        <a:lstStyle/>
        <a:p>
          <a:r>
            <a:rPr lang="zh-TW" altLang="en-US" dirty="0" smtClean="0"/>
            <a:t>學生和教師</a:t>
          </a:r>
          <a:endParaRPr lang="en-US" dirty="0"/>
        </a:p>
      </dgm:t>
    </dgm:pt>
    <dgm:pt modelId="{5EEF7996-8B25-4A06-BD94-D870233BCFC2}" type="parTrans" cxnId="{FD29C359-0188-430B-84B8-66C758CC523C}">
      <dgm:prSet/>
      <dgm:spPr/>
      <dgm:t>
        <a:bodyPr/>
        <a:lstStyle/>
        <a:p>
          <a:endParaRPr lang="en-US"/>
        </a:p>
      </dgm:t>
    </dgm:pt>
    <dgm:pt modelId="{A5A1CF20-7C77-40C2-B353-A125F2408D0A}" type="sibTrans" cxnId="{FD29C359-0188-430B-84B8-66C758CC523C}">
      <dgm:prSet/>
      <dgm:spPr/>
      <dgm:t>
        <a:bodyPr/>
        <a:lstStyle/>
        <a:p>
          <a:endParaRPr lang="en-US"/>
        </a:p>
      </dgm:t>
    </dgm:pt>
    <dgm:pt modelId="{93D19CAB-0C1F-4902-91EF-B5389B286C70}" type="pres">
      <dgm:prSet presAssocID="{ED4206D2-793A-47BC-ADBC-664794A9F3DE}" presName="Name0" presStyleCnt="0">
        <dgm:presLayoutVars>
          <dgm:chMax val="3"/>
          <dgm:chPref val="1"/>
          <dgm:dir/>
          <dgm:animLvl val="lvl"/>
          <dgm:resizeHandles/>
        </dgm:presLayoutVars>
      </dgm:prSet>
      <dgm:spPr/>
      <dgm:t>
        <a:bodyPr/>
        <a:lstStyle/>
        <a:p>
          <a:endParaRPr lang="zh-TW" altLang="en-US"/>
        </a:p>
      </dgm:t>
    </dgm:pt>
    <dgm:pt modelId="{868092BD-CD0C-4475-9F1E-272E69FC4C65}" type="pres">
      <dgm:prSet presAssocID="{ED4206D2-793A-47BC-ADBC-664794A9F3DE}" presName="outerBox" presStyleCnt="0"/>
      <dgm:spPr/>
    </dgm:pt>
    <dgm:pt modelId="{B0B13646-0852-4F1D-88A4-942C3351D90D}" type="pres">
      <dgm:prSet presAssocID="{ED4206D2-793A-47BC-ADBC-664794A9F3DE}" presName="outerBoxParent" presStyleLbl="node1" presStyleIdx="0" presStyleCnt="3" custLinFactNeighborX="-1900" custLinFactNeighborY="-8940"/>
      <dgm:spPr/>
      <dgm:t>
        <a:bodyPr/>
        <a:lstStyle/>
        <a:p>
          <a:endParaRPr lang="en-US"/>
        </a:p>
      </dgm:t>
    </dgm:pt>
    <dgm:pt modelId="{A1AE9AAD-9091-4B60-BDE8-52DB23955BEB}" type="pres">
      <dgm:prSet presAssocID="{ED4206D2-793A-47BC-ADBC-664794A9F3DE}" presName="outerBoxChildren" presStyleCnt="0"/>
      <dgm:spPr/>
    </dgm:pt>
    <dgm:pt modelId="{E947F368-AB8D-4EF2-9DAE-6A32EC99B724}" type="pres">
      <dgm:prSet presAssocID="{5AFB66CE-E0B3-45C0-A20D-DA42C660768A}" presName="oChild" presStyleLbl="fgAcc1" presStyleIdx="0" presStyleCnt="9">
        <dgm:presLayoutVars>
          <dgm:bulletEnabled val="1"/>
        </dgm:presLayoutVars>
      </dgm:prSet>
      <dgm:spPr/>
      <dgm:t>
        <a:bodyPr/>
        <a:lstStyle/>
        <a:p>
          <a:endParaRPr lang="en-US"/>
        </a:p>
      </dgm:t>
    </dgm:pt>
    <dgm:pt modelId="{C49A242D-7C02-47C7-BD30-57D54381D341}" type="pres">
      <dgm:prSet presAssocID="{6722704A-728C-469E-8388-36402ED677D6}" presName="outerSibTrans" presStyleCnt="0"/>
      <dgm:spPr/>
    </dgm:pt>
    <dgm:pt modelId="{41D623DB-94EE-4ACC-9EEC-43AD8B3406A9}" type="pres">
      <dgm:prSet presAssocID="{34DAF68E-F6CB-4128-8ABA-D632249B4A75}" presName="oChild" presStyleLbl="fgAcc1" presStyleIdx="1" presStyleCnt="9">
        <dgm:presLayoutVars>
          <dgm:bulletEnabled val="1"/>
        </dgm:presLayoutVars>
      </dgm:prSet>
      <dgm:spPr/>
      <dgm:t>
        <a:bodyPr/>
        <a:lstStyle/>
        <a:p>
          <a:endParaRPr lang="en-US"/>
        </a:p>
      </dgm:t>
    </dgm:pt>
    <dgm:pt modelId="{3A057054-8455-4748-A5F5-89FF7DC9655A}" type="pres">
      <dgm:prSet presAssocID="{BD4870A9-D852-42EB-9B84-A887DCB062A5}" presName="outerSibTrans" presStyleCnt="0"/>
      <dgm:spPr/>
    </dgm:pt>
    <dgm:pt modelId="{8DA3EE87-78E6-4EAD-AFB9-8B83984BECFE}" type="pres">
      <dgm:prSet presAssocID="{A820A9E9-3811-4548-AD2E-67367191D322}" presName="oChild" presStyleLbl="fgAcc1" presStyleIdx="2" presStyleCnt="9">
        <dgm:presLayoutVars>
          <dgm:bulletEnabled val="1"/>
        </dgm:presLayoutVars>
      </dgm:prSet>
      <dgm:spPr/>
      <dgm:t>
        <a:bodyPr/>
        <a:lstStyle/>
        <a:p>
          <a:endParaRPr lang="en-US"/>
        </a:p>
      </dgm:t>
    </dgm:pt>
    <dgm:pt modelId="{0A4841C9-57B9-47FC-B06B-C0AA39BCBA48}" type="pres">
      <dgm:prSet presAssocID="{A5A1CF20-7C77-40C2-B353-A125F2408D0A}" presName="outerSibTrans" presStyleCnt="0"/>
      <dgm:spPr/>
    </dgm:pt>
    <dgm:pt modelId="{481CC87F-3016-4B4B-9A05-73ED3950B387}" type="pres">
      <dgm:prSet presAssocID="{ACF9FA82-28B9-4ACD-BA4C-B1DCEB15BF7B}" presName="oChild" presStyleLbl="fgAcc1" presStyleIdx="3" presStyleCnt="9">
        <dgm:presLayoutVars>
          <dgm:bulletEnabled val="1"/>
        </dgm:presLayoutVars>
      </dgm:prSet>
      <dgm:spPr/>
      <dgm:t>
        <a:bodyPr/>
        <a:lstStyle/>
        <a:p>
          <a:endParaRPr lang="en-US"/>
        </a:p>
      </dgm:t>
    </dgm:pt>
    <dgm:pt modelId="{8B7C6202-6D3A-4C6B-8ABD-723F8CC27C31}" type="pres">
      <dgm:prSet presAssocID="{ED4206D2-793A-47BC-ADBC-664794A9F3DE}" presName="middleBox" presStyleCnt="0"/>
      <dgm:spPr/>
    </dgm:pt>
    <dgm:pt modelId="{7206FF76-D04D-47FA-8EF1-3D0DCC1CA24D}" type="pres">
      <dgm:prSet presAssocID="{ED4206D2-793A-47BC-ADBC-664794A9F3DE}" presName="middleBoxParent" presStyleLbl="node1" presStyleIdx="1" presStyleCnt="3"/>
      <dgm:spPr/>
      <dgm:t>
        <a:bodyPr/>
        <a:lstStyle/>
        <a:p>
          <a:endParaRPr lang="en-US"/>
        </a:p>
      </dgm:t>
    </dgm:pt>
    <dgm:pt modelId="{949C8137-93A7-4581-9FBE-CAB9C9FF728C}" type="pres">
      <dgm:prSet presAssocID="{ED4206D2-793A-47BC-ADBC-664794A9F3DE}" presName="middleBoxChildren" presStyleCnt="0"/>
      <dgm:spPr/>
    </dgm:pt>
    <dgm:pt modelId="{3B3EB673-7CC3-4916-8A03-855CA94823FB}" type="pres">
      <dgm:prSet presAssocID="{61BDB20D-9ABA-45BE-8189-5B279E31D7EE}" presName="mChild" presStyleLbl="fgAcc1" presStyleIdx="4" presStyleCnt="9">
        <dgm:presLayoutVars>
          <dgm:bulletEnabled val="1"/>
        </dgm:presLayoutVars>
      </dgm:prSet>
      <dgm:spPr/>
      <dgm:t>
        <a:bodyPr/>
        <a:lstStyle/>
        <a:p>
          <a:endParaRPr lang="en-US"/>
        </a:p>
      </dgm:t>
    </dgm:pt>
    <dgm:pt modelId="{115F59CC-B9D8-4AD0-90AE-1D168BAED204}" type="pres">
      <dgm:prSet presAssocID="{A35A7597-1CB9-42C8-981B-0BF75CC1AEC7}" presName="middleSibTrans" presStyleCnt="0"/>
      <dgm:spPr/>
    </dgm:pt>
    <dgm:pt modelId="{510F0245-9554-4C43-865B-8AF90000EC5D}" type="pres">
      <dgm:prSet presAssocID="{5BF55169-AD46-4F7D-A39B-63AFB066385A}" presName="mChild" presStyleLbl="fgAcc1" presStyleIdx="5" presStyleCnt="9">
        <dgm:presLayoutVars>
          <dgm:bulletEnabled val="1"/>
        </dgm:presLayoutVars>
      </dgm:prSet>
      <dgm:spPr/>
      <dgm:t>
        <a:bodyPr/>
        <a:lstStyle/>
        <a:p>
          <a:endParaRPr lang="en-US"/>
        </a:p>
      </dgm:t>
    </dgm:pt>
    <dgm:pt modelId="{3BD52CA0-4ABE-4D97-8FE9-418FEEF141A4}" type="pres">
      <dgm:prSet presAssocID="{1B622245-07B5-41BA-A541-20B3522B964E}" presName="middleSibTrans" presStyleCnt="0"/>
      <dgm:spPr/>
    </dgm:pt>
    <dgm:pt modelId="{36A323D4-17B7-40E5-A932-1AF25D801514}" type="pres">
      <dgm:prSet presAssocID="{274946F8-C6DB-4269-A56E-BFF251D442CF}" presName="mChild" presStyleLbl="fgAcc1" presStyleIdx="6" presStyleCnt="9">
        <dgm:presLayoutVars>
          <dgm:bulletEnabled val="1"/>
        </dgm:presLayoutVars>
      </dgm:prSet>
      <dgm:spPr/>
      <dgm:t>
        <a:bodyPr/>
        <a:lstStyle/>
        <a:p>
          <a:endParaRPr lang="en-US"/>
        </a:p>
      </dgm:t>
    </dgm:pt>
    <dgm:pt modelId="{3D2AF560-68F9-42AE-BDEE-314F533AB843}" type="pres">
      <dgm:prSet presAssocID="{ED4206D2-793A-47BC-ADBC-664794A9F3DE}" presName="centerBox" presStyleCnt="0"/>
      <dgm:spPr/>
    </dgm:pt>
    <dgm:pt modelId="{65DDAF9E-446D-4659-AF80-B4B6721B1714}" type="pres">
      <dgm:prSet presAssocID="{ED4206D2-793A-47BC-ADBC-664794A9F3DE}" presName="centerBoxParent" presStyleLbl="node1" presStyleIdx="2" presStyleCnt="3"/>
      <dgm:spPr/>
      <dgm:t>
        <a:bodyPr/>
        <a:lstStyle/>
        <a:p>
          <a:endParaRPr lang="en-US"/>
        </a:p>
      </dgm:t>
    </dgm:pt>
    <dgm:pt modelId="{C8F4A696-5599-4CEA-9CCC-829858490A4A}" type="pres">
      <dgm:prSet presAssocID="{ED4206D2-793A-47BC-ADBC-664794A9F3DE}" presName="centerBoxChildren" presStyleCnt="0"/>
      <dgm:spPr/>
    </dgm:pt>
    <dgm:pt modelId="{65EF07D5-0155-492C-8307-BA915C6600F5}" type="pres">
      <dgm:prSet presAssocID="{C816C4D1-333F-401A-9666-C6F5F255269A}" presName="cChild" presStyleLbl="fgAcc1" presStyleIdx="7" presStyleCnt="9">
        <dgm:presLayoutVars>
          <dgm:bulletEnabled val="1"/>
        </dgm:presLayoutVars>
      </dgm:prSet>
      <dgm:spPr/>
      <dgm:t>
        <a:bodyPr/>
        <a:lstStyle/>
        <a:p>
          <a:endParaRPr lang="en-US"/>
        </a:p>
      </dgm:t>
    </dgm:pt>
    <dgm:pt modelId="{0B227E99-A99C-40D3-A461-D76F78BF45DD}" type="pres">
      <dgm:prSet presAssocID="{7D666BFC-A714-4014-A9A9-FE067941E7ED}" presName="centerSibTrans" presStyleCnt="0"/>
      <dgm:spPr/>
    </dgm:pt>
    <dgm:pt modelId="{4D63A81C-D298-4102-8002-05CD9B8DE12E}" type="pres">
      <dgm:prSet presAssocID="{DE24D0DA-498D-42DE-BF85-1DE62B15B60E}" presName="cChild" presStyleLbl="fgAcc1" presStyleIdx="8" presStyleCnt="9">
        <dgm:presLayoutVars>
          <dgm:bulletEnabled val="1"/>
        </dgm:presLayoutVars>
      </dgm:prSet>
      <dgm:spPr/>
      <dgm:t>
        <a:bodyPr/>
        <a:lstStyle/>
        <a:p>
          <a:endParaRPr lang="en-US"/>
        </a:p>
      </dgm:t>
    </dgm:pt>
  </dgm:ptLst>
  <dgm:cxnLst>
    <dgm:cxn modelId="{733FC8A2-9057-48C6-B357-B83D3A7FB2DA}" type="presOf" srcId="{DB3381A9-64E4-4F86-8A03-FF6CA6B19277}" destId="{7206FF76-D04D-47FA-8EF1-3D0DCC1CA24D}" srcOrd="0" destOrd="0" presId="urn:microsoft.com/office/officeart/2005/8/layout/target2"/>
    <dgm:cxn modelId="{7AB76025-096A-432B-B5F2-4A9061A03439}" type="presOf" srcId="{8B424A02-78E9-472E-AAA0-9B606DD26C83}" destId="{65DDAF9E-446D-4659-AF80-B4B6721B1714}" srcOrd="0" destOrd="0" presId="urn:microsoft.com/office/officeart/2005/8/layout/target2"/>
    <dgm:cxn modelId="{AC58F06E-A3D1-4F44-82C1-897C41F6C555}" type="presOf" srcId="{34DAF68E-F6CB-4128-8ABA-D632249B4A75}" destId="{41D623DB-94EE-4ACC-9EEC-43AD8B3406A9}" srcOrd="0" destOrd="0" presId="urn:microsoft.com/office/officeart/2005/8/layout/target2"/>
    <dgm:cxn modelId="{96BBB930-B649-4105-9DD9-2F2096E7A701}" srcId="{ED4206D2-793A-47BC-ADBC-664794A9F3DE}" destId="{135E40F7-7AC2-4D2A-BEDA-3A53FB04BC3C}" srcOrd="0" destOrd="0" parTransId="{79EA6515-A1AA-4B20-9D46-C8F8795BB321}" sibTransId="{9BAE8DFE-1C95-4576-BE05-59615DC75C19}"/>
    <dgm:cxn modelId="{EB18BA6D-054B-4B63-94B3-CD4379F6B555}" type="presOf" srcId="{5BF55169-AD46-4F7D-A39B-63AFB066385A}" destId="{510F0245-9554-4C43-865B-8AF90000EC5D}" srcOrd="0" destOrd="0" presId="urn:microsoft.com/office/officeart/2005/8/layout/target2"/>
    <dgm:cxn modelId="{ECFF3E50-9207-41E5-9DBD-F71E315DCA79}" srcId="{DB3381A9-64E4-4F86-8A03-FF6CA6B19277}" destId="{274946F8-C6DB-4269-A56E-BFF251D442CF}" srcOrd="2" destOrd="0" parTransId="{DA1E0DA8-B90A-4B4E-BD58-118608D4DC39}" sibTransId="{B49E4F6E-BB6B-4E33-8C64-C60AB3235571}"/>
    <dgm:cxn modelId="{40BBA4C3-72F4-4995-961E-873DDBE60864}" srcId="{DB3381A9-64E4-4F86-8A03-FF6CA6B19277}" destId="{61BDB20D-9ABA-45BE-8189-5B279E31D7EE}" srcOrd="0" destOrd="0" parTransId="{4BDB9A32-C0A7-4EA9-8989-B7DAC98DFB04}" sibTransId="{A35A7597-1CB9-42C8-981B-0BF75CC1AEC7}"/>
    <dgm:cxn modelId="{FC6DF8BA-E041-4373-AD2F-08F3229ED9CE}" srcId="{135E40F7-7AC2-4D2A-BEDA-3A53FB04BC3C}" destId="{5AFB66CE-E0B3-45C0-A20D-DA42C660768A}" srcOrd="0" destOrd="0" parTransId="{FCE6D7F4-C6B1-4CCF-8C2D-8A11A9A3C503}" sibTransId="{6722704A-728C-469E-8388-36402ED677D6}"/>
    <dgm:cxn modelId="{C526C6CB-465C-445C-B86F-C640982F6EDC}" type="presOf" srcId="{135E40F7-7AC2-4D2A-BEDA-3A53FB04BC3C}" destId="{B0B13646-0852-4F1D-88A4-942C3351D90D}" srcOrd="0" destOrd="0" presId="urn:microsoft.com/office/officeart/2005/8/layout/target2"/>
    <dgm:cxn modelId="{E7415D6E-A0E0-4D0D-8B64-26659A503B45}" type="presOf" srcId="{274946F8-C6DB-4269-A56E-BFF251D442CF}" destId="{36A323D4-17B7-40E5-A932-1AF25D801514}" srcOrd="0" destOrd="0" presId="urn:microsoft.com/office/officeart/2005/8/layout/target2"/>
    <dgm:cxn modelId="{A07481BD-30A7-4F64-990A-0992217CA202}" type="presOf" srcId="{A820A9E9-3811-4548-AD2E-67367191D322}" destId="{8DA3EE87-78E6-4EAD-AFB9-8B83984BECFE}" srcOrd="0" destOrd="0" presId="urn:microsoft.com/office/officeart/2005/8/layout/target2"/>
    <dgm:cxn modelId="{4EBCF0F1-FECE-4CCA-B724-AE89F944DA9D}" srcId="{DB3381A9-64E4-4F86-8A03-FF6CA6B19277}" destId="{5BF55169-AD46-4F7D-A39B-63AFB066385A}" srcOrd="1" destOrd="0" parTransId="{93FD2E6B-179B-4F93-9DE9-B64E11E6CED3}" sibTransId="{1B622245-07B5-41BA-A541-20B3522B964E}"/>
    <dgm:cxn modelId="{9132A4FB-8E13-4359-8245-55C80D62401C}" type="presOf" srcId="{ACF9FA82-28B9-4ACD-BA4C-B1DCEB15BF7B}" destId="{481CC87F-3016-4B4B-9A05-73ED3950B387}" srcOrd="0" destOrd="0" presId="urn:microsoft.com/office/officeart/2005/8/layout/target2"/>
    <dgm:cxn modelId="{52320565-987F-4673-8CA3-1E5F1F9FB3CF}" type="presOf" srcId="{C816C4D1-333F-401A-9666-C6F5F255269A}" destId="{65EF07D5-0155-492C-8307-BA915C6600F5}" srcOrd="0" destOrd="0" presId="urn:microsoft.com/office/officeart/2005/8/layout/target2"/>
    <dgm:cxn modelId="{CAAB6365-A0BB-444C-AF41-89465F1A1B50}" srcId="{8B424A02-78E9-472E-AAA0-9B606DD26C83}" destId="{C816C4D1-333F-401A-9666-C6F5F255269A}" srcOrd="0" destOrd="0" parTransId="{00683C33-80BE-4A00-AD67-37703E8F000B}" sibTransId="{7D666BFC-A714-4014-A9A9-FE067941E7ED}"/>
    <dgm:cxn modelId="{81BACBFB-74C0-4D07-BE3F-CE6A2537A818}" type="presOf" srcId="{5AFB66CE-E0B3-45C0-A20D-DA42C660768A}" destId="{E947F368-AB8D-4EF2-9DAE-6A32EC99B724}" srcOrd="0" destOrd="0" presId="urn:microsoft.com/office/officeart/2005/8/layout/target2"/>
    <dgm:cxn modelId="{503333EC-963B-4158-91B2-98748E4CDDED}" srcId="{ED4206D2-793A-47BC-ADBC-664794A9F3DE}" destId="{8B424A02-78E9-472E-AAA0-9B606DD26C83}" srcOrd="2" destOrd="0" parTransId="{232BEFA9-CF31-441D-9ACB-A58553B5F2B4}" sibTransId="{15F83770-D3F2-416C-91EF-EC31814C5B73}"/>
    <dgm:cxn modelId="{5F843BC9-AC27-4EF5-937A-BC32AB1DEDF9}" srcId="{135E40F7-7AC2-4D2A-BEDA-3A53FB04BC3C}" destId="{34DAF68E-F6CB-4128-8ABA-D632249B4A75}" srcOrd="1" destOrd="0" parTransId="{59DBD309-4B78-4F64-87FC-FAC69032609D}" sibTransId="{BD4870A9-D852-42EB-9B84-A887DCB062A5}"/>
    <dgm:cxn modelId="{FD29C359-0188-430B-84B8-66C758CC523C}" srcId="{135E40F7-7AC2-4D2A-BEDA-3A53FB04BC3C}" destId="{A820A9E9-3811-4548-AD2E-67367191D322}" srcOrd="2" destOrd="0" parTransId="{5EEF7996-8B25-4A06-BD94-D870233BCFC2}" sibTransId="{A5A1CF20-7C77-40C2-B353-A125F2408D0A}"/>
    <dgm:cxn modelId="{1AACD05F-B398-4652-9B24-E82504024453}" type="presOf" srcId="{DE24D0DA-498D-42DE-BF85-1DE62B15B60E}" destId="{4D63A81C-D298-4102-8002-05CD9B8DE12E}" srcOrd="0" destOrd="0" presId="urn:microsoft.com/office/officeart/2005/8/layout/target2"/>
    <dgm:cxn modelId="{C40E4518-8CF7-48B7-AF8D-4C69AB2B4336}" srcId="{8B424A02-78E9-472E-AAA0-9B606DD26C83}" destId="{DE24D0DA-498D-42DE-BF85-1DE62B15B60E}" srcOrd="1" destOrd="0" parTransId="{E00337E7-1BEB-4DDD-8205-2434EED946EA}" sibTransId="{30E66D4F-341E-436C-9FB2-005F456C234B}"/>
    <dgm:cxn modelId="{0994F34C-2B3E-4CF9-A371-D8FE7AB99926}" srcId="{135E40F7-7AC2-4D2A-BEDA-3A53FB04BC3C}" destId="{ACF9FA82-28B9-4ACD-BA4C-B1DCEB15BF7B}" srcOrd="3" destOrd="0" parTransId="{650A993A-5CBE-4C8B-8E9A-3AD961674D2C}" sibTransId="{5E7ECFC0-FF97-4344-95CF-F94F9FCC1B16}"/>
    <dgm:cxn modelId="{8A3E0CE9-6FAA-4683-9B42-014DAF0C368A}" type="presOf" srcId="{61BDB20D-9ABA-45BE-8189-5B279E31D7EE}" destId="{3B3EB673-7CC3-4916-8A03-855CA94823FB}" srcOrd="0" destOrd="0" presId="urn:microsoft.com/office/officeart/2005/8/layout/target2"/>
    <dgm:cxn modelId="{1C9B1DD1-C7CE-40DD-8887-C02CDFD30DD5}" srcId="{ED4206D2-793A-47BC-ADBC-664794A9F3DE}" destId="{DB3381A9-64E4-4F86-8A03-FF6CA6B19277}" srcOrd="1" destOrd="0" parTransId="{8F890AFF-7851-4D71-A756-465DA4E6724D}" sibTransId="{DE1CF906-EE06-48E3-AAD2-2B1D27D9DC39}"/>
    <dgm:cxn modelId="{D763F344-D0DF-4ACC-BCD4-F47EC3FFF15A}" type="presOf" srcId="{ED4206D2-793A-47BC-ADBC-664794A9F3DE}" destId="{93D19CAB-0C1F-4902-91EF-B5389B286C70}" srcOrd="0" destOrd="0" presId="urn:microsoft.com/office/officeart/2005/8/layout/target2"/>
    <dgm:cxn modelId="{5065F239-8C0E-4945-81D4-DC5BB5DD2742}" type="presParOf" srcId="{93D19CAB-0C1F-4902-91EF-B5389B286C70}" destId="{868092BD-CD0C-4475-9F1E-272E69FC4C65}" srcOrd="0" destOrd="0" presId="urn:microsoft.com/office/officeart/2005/8/layout/target2"/>
    <dgm:cxn modelId="{C50AF866-9D5B-40A3-93D3-5AC63D0B3BF2}" type="presParOf" srcId="{868092BD-CD0C-4475-9F1E-272E69FC4C65}" destId="{B0B13646-0852-4F1D-88A4-942C3351D90D}" srcOrd="0" destOrd="0" presId="urn:microsoft.com/office/officeart/2005/8/layout/target2"/>
    <dgm:cxn modelId="{58BA4ED3-F33F-4B62-B2F2-36855F170E75}" type="presParOf" srcId="{868092BD-CD0C-4475-9F1E-272E69FC4C65}" destId="{A1AE9AAD-9091-4B60-BDE8-52DB23955BEB}" srcOrd="1" destOrd="0" presId="urn:microsoft.com/office/officeart/2005/8/layout/target2"/>
    <dgm:cxn modelId="{8EBD1161-3CFB-4D13-9D88-66D2392AA3A4}" type="presParOf" srcId="{A1AE9AAD-9091-4B60-BDE8-52DB23955BEB}" destId="{E947F368-AB8D-4EF2-9DAE-6A32EC99B724}" srcOrd="0" destOrd="0" presId="urn:microsoft.com/office/officeart/2005/8/layout/target2"/>
    <dgm:cxn modelId="{C41524E6-867B-4724-95CB-37ED013D894E}" type="presParOf" srcId="{A1AE9AAD-9091-4B60-BDE8-52DB23955BEB}" destId="{C49A242D-7C02-47C7-BD30-57D54381D341}" srcOrd="1" destOrd="0" presId="urn:microsoft.com/office/officeart/2005/8/layout/target2"/>
    <dgm:cxn modelId="{CD65B241-00A9-4E3C-ADC9-8D60002B2D3D}" type="presParOf" srcId="{A1AE9AAD-9091-4B60-BDE8-52DB23955BEB}" destId="{41D623DB-94EE-4ACC-9EEC-43AD8B3406A9}" srcOrd="2" destOrd="0" presId="urn:microsoft.com/office/officeart/2005/8/layout/target2"/>
    <dgm:cxn modelId="{DA117A77-1F3B-4C0E-A420-8D80BE54156C}" type="presParOf" srcId="{A1AE9AAD-9091-4B60-BDE8-52DB23955BEB}" destId="{3A057054-8455-4748-A5F5-89FF7DC9655A}" srcOrd="3" destOrd="0" presId="urn:microsoft.com/office/officeart/2005/8/layout/target2"/>
    <dgm:cxn modelId="{D463492D-E106-4A0A-87CF-7FC9E8C9714A}" type="presParOf" srcId="{A1AE9AAD-9091-4B60-BDE8-52DB23955BEB}" destId="{8DA3EE87-78E6-4EAD-AFB9-8B83984BECFE}" srcOrd="4" destOrd="0" presId="urn:microsoft.com/office/officeart/2005/8/layout/target2"/>
    <dgm:cxn modelId="{E0C308C1-0FB4-4A3B-8973-BF9F3424F277}" type="presParOf" srcId="{A1AE9AAD-9091-4B60-BDE8-52DB23955BEB}" destId="{0A4841C9-57B9-47FC-B06B-C0AA39BCBA48}" srcOrd="5" destOrd="0" presId="urn:microsoft.com/office/officeart/2005/8/layout/target2"/>
    <dgm:cxn modelId="{8D92B2C9-C4FD-4105-9463-4687C88DC332}" type="presParOf" srcId="{A1AE9AAD-9091-4B60-BDE8-52DB23955BEB}" destId="{481CC87F-3016-4B4B-9A05-73ED3950B387}" srcOrd="6" destOrd="0" presId="urn:microsoft.com/office/officeart/2005/8/layout/target2"/>
    <dgm:cxn modelId="{D1D8F90B-E4F0-4073-83E2-CD2BDA7908AE}" type="presParOf" srcId="{93D19CAB-0C1F-4902-91EF-B5389B286C70}" destId="{8B7C6202-6D3A-4C6B-8ABD-723F8CC27C31}" srcOrd="1" destOrd="0" presId="urn:microsoft.com/office/officeart/2005/8/layout/target2"/>
    <dgm:cxn modelId="{DADD2F81-0179-4500-A56B-6ABAC12D26E2}" type="presParOf" srcId="{8B7C6202-6D3A-4C6B-8ABD-723F8CC27C31}" destId="{7206FF76-D04D-47FA-8EF1-3D0DCC1CA24D}" srcOrd="0" destOrd="0" presId="urn:microsoft.com/office/officeart/2005/8/layout/target2"/>
    <dgm:cxn modelId="{2CC0174E-1A48-48F4-AEF7-078BD0ACB10D}" type="presParOf" srcId="{8B7C6202-6D3A-4C6B-8ABD-723F8CC27C31}" destId="{949C8137-93A7-4581-9FBE-CAB9C9FF728C}" srcOrd="1" destOrd="0" presId="urn:microsoft.com/office/officeart/2005/8/layout/target2"/>
    <dgm:cxn modelId="{630EC701-77B7-4FEA-8ACC-6D7A80E5837E}" type="presParOf" srcId="{949C8137-93A7-4581-9FBE-CAB9C9FF728C}" destId="{3B3EB673-7CC3-4916-8A03-855CA94823FB}" srcOrd="0" destOrd="0" presId="urn:microsoft.com/office/officeart/2005/8/layout/target2"/>
    <dgm:cxn modelId="{E48704F9-7E52-4EE6-85AB-D26F82130582}" type="presParOf" srcId="{949C8137-93A7-4581-9FBE-CAB9C9FF728C}" destId="{115F59CC-B9D8-4AD0-90AE-1D168BAED204}" srcOrd="1" destOrd="0" presId="urn:microsoft.com/office/officeart/2005/8/layout/target2"/>
    <dgm:cxn modelId="{E42D556E-DD95-4E40-B7BD-23C4B9047C20}" type="presParOf" srcId="{949C8137-93A7-4581-9FBE-CAB9C9FF728C}" destId="{510F0245-9554-4C43-865B-8AF90000EC5D}" srcOrd="2" destOrd="0" presId="urn:microsoft.com/office/officeart/2005/8/layout/target2"/>
    <dgm:cxn modelId="{F0729B0F-21FA-449B-ADC5-DAD223A9B283}" type="presParOf" srcId="{949C8137-93A7-4581-9FBE-CAB9C9FF728C}" destId="{3BD52CA0-4ABE-4D97-8FE9-418FEEF141A4}" srcOrd="3" destOrd="0" presId="urn:microsoft.com/office/officeart/2005/8/layout/target2"/>
    <dgm:cxn modelId="{DA4AE311-BB5B-40D7-84F1-80FA0D860124}" type="presParOf" srcId="{949C8137-93A7-4581-9FBE-CAB9C9FF728C}" destId="{36A323D4-17B7-40E5-A932-1AF25D801514}" srcOrd="4" destOrd="0" presId="urn:microsoft.com/office/officeart/2005/8/layout/target2"/>
    <dgm:cxn modelId="{643C1E5A-737D-400E-BFCB-911F515206C5}" type="presParOf" srcId="{93D19CAB-0C1F-4902-91EF-B5389B286C70}" destId="{3D2AF560-68F9-42AE-BDEE-314F533AB843}" srcOrd="2" destOrd="0" presId="urn:microsoft.com/office/officeart/2005/8/layout/target2"/>
    <dgm:cxn modelId="{3CA5732C-AB6A-4BBD-8A19-29B8EC2FDE77}" type="presParOf" srcId="{3D2AF560-68F9-42AE-BDEE-314F533AB843}" destId="{65DDAF9E-446D-4659-AF80-B4B6721B1714}" srcOrd="0" destOrd="0" presId="urn:microsoft.com/office/officeart/2005/8/layout/target2"/>
    <dgm:cxn modelId="{92502A6E-0331-4104-9D29-61309A019072}" type="presParOf" srcId="{3D2AF560-68F9-42AE-BDEE-314F533AB843}" destId="{C8F4A696-5599-4CEA-9CCC-829858490A4A}" srcOrd="1" destOrd="0" presId="urn:microsoft.com/office/officeart/2005/8/layout/target2"/>
    <dgm:cxn modelId="{D55E0FC7-3AE8-4231-8107-38931AE3ADC9}" type="presParOf" srcId="{C8F4A696-5599-4CEA-9CCC-829858490A4A}" destId="{65EF07D5-0155-492C-8307-BA915C6600F5}" srcOrd="0" destOrd="0" presId="urn:microsoft.com/office/officeart/2005/8/layout/target2"/>
    <dgm:cxn modelId="{A7E06FB5-8680-4302-9AC7-F5255403402F}" type="presParOf" srcId="{C8F4A696-5599-4CEA-9CCC-829858490A4A}" destId="{0B227E99-A99C-40D3-A461-D76F78BF45DD}" srcOrd="1" destOrd="0" presId="urn:microsoft.com/office/officeart/2005/8/layout/target2"/>
    <dgm:cxn modelId="{791DE3B2-178C-49E8-A2B0-9F638925000F}" type="presParOf" srcId="{C8F4A696-5599-4CEA-9CCC-829858490A4A}" destId="{4D63A81C-D298-4102-8002-05CD9B8DE12E}" srcOrd="2" destOrd="0" presId="urn:microsoft.com/office/officeart/2005/8/layout/targe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7303855-A5DD-44BA-B578-DBB0BBB935FD}" type="doc">
      <dgm:prSet loTypeId="urn:microsoft.com/office/officeart/2005/8/layout/vList2" loCatId="list" qsTypeId="urn:microsoft.com/office/officeart/2005/8/quickstyle/simple4" qsCatId="simple" csTypeId="urn:microsoft.com/office/officeart/2005/8/colors/colorful5" csCatId="colorful" phldr="1"/>
      <dgm:spPr/>
      <dgm:t>
        <a:bodyPr/>
        <a:lstStyle/>
        <a:p>
          <a:endParaRPr lang="zh-TW" altLang="en-US"/>
        </a:p>
      </dgm:t>
    </dgm:pt>
    <dgm:pt modelId="{79C82602-2CF6-42DC-9B4A-E7A46CF3190D}">
      <dgm:prSet/>
      <dgm:spPr/>
      <dgm:t>
        <a:bodyPr/>
        <a:lstStyle/>
        <a:p>
          <a:pPr rtl="0"/>
          <a:r>
            <a:rPr lang="en-US" altLang="zh-TW" dirty="0" smtClean="0">
              <a:solidFill>
                <a:schemeClr val="tx1"/>
              </a:solidFill>
              <a:latin typeface="微軟正黑體" pitchFamily="34" charset="-120"/>
              <a:ea typeface="微軟正黑體" pitchFamily="34" charset="-120"/>
            </a:rPr>
            <a:t>3. </a:t>
          </a:r>
          <a:r>
            <a:rPr lang="zh-TW" dirty="0" smtClean="0">
              <a:solidFill>
                <a:schemeClr val="tx1"/>
              </a:solidFill>
              <a:latin typeface="微軟正黑體" pitchFamily="34" charset="-120"/>
              <a:ea typeface="微軟正黑體" pitchFamily="34" charset="-120"/>
            </a:rPr>
            <a:t>使用端須擁有</a:t>
          </a:r>
          <a:r>
            <a:rPr lang="en-US" altLang="zh-TW" dirty="0" smtClean="0">
              <a:solidFill>
                <a:schemeClr val="tx1"/>
              </a:solidFill>
              <a:latin typeface="微軟正黑體" pitchFamily="34" charset="-120"/>
              <a:ea typeface="微軟正黑體" pitchFamily="34" charset="-120"/>
            </a:rPr>
            <a:t> </a:t>
          </a:r>
          <a:r>
            <a:rPr lang="en-US" dirty="0" smtClean="0">
              <a:solidFill>
                <a:schemeClr val="tx1"/>
              </a:solidFill>
              <a:latin typeface="微軟正黑體" pitchFamily="34" charset="-120"/>
              <a:ea typeface="微軟正黑體" pitchFamily="34" charset="-120"/>
            </a:rPr>
            <a:t>CAL </a:t>
          </a:r>
          <a:r>
            <a:rPr lang="zh-TW" dirty="0" smtClean="0">
              <a:solidFill>
                <a:schemeClr val="tx1"/>
              </a:solidFill>
              <a:latin typeface="微軟正黑體" pitchFamily="34" charset="-120"/>
              <a:ea typeface="微軟正黑體" pitchFamily="34" charset="-120"/>
            </a:rPr>
            <a:t>才能存取</a:t>
          </a:r>
          <a:r>
            <a:rPr lang="en-US" altLang="zh-TW" dirty="0" smtClean="0">
              <a:solidFill>
                <a:schemeClr val="tx1"/>
              </a:solidFill>
              <a:latin typeface="微軟正黑體" pitchFamily="34" charset="-120"/>
              <a:ea typeface="微軟正黑體" pitchFamily="34" charset="-120"/>
            </a:rPr>
            <a:t> </a:t>
          </a:r>
          <a:r>
            <a:rPr lang="en-US" dirty="0" smtClean="0">
              <a:solidFill>
                <a:schemeClr val="tx1"/>
              </a:solidFill>
              <a:latin typeface="微軟正黑體" pitchFamily="34" charset="-120"/>
              <a:ea typeface="微軟正黑體" pitchFamily="34" charset="-120"/>
            </a:rPr>
            <a:t>Server ( CAL</a:t>
          </a:r>
          <a:r>
            <a:rPr lang="zh-TW" altLang="en-US" dirty="0" smtClean="0">
              <a:solidFill>
                <a:schemeClr val="tx1"/>
              </a:solidFill>
              <a:latin typeface="微軟正黑體" pitchFamily="34" charset="-120"/>
              <a:ea typeface="微軟正黑體" pitchFamily="34" charset="-120"/>
            </a:rPr>
            <a:t>版本需高於或等於</a:t>
          </a:r>
          <a:r>
            <a:rPr lang="en-US" altLang="zh-TW" dirty="0" smtClean="0">
              <a:solidFill>
                <a:schemeClr val="tx1"/>
              </a:solidFill>
              <a:latin typeface="微軟正黑體" pitchFamily="34" charset="-120"/>
              <a:ea typeface="微軟正黑體" pitchFamily="34" charset="-120"/>
            </a:rPr>
            <a:t>Server</a:t>
          </a:r>
          <a:r>
            <a:rPr lang="zh-TW" dirty="0" smtClean="0">
              <a:solidFill>
                <a:schemeClr val="tx1"/>
              </a:solidFill>
              <a:latin typeface="微軟正黑體" pitchFamily="34" charset="-120"/>
              <a:ea typeface="微軟正黑體" pitchFamily="34" charset="-120"/>
            </a:rPr>
            <a:t>版本</a:t>
          </a:r>
          <a:r>
            <a:rPr lang="en-US" altLang="zh-TW" dirty="0" smtClean="0">
              <a:solidFill>
                <a:schemeClr val="tx1"/>
              </a:solidFill>
              <a:latin typeface="微軟正黑體" pitchFamily="34" charset="-120"/>
              <a:ea typeface="微軟正黑體" pitchFamily="34" charset="-120"/>
            </a:rPr>
            <a:t> </a:t>
          </a:r>
          <a:r>
            <a:rPr lang="en-US" dirty="0" smtClean="0">
              <a:solidFill>
                <a:schemeClr val="tx1"/>
              </a:solidFill>
              <a:latin typeface="微軟正黑體" pitchFamily="34" charset="-120"/>
              <a:ea typeface="微軟正黑體" pitchFamily="34" charset="-120"/>
            </a:rPr>
            <a:t>)</a:t>
          </a:r>
          <a:endParaRPr lang="zh-TW" dirty="0">
            <a:solidFill>
              <a:schemeClr val="tx1"/>
            </a:solidFill>
            <a:latin typeface="微軟正黑體" pitchFamily="34" charset="-120"/>
            <a:ea typeface="微軟正黑體" pitchFamily="34" charset="-120"/>
          </a:endParaRPr>
        </a:p>
      </dgm:t>
    </dgm:pt>
    <dgm:pt modelId="{D3F3D159-84D2-428A-B7CE-CE491C0C7DBC}" type="parTrans" cxnId="{9F227F8A-CE1A-4E22-8E99-E615E7B2B979}">
      <dgm:prSet/>
      <dgm:spPr/>
      <dgm:t>
        <a:bodyPr/>
        <a:lstStyle/>
        <a:p>
          <a:endParaRPr lang="zh-TW" altLang="en-US">
            <a:latin typeface="微軟正黑體" pitchFamily="34" charset="-120"/>
            <a:ea typeface="微軟正黑體" pitchFamily="34" charset="-120"/>
          </a:endParaRPr>
        </a:p>
      </dgm:t>
    </dgm:pt>
    <dgm:pt modelId="{6C714CE9-023D-47C5-9DC4-7073FBA6A3C8}" type="sibTrans" cxnId="{9F227F8A-CE1A-4E22-8E99-E615E7B2B979}">
      <dgm:prSet/>
      <dgm:spPr/>
      <dgm:t>
        <a:bodyPr/>
        <a:lstStyle/>
        <a:p>
          <a:endParaRPr lang="zh-TW" altLang="en-US">
            <a:latin typeface="微軟正黑體" pitchFamily="34" charset="-120"/>
            <a:ea typeface="微軟正黑體" pitchFamily="34" charset="-120"/>
          </a:endParaRPr>
        </a:p>
      </dgm:t>
    </dgm:pt>
    <dgm:pt modelId="{8AB7B47F-162F-45F4-AA7E-5E199C9A4FFD}">
      <dgm:prSet custT="1"/>
      <dgm:spPr/>
      <dgm:t>
        <a:bodyPr/>
        <a:lstStyle/>
        <a:p>
          <a:pPr rtl="0"/>
          <a:r>
            <a:rPr lang="en-US" sz="1400" b="1" dirty="0" smtClean="0">
              <a:solidFill>
                <a:schemeClr val="tx1"/>
              </a:solidFill>
              <a:latin typeface="微軟正黑體" pitchFamily="34" charset="-120"/>
              <a:ea typeface="微軟正黑體" pitchFamily="34" charset="-120"/>
            </a:rPr>
            <a:t>Device CAL</a:t>
          </a:r>
          <a:r>
            <a:rPr lang="zh-TW" sz="1400" b="1" dirty="0" smtClean="0">
              <a:solidFill>
                <a:schemeClr val="tx1"/>
              </a:solidFill>
              <a:latin typeface="微軟正黑體" pitchFamily="34" charset="-120"/>
              <a:ea typeface="微軟正黑體" pitchFamily="34" charset="-120"/>
            </a:rPr>
            <a:t>：</a:t>
          </a:r>
          <a:r>
            <a:rPr lang="zh-TW" sz="1400" b="0" dirty="0" smtClean="0">
              <a:solidFill>
                <a:schemeClr val="tx1"/>
              </a:solidFill>
              <a:latin typeface="微軟正黑體" pitchFamily="34" charset="-120"/>
              <a:ea typeface="微軟正黑體" pitchFamily="34" charset="-120"/>
            </a:rPr>
            <a:t>限定裝置，不限制使用者</a:t>
          </a:r>
          <a:endParaRPr lang="zh-TW" sz="1400" b="0" dirty="0">
            <a:solidFill>
              <a:schemeClr val="tx1"/>
            </a:solidFill>
            <a:latin typeface="微軟正黑體" pitchFamily="34" charset="-120"/>
            <a:ea typeface="微軟正黑體" pitchFamily="34" charset="-120"/>
          </a:endParaRPr>
        </a:p>
      </dgm:t>
    </dgm:pt>
    <dgm:pt modelId="{9B9C7A16-F303-41DA-8F7E-C54F7BE1E938}" type="parTrans" cxnId="{21DDBB8C-6C0E-4B34-B792-02C057CCBBA5}">
      <dgm:prSet/>
      <dgm:spPr/>
      <dgm:t>
        <a:bodyPr/>
        <a:lstStyle/>
        <a:p>
          <a:endParaRPr lang="zh-TW" altLang="en-US">
            <a:latin typeface="微軟正黑體" pitchFamily="34" charset="-120"/>
            <a:ea typeface="微軟正黑體" pitchFamily="34" charset="-120"/>
          </a:endParaRPr>
        </a:p>
      </dgm:t>
    </dgm:pt>
    <dgm:pt modelId="{98CE7882-D060-4FB8-8733-0D53EEEAB386}" type="sibTrans" cxnId="{21DDBB8C-6C0E-4B34-B792-02C057CCBBA5}">
      <dgm:prSet/>
      <dgm:spPr/>
      <dgm:t>
        <a:bodyPr/>
        <a:lstStyle/>
        <a:p>
          <a:endParaRPr lang="zh-TW" altLang="en-US">
            <a:latin typeface="微軟正黑體" pitchFamily="34" charset="-120"/>
            <a:ea typeface="微軟正黑體" pitchFamily="34" charset="-120"/>
          </a:endParaRPr>
        </a:p>
      </dgm:t>
    </dgm:pt>
    <dgm:pt modelId="{E3BB05D9-D632-4A72-8542-9185FB79734B}">
      <dgm:prSet custT="1"/>
      <dgm:spPr/>
      <dgm:t>
        <a:bodyPr/>
        <a:lstStyle/>
        <a:p>
          <a:pPr rtl="0"/>
          <a:r>
            <a:rPr lang="en-US" sz="1400" b="1" dirty="0" smtClean="0">
              <a:solidFill>
                <a:schemeClr val="tx1"/>
              </a:solidFill>
              <a:latin typeface="微軟正黑體" pitchFamily="34" charset="-120"/>
              <a:ea typeface="微軟正黑體" pitchFamily="34" charset="-120"/>
            </a:rPr>
            <a:t>User CAL</a:t>
          </a:r>
          <a:r>
            <a:rPr lang="zh-TW" sz="1400" b="1" dirty="0" smtClean="0">
              <a:solidFill>
                <a:schemeClr val="tx1"/>
              </a:solidFill>
              <a:latin typeface="微軟正黑體" pitchFamily="34" charset="-120"/>
              <a:ea typeface="微軟正黑體" pitchFamily="34" charset="-120"/>
            </a:rPr>
            <a:t>：</a:t>
          </a:r>
          <a:r>
            <a:rPr lang="zh-TW" sz="1400" b="0" dirty="0" smtClean="0">
              <a:solidFill>
                <a:schemeClr val="tx1"/>
              </a:solidFill>
              <a:latin typeface="微軟正黑體" pitchFamily="34" charset="-120"/>
              <a:ea typeface="微軟正黑體" pitchFamily="34" charset="-120"/>
            </a:rPr>
            <a:t>限定使用者，不限制裝置</a:t>
          </a:r>
          <a:endParaRPr lang="zh-TW" sz="1400" b="0" dirty="0">
            <a:solidFill>
              <a:schemeClr val="tx1"/>
            </a:solidFill>
            <a:latin typeface="微軟正黑體" pitchFamily="34" charset="-120"/>
            <a:ea typeface="微軟正黑體" pitchFamily="34" charset="-120"/>
          </a:endParaRPr>
        </a:p>
      </dgm:t>
    </dgm:pt>
    <dgm:pt modelId="{42F2570A-5062-4789-881F-9EFF2F325200}" type="parTrans" cxnId="{BBDF6A19-A7A7-44C5-A7D6-F056D8A84CBC}">
      <dgm:prSet/>
      <dgm:spPr/>
      <dgm:t>
        <a:bodyPr/>
        <a:lstStyle/>
        <a:p>
          <a:endParaRPr lang="zh-TW" altLang="en-US">
            <a:latin typeface="微軟正黑體" pitchFamily="34" charset="-120"/>
            <a:ea typeface="微軟正黑體" pitchFamily="34" charset="-120"/>
          </a:endParaRPr>
        </a:p>
      </dgm:t>
    </dgm:pt>
    <dgm:pt modelId="{9E0EDD4E-B8F0-4214-AFE0-F513E8770C7A}" type="sibTrans" cxnId="{BBDF6A19-A7A7-44C5-A7D6-F056D8A84CBC}">
      <dgm:prSet/>
      <dgm:spPr/>
      <dgm:t>
        <a:bodyPr/>
        <a:lstStyle/>
        <a:p>
          <a:endParaRPr lang="zh-TW" altLang="en-US">
            <a:latin typeface="微軟正黑體" pitchFamily="34" charset="-120"/>
            <a:ea typeface="微軟正黑體" pitchFamily="34" charset="-120"/>
          </a:endParaRPr>
        </a:p>
      </dgm:t>
    </dgm:pt>
    <dgm:pt modelId="{16D7C9B9-B6F8-42F3-A098-01D2FE3D81E3}">
      <dgm:prSet custT="1"/>
      <dgm:spPr/>
      <dgm:t>
        <a:bodyPr/>
        <a:lstStyle/>
        <a:p>
          <a:r>
            <a:rPr lang="zh-TW" altLang="en-US" sz="1400" dirty="0" smtClean="0">
              <a:solidFill>
                <a:schemeClr val="tx1"/>
              </a:solidFill>
              <a:latin typeface="微軟正黑體" pitchFamily="34" charset="-120"/>
              <a:ea typeface="微軟正黑體" pitchFamily="34" charset="-120"/>
            </a:rPr>
            <a:t>非公司及關係企業員工</a:t>
          </a:r>
        </a:p>
      </dgm:t>
    </dgm:pt>
    <dgm:pt modelId="{9E0A76DD-3B57-44F8-B959-DED71C7521BA}" type="parTrans" cxnId="{4488C123-294B-4F78-9E8E-D3EC838D52CF}">
      <dgm:prSet/>
      <dgm:spPr/>
      <dgm:t>
        <a:bodyPr/>
        <a:lstStyle/>
        <a:p>
          <a:endParaRPr lang="zh-TW" altLang="en-US">
            <a:latin typeface="微軟正黑體" pitchFamily="34" charset="-120"/>
            <a:ea typeface="微軟正黑體" pitchFamily="34" charset="-120"/>
          </a:endParaRPr>
        </a:p>
      </dgm:t>
    </dgm:pt>
    <dgm:pt modelId="{1122934D-85B4-4231-9FAC-4313A3CDDE38}" type="sibTrans" cxnId="{4488C123-294B-4F78-9E8E-D3EC838D52CF}">
      <dgm:prSet/>
      <dgm:spPr/>
      <dgm:t>
        <a:bodyPr/>
        <a:lstStyle/>
        <a:p>
          <a:endParaRPr lang="zh-TW" altLang="en-US">
            <a:latin typeface="微軟正黑體" pitchFamily="34" charset="-120"/>
            <a:ea typeface="微軟正黑體" pitchFamily="34" charset="-120"/>
          </a:endParaRPr>
        </a:p>
      </dgm:t>
    </dgm:pt>
    <dgm:pt modelId="{505CBF63-2E37-435F-87BE-232C38243C82}">
      <dgm:prSet custT="1"/>
      <dgm:spPr/>
      <dgm:t>
        <a:bodyPr/>
        <a:lstStyle/>
        <a:p>
          <a:r>
            <a:rPr lang="zh-TW" altLang="en-US" sz="1400" dirty="0" smtClean="0">
              <a:solidFill>
                <a:schemeClr val="tx1"/>
              </a:solidFill>
              <a:latin typeface="微軟正黑體" pitchFamily="34" charset="-120"/>
              <a:ea typeface="微軟正黑體" pitchFamily="34" charset="-120"/>
            </a:rPr>
            <a:t>非公司及關係企業內部約聘人員或代理人</a:t>
          </a:r>
        </a:p>
      </dgm:t>
    </dgm:pt>
    <dgm:pt modelId="{B9FB3531-C073-4D1B-AF99-0FB1239E4FB2}" type="parTrans" cxnId="{DAEFB4E6-1E54-4331-94CB-3F8858E8B3FA}">
      <dgm:prSet/>
      <dgm:spPr/>
      <dgm:t>
        <a:bodyPr/>
        <a:lstStyle/>
        <a:p>
          <a:endParaRPr lang="zh-TW" altLang="en-US">
            <a:latin typeface="微軟正黑體" pitchFamily="34" charset="-120"/>
            <a:ea typeface="微軟正黑體" pitchFamily="34" charset="-120"/>
          </a:endParaRPr>
        </a:p>
      </dgm:t>
    </dgm:pt>
    <dgm:pt modelId="{4385DB48-04C6-4843-B4A6-F96AC464DB35}" type="sibTrans" cxnId="{DAEFB4E6-1E54-4331-94CB-3F8858E8B3FA}">
      <dgm:prSet/>
      <dgm:spPr/>
      <dgm:t>
        <a:bodyPr/>
        <a:lstStyle/>
        <a:p>
          <a:endParaRPr lang="zh-TW" altLang="en-US">
            <a:latin typeface="微軟正黑體" pitchFamily="34" charset="-120"/>
            <a:ea typeface="微軟正黑體" pitchFamily="34" charset="-120"/>
          </a:endParaRPr>
        </a:p>
      </dgm:t>
    </dgm:pt>
    <dgm:pt modelId="{E0FCD783-C44E-4AB2-90EE-08B33569A200}">
      <dgm:prSet/>
      <dgm:spPr/>
      <dgm:t>
        <a:bodyPr/>
        <a:lstStyle/>
        <a:p>
          <a:pPr rtl="0"/>
          <a:r>
            <a:rPr lang="en-US" altLang="zh-TW" dirty="0" smtClean="0">
              <a:solidFill>
                <a:schemeClr val="tx1"/>
              </a:solidFill>
              <a:latin typeface="微軟正黑體" pitchFamily="34" charset="-120"/>
              <a:ea typeface="微軟正黑體" pitchFamily="34" charset="-120"/>
            </a:rPr>
            <a:t>4. </a:t>
          </a:r>
          <a:r>
            <a:rPr lang="zh-TW" altLang="en-US" dirty="0" smtClean="0">
              <a:solidFill>
                <a:schemeClr val="tx1"/>
              </a:solidFill>
              <a:latin typeface="微軟正黑體" pitchFamily="34" charset="-120"/>
              <a:ea typeface="微軟正黑體" pitchFamily="34" charset="-120"/>
            </a:rPr>
            <a:t>透過 </a:t>
          </a:r>
          <a:r>
            <a:rPr lang="en-US" dirty="0" smtClean="0">
              <a:solidFill>
                <a:schemeClr val="tx1"/>
              </a:solidFill>
              <a:latin typeface="微軟正黑體" pitchFamily="34" charset="-120"/>
              <a:ea typeface="微軟正黑體" pitchFamily="34" charset="-120"/>
            </a:rPr>
            <a:t>External Connector </a:t>
          </a:r>
          <a:r>
            <a:rPr lang="zh-TW" altLang="en-US" dirty="0" smtClean="0">
              <a:solidFill>
                <a:schemeClr val="tx1"/>
              </a:solidFill>
              <a:latin typeface="微軟正黑體" pitchFamily="34" charset="-120"/>
              <a:ea typeface="微軟正黑體" pitchFamily="34" charset="-120"/>
            </a:rPr>
            <a:t>授權，可以讓無限的外部使用者存取 </a:t>
          </a:r>
          <a:r>
            <a:rPr lang="en-US" dirty="0" smtClean="0">
              <a:solidFill>
                <a:schemeClr val="tx1"/>
              </a:solidFill>
              <a:latin typeface="微軟正黑體" pitchFamily="34" charset="-120"/>
              <a:ea typeface="微軟正黑體" pitchFamily="34" charset="-120"/>
            </a:rPr>
            <a:t>Server</a:t>
          </a:r>
          <a:endParaRPr lang="zh-TW" dirty="0">
            <a:solidFill>
              <a:schemeClr val="tx1"/>
            </a:solidFill>
            <a:latin typeface="微軟正黑體" pitchFamily="34" charset="-120"/>
            <a:ea typeface="微軟正黑體" pitchFamily="34" charset="-120"/>
          </a:endParaRPr>
        </a:p>
      </dgm:t>
    </dgm:pt>
    <dgm:pt modelId="{DCEC7EF0-7C3F-4234-A11F-D6498F459910}" type="sibTrans" cxnId="{6E060E3A-98AB-4E54-AE0E-B5B00163638E}">
      <dgm:prSet/>
      <dgm:spPr/>
      <dgm:t>
        <a:bodyPr/>
        <a:lstStyle/>
        <a:p>
          <a:endParaRPr lang="zh-TW" altLang="en-US">
            <a:latin typeface="微軟正黑體" pitchFamily="34" charset="-120"/>
            <a:ea typeface="微軟正黑體" pitchFamily="34" charset="-120"/>
          </a:endParaRPr>
        </a:p>
      </dgm:t>
    </dgm:pt>
    <dgm:pt modelId="{9800757F-064C-4A30-B1FF-310510EC8C9D}" type="parTrans" cxnId="{6E060E3A-98AB-4E54-AE0E-B5B00163638E}">
      <dgm:prSet/>
      <dgm:spPr/>
      <dgm:t>
        <a:bodyPr/>
        <a:lstStyle/>
        <a:p>
          <a:endParaRPr lang="zh-TW" altLang="en-US">
            <a:latin typeface="微軟正黑體" pitchFamily="34" charset="-120"/>
            <a:ea typeface="微軟正黑體" pitchFamily="34" charset="-120"/>
          </a:endParaRPr>
        </a:p>
      </dgm:t>
    </dgm:pt>
    <dgm:pt modelId="{6EF19D94-7A2C-4C53-9855-93C2A83C6458}">
      <dgm:prSet custT="1"/>
      <dgm:spPr/>
      <dgm:t>
        <a:bodyPr/>
        <a:lstStyle/>
        <a:p>
          <a:pPr rtl="0"/>
          <a:r>
            <a:rPr lang="zh-TW" altLang="en-US" sz="1400" dirty="0" smtClean="0">
              <a:solidFill>
                <a:schemeClr val="tx1"/>
              </a:solidFill>
              <a:latin typeface="微軟正黑體" pitchFamily="34" charset="-120"/>
              <a:ea typeface="微軟正黑體" pitchFamily="34" charset="-120"/>
            </a:rPr>
            <a:t>外部使用者定義：</a:t>
          </a:r>
          <a:endParaRPr lang="zh-TW" altLang="en-US" sz="1400" dirty="0">
            <a:solidFill>
              <a:schemeClr val="tx1"/>
            </a:solidFill>
            <a:latin typeface="微軟正黑體" pitchFamily="34" charset="-120"/>
            <a:ea typeface="微軟正黑體" pitchFamily="34" charset="-120"/>
          </a:endParaRPr>
        </a:p>
      </dgm:t>
    </dgm:pt>
    <dgm:pt modelId="{720B03F3-98E7-49E1-AD82-3A73F38C2CB9}" type="parTrans" cxnId="{931F9EF5-AA5E-44DF-8007-02CD1928F857}">
      <dgm:prSet/>
      <dgm:spPr/>
      <dgm:t>
        <a:bodyPr/>
        <a:lstStyle/>
        <a:p>
          <a:endParaRPr lang="en-US"/>
        </a:p>
      </dgm:t>
    </dgm:pt>
    <dgm:pt modelId="{7084DB6A-927C-4832-9ABA-3FB65EA054A3}" type="sibTrans" cxnId="{931F9EF5-AA5E-44DF-8007-02CD1928F857}">
      <dgm:prSet/>
      <dgm:spPr/>
      <dgm:t>
        <a:bodyPr/>
        <a:lstStyle/>
        <a:p>
          <a:endParaRPr lang="en-US"/>
        </a:p>
      </dgm:t>
    </dgm:pt>
    <dgm:pt modelId="{3C47B4A3-C38D-4E65-AC0A-AC04870E18E2}">
      <dgm:prSet/>
      <dgm:spPr/>
      <dgm:t>
        <a:bodyPr/>
        <a:lstStyle/>
        <a:p>
          <a:pPr rtl="0"/>
          <a:r>
            <a:rPr lang="en-US" altLang="zh-TW" dirty="0" smtClean="0">
              <a:solidFill>
                <a:schemeClr val="tx1"/>
              </a:solidFill>
              <a:latin typeface="微軟正黑體" pitchFamily="34" charset="-120"/>
              <a:ea typeface="微軟正黑體" pitchFamily="34" charset="-120"/>
            </a:rPr>
            <a:t>1. </a:t>
          </a:r>
          <a:r>
            <a:rPr lang="zh-TW" dirty="0" smtClean="0">
              <a:solidFill>
                <a:schemeClr val="tx1"/>
              </a:solidFill>
              <a:latin typeface="微軟正黑體" pitchFamily="34" charset="-120"/>
              <a:ea typeface="微軟正黑體" pitchFamily="34" charset="-120"/>
            </a:rPr>
            <a:t>一套</a:t>
          </a:r>
          <a:r>
            <a:rPr lang="en-US" altLang="zh-TW" dirty="0" smtClean="0">
              <a:solidFill>
                <a:schemeClr val="tx1"/>
              </a:solidFill>
              <a:latin typeface="微軟正黑體" pitchFamily="34" charset="-120"/>
              <a:ea typeface="微軟正黑體" pitchFamily="34" charset="-120"/>
            </a:rPr>
            <a:t> Server/Processor </a:t>
          </a:r>
          <a:r>
            <a:rPr lang="zh-TW" dirty="0" smtClean="0">
              <a:solidFill>
                <a:schemeClr val="tx1"/>
              </a:solidFill>
              <a:latin typeface="微軟正黑體" pitchFamily="34" charset="-120"/>
              <a:ea typeface="微軟正黑體" pitchFamily="34" charset="-120"/>
            </a:rPr>
            <a:t>授權只限安裝於一台</a:t>
          </a:r>
          <a:r>
            <a:rPr lang="en-US" altLang="zh-TW" dirty="0" smtClean="0">
              <a:solidFill>
                <a:schemeClr val="tx1"/>
              </a:solidFill>
              <a:latin typeface="微軟正黑體" pitchFamily="34" charset="-120"/>
              <a:ea typeface="微軟正黑體" pitchFamily="34" charset="-120"/>
            </a:rPr>
            <a:t> </a:t>
          </a:r>
          <a:r>
            <a:rPr lang="en-US" dirty="0" smtClean="0">
              <a:solidFill>
                <a:schemeClr val="tx1"/>
              </a:solidFill>
              <a:latin typeface="微軟正黑體" pitchFamily="34" charset="-120"/>
              <a:ea typeface="微軟正黑體" pitchFamily="34" charset="-120"/>
            </a:rPr>
            <a:t>Server (</a:t>
          </a:r>
          <a:r>
            <a:rPr lang="zh-TW" dirty="0" smtClean="0">
              <a:solidFill>
                <a:schemeClr val="tx1"/>
              </a:solidFill>
              <a:latin typeface="微軟正黑體" pitchFamily="34" charset="-120"/>
              <a:ea typeface="微軟正黑體" pitchFamily="34" charset="-120"/>
            </a:rPr>
            <a:t>實體或虛擬環境</a:t>
          </a:r>
          <a:r>
            <a:rPr lang="en-US" dirty="0" smtClean="0">
              <a:solidFill>
                <a:schemeClr val="tx1"/>
              </a:solidFill>
              <a:latin typeface="微軟正黑體" pitchFamily="34" charset="-120"/>
              <a:ea typeface="微軟正黑體" pitchFamily="34" charset="-120"/>
            </a:rPr>
            <a:t>)</a:t>
          </a:r>
          <a:endParaRPr lang="zh-TW" dirty="0">
            <a:solidFill>
              <a:schemeClr val="tx1"/>
            </a:solidFill>
            <a:latin typeface="微軟正黑體" pitchFamily="34" charset="-120"/>
            <a:ea typeface="微軟正黑體" pitchFamily="34" charset="-120"/>
          </a:endParaRPr>
        </a:p>
      </dgm:t>
    </dgm:pt>
    <dgm:pt modelId="{79E64100-8969-401D-AB0E-85AC60BB310A}" type="sibTrans" cxnId="{31084A6E-72FF-4F62-A705-404E4F257EF9}">
      <dgm:prSet/>
      <dgm:spPr/>
      <dgm:t>
        <a:bodyPr/>
        <a:lstStyle/>
        <a:p>
          <a:endParaRPr lang="zh-TW" altLang="en-US">
            <a:latin typeface="微軟正黑體" pitchFamily="34" charset="-120"/>
            <a:ea typeface="微軟正黑體" pitchFamily="34" charset="-120"/>
          </a:endParaRPr>
        </a:p>
      </dgm:t>
    </dgm:pt>
    <dgm:pt modelId="{DB29FD33-8E2F-463B-9474-F2F396E77094}" type="parTrans" cxnId="{31084A6E-72FF-4F62-A705-404E4F257EF9}">
      <dgm:prSet/>
      <dgm:spPr/>
      <dgm:t>
        <a:bodyPr/>
        <a:lstStyle/>
        <a:p>
          <a:endParaRPr lang="zh-TW" altLang="en-US">
            <a:latin typeface="微軟正黑體" pitchFamily="34" charset="-120"/>
            <a:ea typeface="微軟正黑體" pitchFamily="34" charset="-120"/>
          </a:endParaRPr>
        </a:p>
      </dgm:t>
    </dgm:pt>
    <dgm:pt modelId="{2CADEC0E-C062-47E7-820C-DF2DCBA3C6B6}">
      <dgm:prSet/>
      <dgm:spPr/>
      <dgm:t>
        <a:bodyPr/>
        <a:lstStyle/>
        <a:p>
          <a:pPr rtl="0"/>
          <a:r>
            <a:rPr lang="en-US" altLang="zh-CN" dirty="0" smtClean="0">
              <a:solidFill>
                <a:schemeClr val="tx1"/>
              </a:solidFill>
            </a:rPr>
            <a:t>2. Server </a:t>
          </a:r>
          <a:r>
            <a:rPr lang="zh-TW" altLang="en-US" dirty="0" smtClean="0">
              <a:solidFill>
                <a:schemeClr val="tx1"/>
              </a:solidFill>
            </a:rPr>
            <a:t>上的</a:t>
          </a:r>
          <a:r>
            <a:rPr lang="zh-CN" dirty="0" smtClean="0">
              <a:solidFill>
                <a:schemeClr val="tx1"/>
              </a:solidFill>
            </a:rPr>
            <a:t>每個實體</a:t>
          </a:r>
          <a:r>
            <a:rPr lang="en-US" altLang="zh-CN" dirty="0" smtClean="0">
              <a:solidFill>
                <a:schemeClr val="tx1"/>
              </a:solidFill>
            </a:rPr>
            <a:t>/</a:t>
          </a:r>
          <a:r>
            <a:rPr lang="zh-TW" altLang="en-US" dirty="0" smtClean="0">
              <a:solidFill>
                <a:schemeClr val="tx1"/>
              </a:solidFill>
            </a:rPr>
            <a:t>虛擬 </a:t>
          </a:r>
          <a:r>
            <a:rPr lang="en-US" altLang="zh-CN" dirty="0" smtClean="0">
              <a:solidFill>
                <a:schemeClr val="tx1"/>
              </a:solidFill>
            </a:rPr>
            <a:t>Processor </a:t>
          </a:r>
          <a:r>
            <a:rPr lang="zh-TW" altLang="en-US" dirty="0" smtClean="0">
              <a:solidFill>
                <a:schemeClr val="tx1"/>
              </a:solidFill>
            </a:rPr>
            <a:t>都</a:t>
          </a:r>
          <a:r>
            <a:rPr lang="zh-CN" dirty="0" smtClean="0">
              <a:solidFill>
                <a:schemeClr val="tx1"/>
              </a:solidFill>
            </a:rPr>
            <a:t>必須取得</a:t>
          </a:r>
          <a:r>
            <a:rPr lang="zh-TW" altLang="en-US" dirty="0" smtClean="0">
              <a:solidFill>
                <a:schemeClr val="tx1"/>
              </a:solidFill>
            </a:rPr>
            <a:t>授</a:t>
          </a:r>
          <a:r>
            <a:rPr lang="zh-CN" dirty="0" smtClean="0">
              <a:solidFill>
                <a:schemeClr val="tx1"/>
              </a:solidFill>
            </a:rPr>
            <a:t>權。</a:t>
          </a:r>
          <a:endParaRPr lang="zh-TW" dirty="0">
            <a:solidFill>
              <a:schemeClr val="tx1"/>
            </a:solidFill>
            <a:latin typeface="微軟正黑體" pitchFamily="34" charset="-120"/>
            <a:ea typeface="微軟正黑體" pitchFamily="34" charset="-120"/>
          </a:endParaRPr>
        </a:p>
      </dgm:t>
    </dgm:pt>
    <dgm:pt modelId="{2E901955-EB1E-401A-A62F-2B52F6806387}" type="parTrans" cxnId="{93AB5888-96D6-4B5B-865A-5D97878125ED}">
      <dgm:prSet/>
      <dgm:spPr/>
      <dgm:t>
        <a:bodyPr/>
        <a:lstStyle/>
        <a:p>
          <a:endParaRPr lang="zh-TW" altLang="en-US"/>
        </a:p>
      </dgm:t>
    </dgm:pt>
    <dgm:pt modelId="{3F58E999-B756-4254-BC5D-ADA7CADD3158}" type="sibTrans" cxnId="{93AB5888-96D6-4B5B-865A-5D97878125ED}">
      <dgm:prSet/>
      <dgm:spPr/>
      <dgm:t>
        <a:bodyPr/>
        <a:lstStyle/>
        <a:p>
          <a:endParaRPr lang="zh-TW" altLang="en-US"/>
        </a:p>
      </dgm:t>
    </dgm:pt>
    <dgm:pt modelId="{AA8EFA0C-DCAC-4DD1-A551-2973794B73E4}" type="pres">
      <dgm:prSet presAssocID="{37303855-A5DD-44BA-B578-DBB0BBB935FD}" presName="linear" presStyleCnt="0">
        <dgm:presLayoutVars>
          <dgm:animLvl val="lvl"/>
          <dgm:resizeHandles val="exact"/>
        </dgm:presLayoutVars>
      </dgm:prSet>
      <dgm:spPr/>
      <dgm:t>
        <a:bodyPr/>
        <a:lstStyle/>
        <a:p>
          <a:endParaRPr lang="zh-TW" altLang="en-US"/>
        </a:p>
      </dgm:t>
    </dgm:pt>
    <dgm:pt modelId="{3672456A-DE11-45A6-B932-E0F5C91E284D}" type="pres">
      <dgm:prSet presAssocID="{3C47B4A3-C38D-4E65-AC0A-AC04870E18E2}" presName="parentText" presStyleLbl="node1" presStyleIdx="0" presStyleCnt="4">
        <dgm:presLayoutVars>
          <dgm:chMax val="0"/>
          <dgm:bulletEnabled val="1"/>
        </dgm:presLayoutVars>
      </dgm:prSet>
      <dgm:spPr/>
      <dgm:t>
        <a:bodyPr/>
        <a:lstStyle/>
        <a:p>
          <a:endParaRPr lang="zh-TW" altLang="en-US"/>
        </a:p>
      </dgm:t>
    </dgm:pt>
    <dgm:pt modelId="{33B83B76-FC7D-44D8-B39F-5BFAA3C0F06C}" type="pres">
      <dgm:prSet presAssocID="{79E64100-8969-401D-AB0E-85AC60BB310A}" presName="spacer" presStyleCnt="0"/>
      <dgm:spPr/>
    </dgm:pt>
    <dgm:pt modelId="{BDE07787-1A89-48CC-9903-6345674D01B9}" type="pres">
      <dgm:prSet presAssocID="{2CADEC0E-C062-47E7-820C-DF2DCBA3C6B6}" presName="parentText" presStyleLbl="node1" presStyleIdx="1" presStyleCnt="4">
        <dgm:presLayoutVars>
          <dgm:chMax val="0"/>
          <dgm:bulletEnabled val="1"/>
        </dgm:presLayoutVars>
      </dgm:prSet>
      <dgm:spPr/>
      <dgm:t>
        <a:bodyPr/>
        <a:lstStyle/>
        <a:p>
          <a:endParaRPr lang="zh-TW" altLang="en-US"/>
        </a:p>
      </dgm:t>
    </dgm:pt>
    <dgm:pt modelId="{3BB1E400-BE3F-4702-8C4E-8610AAACD359}" type="pres">
      <dgm:prSet presAssocID="{3F58E999-B756-4254-BC5D-ADA7CADD3158}" presName="spacer" presStyleCnt="0"/>
      <dgm:spPr/>
    </dgm:pt>
    <dgm:pt modelId="{BC1766C4-CA8F-4933-9CB6-2C8474D1588A}" type="pres">
      <dgm:prSet presAssocID="{79C82602-2CF6-42DC-9B4A-E7A46CF3190D}" presName="parentText" presStyleLbl="node1" presStyleIdx="2" presStyleCnt="4">
        <dgm:presLayoutVars>
          <dgm:chMax val="0"/>
          <dgm:bulletEnabled val="1"/>
        </dgm:presLayoutVars>
      </dgm:prSet>
      <dgm:spPr/>
      <dgm:t>
        <a:bodyPr/>
        <a:lstStyle/>
        <a:p>
          <a:endParaRPr lang="en-US"/>
        </a:p>
      </dgm:t>
    </dgm:pt>
    <dgm:pt modelId="{9608E1F9-C716-4B34-BDE5-454FB1FD2CB0}" type="pres">
      <dgm:prSet presAssocID="{79C82602-2CF6-42DC-9B4A-E7A46CF3190D}" presName="childText" presStyleLbl="revTx" presStyleIdx="0" presStyleCnt="2">
        <dgm:presLayoutVars>
          <dgm:bulletEnabled val="1"/>
        </dgm:presLayoutVars>
      </dgm:prSet>
      <dgm:spPr/>
      <dgm:t>
        <a:bodyPr/>
        <a:lstStyle/>
        <a:p>
          <a:endParaRPr lang="en-US"/>
        </a:p>
      </dgm:t>
    </dgm:pt>
    <dgm:pt modelId="{809993C0-CAC2-4DCC-901A-058796B74EE0}" type="pres">
      <dgm:prSet presAssocID="{E0FCD783-C44E-4AB2-90EE-08B33569A200}" presName="parentText" presStyleLbl="node1" presStyleIdx="3" presStyleCnt="4">
        <dgm:presLayoutVars>
          <dgm:chMax val="0"/>
          <dgm:bulletEnabled val="1"/>
        </dgm:presLayoutVars>
      </dgm:prSet>
      <dgm:spPr/>
      <dgm:t>
        <a:bodyPr/>
        <a:lstStyle/>
        <a:p>
          <a:endParaRPr lang="en-US"/>
        </a:p>
      </dgm:t>
    </dgm:pt>
    <dgm:pt modelId="{2813A574-090F-4124-B451-5CE3FA5DEB4C}" type="pres">
      <dgm:prSet presAssocID="{E0FCD783-C44E-4AB2-90EE-08B33569A200}" presName="childText" presStyleLbl="revTx" presStyleIdx="1" presStyleCnt="2">
        <dgm:presLayoutVars>
          <dgm:bulletEnabled val="1"/>
        </dgm:presLayoutVars>
      </dgm:prSet>
      <dgm:spPr/>
      <dgm:t>
        <a:bodyPr/>
        <a:lstStyle/>
        <a:p>
          <a:endParaRPr lang="en-US"/>
        </a:p>
      </dgm:t>
    </dgm:pt>
  </dgm:ptLst>
  <dgm:cxnLst>
    <dgm:cxn modelId="{41D019D9-6441-405E-B0A2-F155F919467E}" type="presOf" srcId="{37303855-A5DD-44BA-B578-DBB0BBB935FD}" destId="{AA8EFA0C-DCAC-4DD1-A551-2973794B73E4}" srcOrd="0" destOrd="0" presId="urn:microsoft.com/office/officeart/2005/8/layout/vList2"/>
    <dgm:cxn modelId="{006AF8D2-8A6F-4D4F-A44F-386788411945}" type="presOf" srcId="{3C47B4A3-C38D-4E65-AC0A-AC04870E18E2}" destId="{3672456A-DE11-45A6-B932-E0F5C91E284D}" srcOrd="0" destOrd="0" presId="urn:microsoft.com/office/officeart/2005/8/layout/vList2"/>
    <dgm:cxn modelId="{A2F6AB6B-3592-4F26-AD78-AC4698650D9F}" type="presOf" srcId="{16D7C9B9-B6F8-42F3-A098-01D2FE3D81E3}" destId="{2813A574-090F-4124-B451-5CE3FA5DEB4C}" srcOrd="0" destOrd="1" presId="urn:microsoft.com/office/officeart/2005/8/layout/vList2"/>
    <dgm:cxn modelId="{0169AB4D-D151-4558-9675-1EF68BE8C5E5}" type="presOf" srcId="{6EF19D94-7A2C-4C53-9855-93C2A83C6458}" destId="{2813A574-090F-4124-B451-5CE3FA5DEB4C}" srcOrd="0" destOrd="0" presId="urn:microsoft.com/office/officeart/2005/8/layout/vList2"/>
    <dgm:cxn modelId="{7028CF5E-89F3-44A8-BF90-62F6EF7D3A93}" type="presOf" srcId="{2CADEC0E-C062-47E7-820C-DF2DCBA3C6B6}" destId="{BDE07787-1A89-48CC-9903-6345674D01B9}" srcOrd="0" destOrd="0" presId="urn:microsoft.com/office/officeart/2005/8/layout/vList2"/>
    <dgm:cxn modelId="{D775EA43-9441-438A-A1E8-3DB3F9426428}" type="presOf" srcId="{505CBF63-2E37-435F-87BE-232C38243C82}" destId="{2813A574-090F-4124-B451-5CE3FA5DEB4C}" srcOrd="0" destOrd="2" presId="urn:microsoft.com/office/officeart/2005/8/layout/vList2"/>
    <dgm:cxn modelId="{A6068809-8558-4A1D-BAC3-ED26C5F7C484}" type="presOf" srcId="{8AB7B47F-162F-45F4-AA7E-5E199C9A4FFD}" destId="{9608E1F9-C716-4B34-BDE5-454FB1FD2CB0}" srcOrd="0" destOrd="0" presId="urn:microsoft.com/office/officeart/2005/8/layout/vList2"/>
    <dgm:cxn modelId="{BBDF6A19-A7A7-44C5-A7D6-F056D8A84CBC}" srcId="{79C82602-2CF6-42DC-9B4A-E7A46CF3190D}" destId="{E3BB05D9-D632-4A72-8542-9185FB79734B}" srcOrd="1" destOrd="0" parTransId="{42F2570A-5062-4789-881F-9EFF2F325200}" sibTransId="{9E0EDD4E-B8F0-4214-AFE0-F513E8770C7A}"/>
    <dgm:cxn modelId="{93AB5888-96D6-4B5B-865A-5D97878125ED}" srcId="{37303855-A5DD-44BA-B578-DBB0BBB935FD}" destId="{2CADEC0E-C062-47E7-820C-DF2DCBA3C6B6}" srcOrd="1" destOrd="0" parTransId="{2E901955-EB1E-401A-A62F-2B52F6806387}" sibTransId="{3F58E999-B756-4254-BC5D-ADA7CADD3158}"/>
    <dgm:cxn modelId="{DAEFB4E6-1E54-4331-94CB-3F8858E8B3FA}" srcId="{6EF19D94-7A2C-4C53-9855-93C2A83C6458}" destId="{505CBF63-2E37-435F-87BE-232C38243C82}" srcOrd="1" destOrd="0" parTransId="{B9FB3531-C073-4D1B-AF99-0FB1239E4FB2}" sibTransId="{4385DB48-04C6-4843-B4A6-F96AC464DB35}"/>
    <dgm:cxn modelId="{A3253A0C-5C13-4DA5-879E-72ABD01B8084}" type="presOf" srcId="{79C82602-2CF6-42DC-9B4A-E7A46CF3190D}" destId="{BC1766C4-CA8F-4933-9CB6-2C8474D1588A}" srcOrd="0" destOrd="0" presId="urn:microsoft.com/office/officeart/2005/8/layout/vList2"/>
    <dgm:cxn modelId="{C4DC9AD3-9F57-42ED-8587-790DFB9BA023}" type="presOf" srcId="{E0FCD783-C44E-4AB2-90EE-08B33569A200}" destId="{809993C0-CAC2-4DCC-901A-058796B74EE0}" srcOrd="0" destOrd="0" presId="urn:microsoft.com/office/officeart/2005/8/layout/vList2"/>
    <dgm:cxn modelId="{31084A6E-72FF-4F62-A705-404E4F257EF9}" srcId="{37303855-A5DD-44BA-B578-DBB0BBB935FD}" destId="{3C47B4A3-C38D-4E65-AC0A-AC04870E18E2}" srcOrd="0" destOrd="0" parTransId="{DB29FD33-8E2F-463B-9474-F2F396E77094}" sibTransId="{79E64100-8969-401D-AB0E-85AC60BB310A}"/>
    <dgm:cxn modelId="{6E060E3A-98AB-4E54-AE0E-B5B00163638E}" srcId="{37303855-A5DD-44BA-B578-DBB0BBB935FD}" destId="{E0FCD783-C44E-4AB2-90EE-08B33569A200}" srcOrd="3" destOrd="0" parTransId="{9800757F-064C-4A30-B1FF-310510EC8C9D}" sibTransId="{DCEC7EF0-7C3F-4234-A11F-D6498F459910}"/>
    <dgm:cxn modelId="{4488C123-294B-4F78-9E8E-D3EC838D52CF}" srcId="{6EF19D94-7A2C-4C53-9855-93C2A83C6458}" destId="{16D7C9B9-B6F8-42F3-A098-01D2FE3D81E3}" srcOrd="0" destOrd="0" parTransId="{9E0A76DD-3B57-44F8-B959-DED71C7521BA}" sibTransId="{1122934D-85B4-4231-9FAC-4313A3CDDE38}"/>
    <dgm:cxn modelId="{593523DB-6060-4FB5-B897-44427AE9C39E}" type="presOf" srcId="{E3BB05D9-D632-4A72-8542-9185FB79734B}" destId="{9608E1F9-C716-4B34-BDE5-454FB1FD2CB0}" srcOrd="0" destOrd="1" presId="urn:microsoft.com/office/officeart/2005/8/layout/vList2"/>
    <dgm:cxn modelId="{931F9EF5-AA5E-44DF-8007-02CD1928F857}" srcId="{E0FCD783-C44E-4AB2-90EE-08B33569A200}" destId="{6EF19D94-7A2C-4C53-9855-93C2A83C6458}" srcOrd="0" destOrd="0" parTransId="{720B03F3-98E7-49E1-AD82-3A73F38C2CB9}" sibTransId="{7084DB6A-927C-4832-9ABA-3FB65EA054A3}"/>
    <dgm:cxn modelId="{9F227F8A-CE1A-4E22-8E99-E615E7B2B979}" srcId="{37303855-A5DD-44BA-B578-DBB0BBB935FD}" destId="{79C82602-2CF6-42DC-9B4A-E7A46CF3190D}" srcOrd="2" destOrd="0" parTransId="{D3F3D159-84D2-428A-B7CE-CE491C0C7DBC}" sibTransId="{6C714CE9-023D-47C5-9DC4-7073FBA6A3C8}"/>
    <dgm:cxn modelId="{21DDBB8C-6C0E-4B34-B792-02C057CCBBA5}" srcId="{79C82602-2CF6-42DC-9B4A-E7A46CF3190D}" destId="{8AB7B47F-162F-45F4-AA7E-5E199C9A4FFD}" srcOrd="0" destOrd="0" parTransId="{9B9C7A16-F303-41DA-8F7E-C54F7BE1E938}" sibTransId="{98CE7882-D060-4FB8-8733-0D53EEEAB386}"/>
    <dgm:cxn modelId="{674CB761-9BC5-4198-BAA6-67D3FD861BCE}" type="presParOf" srcId="{AA8EFA0C-DCAC-4DD1-A551-2973794B73E4}" destId="{3672456A-DE11-45A6-B932-E0F5C91E284D}" srcOrd="0" destOrd="0" presId="urn:microsoft.com/office/officeart/2005/8/layout/vList2"/>
    <dgm:cxn modelId="{FD2D706D-4B08-4772-A662-4D1C42107A5E}" type="presParOf" srcId="{AA8EFA0C-DCAC-4DD1-A551-2973794B73E4}" destId="{33B83B76-FC7D-44D8-B39F-5BFAA3C0F06C}" srcOrd="1" destOrd="0" presId="urn:microsoft.com/office/officeart/2005/8/layout/vList2"/>
    <dgm:cxn modelId="{537F1B8E-EC35-42FB-99F4-F2B61E7212FB}" type="presParOf" srcId="{AA8EFA0C-DCAC-4DD1-A551-2973794B73E4}" destId="{BDE07787-1A89-48CC-9903-6345674D01B9}" srcOrd="2" destOrd="0" presId="urn:microsoft.com/office/officeart/2005/8/layout/vList2"/>
    <dgm:cxn modelId="{E65FF26E-66E9-468F-91F5-4533E1B1BF2F}" type="presParOf" srcId="{AA8EFA0C-DCAC-4DD1-A551-2973794B73E4}" destId="{3BB1E400-BE3F-4702-8C4E-8610AAACD359}" srcOrd="3" destOrd="0" presId="urn:microsoft.com/office/officeart/2005/8/layout/vList2"/>
    <dgm:cxn modelId="{90ED3352-A9C3-4B70-8EF4-6DB9EB95F55B}" type="presParOf" srcId="{AA8EFA0C-DCAC-4DD1-A551-2973794B73E4}" destId="{BC1766C4-CA8F-4933-9CB6-2C8474D1588A}" srcOrd="4" destOrd="0" presId="urn:microsoft.com/office/officeart/2005/8/layout/vList2"/>
    <dgm:cxn modelId="{AD811DEB-E3B7-4B36-9FEE-ACF99BA58D5B}" type="presParOf" srcId="{AA8EFA0C-DCAC-4DD1-A551-2973794B73E4}" destId="{9608E1F9-C716-4B34-BDE5-454FB1FD2CB0}" srcOrd="5" destOrd="0" presId="urn:microsoft.com/office/officeart/2005/8/layout/vList2"/>
    <dgm:cxn modelId="{3415EF08-48C6-4414-A226-4EEA9A5F17B8}" type="presParOf" srcId="{AA8EFA0C-DCAC-4DD1-A551-2973794B73E4}" destId="{809993C0-CAC2-4DCC-901A-058796B74EE0}" srcOrd="6" destOrd="0" presId="urn:microsoft.com/office/officeart/2005/8/layout/vList2"/>
    <dgm:cxn modelId="{6D036B26-BCEA-4406-B56B-788B50EF5B7D}" type="presParOf" srcId="{AA8EFA0C-DCAC-4DD1-A551-2973794B73E4}" destId="{2813A574-090F-4124-B451-5CE3FA5DEB4C}" srcOrd="7"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3689398-CB3A-4048-8F46-3D9CAB03B0EE}" type="doc">
      <dgm:prSet loTypeId="urn:microsoft.com/office/officeart/2005/8/layout/vList2" loCatId="list" qsTypeId="urn:microsoft.com/office/officeart/2005/8/quickstyle/3d2" qsCatId="3D" csTypeId="urn:microsoft.com/office/officeart/2005/8/colors/accent1_1" csCatId="accent1" phldr="1"/>
      <dgm:spPr/>
      <dgm:t>
        <a:bodyPr/>
        <a:lstStyle/>
        <a:p>
          <a:endParaRPr lang="zh-TW" altLang="en-US"/>
        </a:p>
      </dgm:t>
    </dgm:pt>
    <dgm:pt modelId="{0E0E9DB4-9DA5-4D16-84C1-22E27A09ED6D}">
      <dgm:prSet custT="1"/>
      <dgm:spPr/>
      <dgm:t>
        <a:bodyPr/>
        <a:lstStyle/>
        <a:p>
          <a:pPr rtl="0"/>
          <a:r>
            <a:rPr lang="zh-TW" sz="2400" dirty="0" smtClean="0">
              <a:latin typeface="標楷體" pitchFamily="65" charset="-120"/>
              <a:ea typeface="標楷體" pitchFamily="65" charset="-120"/>
            </a:rPr>
            <a:t>請對方提交</a:t>
          </a:r>
          <a:r>
            <a:rPr lang="en-US" sz="3200" b="1" dirty="0" smtClean="0">
              <a:latin typeface="標楷體" pitchFamily="65" charset="-120"/>
              <a:ea typeface="標楷體" pitchFamily="65" charset="-120"/>
            </a:rPr>
            <a:t>Autodesk</a:t>
          </a:r>
          <a:r>
            <a:rPr lang="zh-TW" sz="3200" b="1" dirty="0" smtClean="0">
              <a:latin typeface="標楷體" pitchFamily="65" charset="-120"/>
              <a:ea typeface="標楷體" pitchFamily="65" charset="-120"/>
            </a:rPr>
            <a:t>軟體使用證明</a:t>
          </a:r>
          <a:endParaRPr lang="zh-TW" sz="3200" b="1" dirty="0">
            <a:latin typeface="標楷體" pitchFamily="65" charset="-120"/>
            <a:ea typeface="標楷體" pitchFamily="65" charset="-120"/>
          </a:endParaRPr>
        </a:p>
      </dgm:t>
    </dgm:pt>
    <dgm:pt modelId="{49C76041-920D-4211-B4DD-2A370CAA40FA}" type="parTrans" cxnId="{6049B14C-4FDC-4C73-B013-90ECD60148BF}">
      <dgm:prSet/>
      <dgm:spPr/>
      <dgm:t>
        <a:bodyPr/>
        <a:lstStyle/>
        <a:p>
          <a:endParaRPr lang="zh-TW" altLang="en-US"/>
        </a:p>
      </dgm:t>
    </dgm:pt>
    <dgm:pt modelId="{FD6B8816-9075-4577-BBA1-514B2A01A3B0}" type="sibTrans" cxnId="{6049B14C-4FDC-4C73-B013-90ECD60148BF}">
      <dgm:prSet/>
      <dgm:spPr/>
      <dgm:t>
        <a:bodyPr/>
        <a:lstStyle/>
        <a:p>
          <a:endParaRPr lang="zh-TW" altLang="en-US"/>
        </a:p>
      </dgm:t>
    </dgm:pt>
    <dgm:pt modelId="{E6A2DBEA-2782-40DE-89EB-27FA637EB47C}">
      <dgm:prSet/>
      <dgm:spPr/>
      <dgm:t>
        <a:bodyPr/>
        <a:lstStyle/>
        <a:p>
          <a:pPr rtl="0"/>
          <a:r>
            <a:rPr lang="en-US" dirty="0" smtClean="0">
              <a:latin typeface="標楷體" pitchFamily="65" charset="-120"/>
              <a:ea typeface="標楷體" pitchFamily="65" charset="-120"/>
            </a:rPr>
            <a:t>Autodesk</a:t>
          </a:r>
          <a:r>
            <a:rPr lang="zh-TW" dirty="0" smtClean="0">
              <a:latin typeface="標楷體" pitchFamily="65" charset="-120"/>
              <a:ea typeface="標楷體" pitchFamily="65" charset="-120"/>
            </a:rPr>
            <a:t>軟體使用證明內容主要記載</a:t>
          </a:r>
          <a:endParaRPr lang="en-US" dirty="0">
            <a:latin typeface="標楷體" pitchFamily="65" charset="-120"/>
            <a:ea typeface="標楷體" pitchFamily="65" charset="-120"/>
          </a:endParaRPr>
        </a:p>
      </dgm:t>
    </dgm:pt>
    <dgm:pt modelId="{E3988CC6-B44A-43C4-A4CA-1C21EF49034F}" type="parTrans" cxnId="{F22A3F54-3D08-44CB-BF16-3B928A62FF9F}">
      <dgm:prSet/>
      <dgm:spPr/>
      <dgm:t>
        <a:bodyPr/>
        <a:lstStyle/>
        <a:p>
          <a:endParaRPr lang="zh-TW" altLang="en-US"/>
        </a:p>
      </dgm:t>
    </dgm:pt>
    <dgm:pt modelId="{738D2592-4723-43E1-A9CD-FE596F8A21D4}" type="sibTrans" cxnId="{F22A3F54-3D08-44CB-BF16-3B928A62FF9F}">
      <dgm:prSet/>
      <dgm:spPr/>
      <dgm:t>
        <a:bodyPr/>
        <a:lstStyle/>
        <a:p>
          <a:endParaRPr lang="zh-TW" altLang="en-US"/>
        </a:p>
      </dgm:t>
    </dgm:pt>
    <dgm:pt modelId="{5AE4BEB7-0153-4522-A37F-2F4E013B1B4B}">
      <dgm:prSet/>
      <dgm:spPr/>
      <dgm:t>
        <a:bodyPr/>
        <a:lstStyle/>
        <a:p>
          <a:pPr rtl="0"/>
          <a:r>
            <a:rPr lang="zh-TW" dirty="0" smtClean="0">
              <a:latin typeface="標楷體" pitchFamily="65" charset="-120"/>
              <a:ea typeface="標楷體" pitchFamily="65" charset="-120"/>
            </a:rPr>
            <a:t>使用者註冊名稱</a:t>
          </a:r>
          <a:endParaRPr lang="en-US" dirty="0">
            <a:latin typeface="標楷體" pitchFamily="65" charset="-120"/>
            <a:ea typeface="標楷體" pitchFamily="65" charset="-120"/>
          </a:endParaRPr>
        </a:p>
      </dgm:t>
    </dgm:pt>
    <dgm:pt modelId="{EF3C70E8-34D5-4006-A209-A328F730D161}" type="parTrans" cxnId="{61444B5E-3551-4C0C-9ED4-3E18CA93CC52}">
      <dgm:prSet/>
      <dgm:spPr/>
      <dgm:t>
        <a:bodyPr/>
        <a:lstStyle/>
        <a:p>
          <a:endParaRPr lang="zh-TW" altLang="en-US"/>
        </a:p>
      </dgm:t>
    </dgm:pt>
    <dgm:pt modelId="{029229E5-29BF-4463-890F-90BEF57372F3}" type="sibTrans" cxnId="{61444B5E-3551-4C0C-9ED4-3E18CA93CC52}">
      <dgm:prSet/>
      <dgm:spPr/>
      <dgm:t>
        <a:bodyPr/>
        <a:lstStyle/>
        <a:p>
          <a:endParaRPr lang="zh-TW" altLang="en-US"/>
        </a:p>
      </dgm:t>
    </dgm:pt>
    <dgm:pt modelId="{2EC3A648-B36A-46E0-8929-D2DCD06FCB9A}">
      <dgm:prSet/>
      <dgm:spPr/>
      <dgm:t>
        <a:bodyPr/>
        <a:lstStyle/>
        <a:p>
          <a:pPr rtl="0"/>
          <a:r>
            <a:rPr lang="zh-TW" dirty="0" smtClean="0">
              <a:latin typeface="標楷體" pitchFamily="65" charset="-120"/>
              <a:ea typeface="標楷體" pitchFamily="65" charset="-120"/>
            </a:rPr>
            <a:t>使用者聯絡資訊</a:t>
          </a:r>
          <a:endParaRPr lang="en-US" dirty="0">
            <a:latin typeface="標楷體" pitchFamily="65" charset="-120"/>
            <a:ea typeface="標楷體" pitchFamily="65" charset="-120"/>
          </a:endParaRPr>
        </a:p>
      </dgm:t>
    </dgm:pt>
    <dgm:pt modelId="{D320A479-66A6-4248-BA30-028C0DAE0C82}" type="parTrans" cxnId="{72E1CB11-1970-429C-9C9B-54CD72DEDEB1}">
      <dgm:prSet/>
      <dgm:spPr/>
      <dgm:t>
        <a:bodyPr/>
        <a:lstStyle/>
        <a:p>
          <a:endParaRPr lang="zh-TW" altLang="en-US"/>
        </a:p>
      </dgm:t>
    </dgm:pt>
    <dgm:pt modelId="{DD79B498-5606-4EC6-8F87-E96727B73897}" type="sibTrans" cxnId="{72E1CB11-1970-429C-9C9B-54CD72DEDEB1}">
      <dgm:prSet/>
      <dgm:spPr/>
      <dgm:t>
        <a:bodyPr/>
        <a:lstStyle/>
        <a:p>
          <a:endParaRPr lang="zh-TW" altLang="en-US"/>
        </a:p>
      </dgm:t>
    </dgm:pt>
    <dgm:pt modelId="{83C89840-ABDF-47E6-BB9D-4E69B33FD7C8}">
      <dgm:prSet/>
      <dgm:spPr/>
      <dgm:t>
        <a:bodyPr/>
        <a:lstStyle/>
        <a:p>
          <a:pPr rtl="0"/>
          <a:r>
            <a:rPr lang="zh-TW" dirty="0" smtClean="0">
              <a:latin typeface="標楷體" pitchFamily="65" charset="-120"/>
              <a:ea typeface="標楷體" pitchFamily="65" charset="-120"/>
            </a:rPr>
            <a:t>使用軟體名稱</a:t>
          </a:r>
          <a:endParaRPr lang="en-US" dirty="0">
            <a:latin typeface="標楷體" pitchFamily="65" charset="-120"/>
            <a:ea typeface="標楷體" pitchFamily="65" charset="-120"/>
          </a:endParaRPr>
        </a:p>
      </dgm:t>
    </dgm:pt>
    <dgm:pt modelId="{B3AB2723-A150-4DF9-B760-D7293E85937A}" type="parTrans" cxnId="{47379E45-CF2F-4840-BABE-9AC59CF7E685}">
      <dgm:prSet/>
      <dgm:spPr/>
      <dgm:t>
        <a:bodyPr/>
        <a:lstStyle/>
        <a:p>
          <a:endParaRPr lang="zh-TW" altLang="en-US"/>
        </a:p>
      </dgm:t>
    </dgm:pt>
    <dgm:pt modelId="{870A6B82-7F7A-46EC-9899-B70E9FEBC3D5}" type="sibTrans" cxnId="{47379E45-CF2F-4840-BABE-9AC59CF7E685}">
      <dgm:prSet/>
      <dgm:spPr/>
      <dgm:t>
        <a:bodyPr/>
        <a:lstStyle/>
        <a:p>
          <a:endParaRPr lang="zh-TW" altLang="en-US"/>
        </a:p>
      </dgm:t>
    </dgm:pt>
    <dgm:pt modelId="{8506E27A-99B4-4198-8EC2-C6C7EA149672}">
      <dgm:prSet/>
      <dgm:spPr/>
      <dgm:t>
        <a:bodyPr/>
        <a:lstStyle/>
        <a:p>
          <a:pPr rtl="0"/>
          <a:r>
            <a:rPr lang="zh-TW" dirty="0" smtClean="0">
              <a:latin typeface="標楷體" pitchFamily="65" charset="-120"/>
              <a:ea typeface="標楷體" pitchFamily="65" charset="-120"/>
            </a:rPr>
            <a:t>使用軟體版本</a:t>
          </a:r>
          <a:endParaRPr lang="zh-TW" dirty="0">
            <a:latin typeface="標楷體" pitchFamily="65" charset="-120"/>
            <a:ea typeface="標楷體" pitchFamily="65" charset="-120"/>
          </a:endParaRPr>
        </a:p>
      </dgm:t>
    </dgm:pt>
    <dgm:pt modelId="{CAFB37B9-67E7-46C3-8864-DBAE4E86E0F7}" type="parTrans" cxnId="{210F8622-D59B-4E75-8D6A-CBD91E792E39}">
      <dgm:prSet/>
      <dgm:spPr/>
      <dgm:t>
        <a:bodyPr/>
        <a:lstStyle/>
        <a:p>
          <a:endParaRPr lang="zh-TW" altLang="en-US"/>
        </a:p>
      </dgm:t>
    </dgm:pt>
    <dgm:pt modelId="{BC866F9D-0FB3-48A0-9CBF-DE2C74ECF3A8}" type="sibTrans" cxnId="{210F8622-D59B-4E75-8D6A-CBD91E792E39}">
      <dgm:prSet/>
      <dgm:spPr/>
      <dgm:t>
        <a:bodyPr/>
        <a:lstStyle/>
        <a:p>
          <a:endParaRPr lang="zh-TW" altLang="en-US"/>
        </a:p>
      </dgm:t>
    </dgm:pt>
    <dgm:pt modelId="{4FF63961-77FC-4033-90B7-BAD2829F4400}">
      <dgm:prSet/>
      <dgm:spPr/>
      <dgm:t>
        <a:bodyPr/>
        <a:lstStyle/>
        <a:p>
          <a:pPr rtl="0"/>
          <a:r>
            <a:rPr lang="zh-TW" dirty="0" smtClean="0">
              <a:latin typeface="標楷體" pitchFamily="65" charset="-120"/>
              <a:ea typeface="標楷體" pitchFamily="65" charset="-120"/>
            </a:rPr>
            <a:t>因</a:t>
          </a:r>
          <a:r>
            <a:rPr lang="en-US" dirty="0" smtClean="0">
              <a:latin typeface="標楷體" pitchFamily="65" charset="-120"/>
              <a:ea typeface="標楷體" pitchFamily="65" charset="-120"/>
            </a:rPr>
            <a:t>Autodesk</a:t>
          </a:r>
          <a:r>
            <a:rPr lang="zh-TW" dirty="0" smtClean="0">
              <a:latin typeface="標楷體" pitchFamily="65" charset="-120"/>
              <a:ea typeface="標楷體" pitchFamily="65" charset="-120"/>
            </a:rPr>
            <a:t>軟體必須完成註冊才能啟用</a:t>
          </a:r>
          <a:r>
            <a:rPr lang="en-US" dirty="0" smtClean="0">
              <a:latin typeface="標楷體" pitchFamily="65" charset="-120"/>
              <a:ea typeface="標楷體" pitchFamily="65" charset="-120"/>
            </a:rPr>
            <a:t>,</a:t>
          </a:r>
          <a:r>
            <a:rPr lang="zh-TW" dirty="0" smtClean="0">
              <a:latin typeface="標楷體" pitchFamily="65" charset="-120"/>
              <a:ea typeface="標楷體" pitchFamily="65" charset="-120"/>
            </a:rPr>
            <a:t>故完成註冊的用戶可申請“</a:t>
          </a:r>
          <a:r>
            <a:rPr lang="en-US" dirty="0" smtClean="0">
              <a:latin typeface="標楷體" pitchFamily="65" charset="-120"/>
              <a:ea typeface="標楷體" pitchFamily="65" charset="-120"/>
            </a:rPr>
            <a:t>Autodesk</a:t>
          </a:r>
          <a:r>
            <a:rPr lang="zh-TW" dirty="0" smtClean="0">
              <a:latin typeface="標楷體" pitchFamily="65" charset="-120"/>
              <a:ea typeface="標楷體" pitchFamily="65" charset="-120"/>
            </a:rPr>
            <a:t>軟體使用證明” </a:t>
          </a:r>
          <a:endParaRPr lang="zh-TW" dirty="0">
            <a:latin typeface="標楷體" pitchFamily="65" charset="-120"/>
            <a:ea typeface="標楷體" pitchFamily="65" charset="-120"/>
          </a:endParaRPr>
        </a:p>
      </dgm:t>
    </dgm:pt>
    <dgm:pt modelId="{7426F45C-2B34-4D12-9FC6-3C31C6BB6E91}" type="parTrans" cxnId="{416ACC37-E6FB-4F35-AD38-A28A0051B3F1}">
      <dgm:prSet/>
      <dgm:spPr/>
      <dgm:t>
        <a:bodyPr/>
        <a:lstStyle/>
        <a:p>
          <a:endParaRPr lang="zh-TW" altLang="en-US"/>
        </a:p>
      </dgm:t>
    </dgm:pt>
    <dgm:pt modelId="{7D2606F3-0A4E-4649-B54F-9BD462C9A16E}" type="sibTrans" cxnId="{416ACC37-E6FB-4F35-AD38-A28A0051B3F1}">
      <dgm:prSet/>
      <dgm:spPr/>
      <dgm:t>
        <a:bodyPr/>
        <a:lstStyle/>
        <a:p>
          <a:endParaRPr lang="zh-TW" altLang="en-US"/>
        </a:p>
      </dgm:t>
    </dgm:pt>
    <dgm:pt modelId="{CA132565-190F-4F6D-A870-3258403CF224}" type="pres">
      <dgm:prSet presAssocID="{43689398-CB3A-4048-8F46-3D9CAB03B0EE}" presName="linear" presStyleCnt="0">
        <dgm:presLayoutVars>
          <dgm:animLvl val="lvl"/>
          <dgm:resizeHandles val="exact"/>
        </dgm:presLayoutVars>
      </dgm:prSet>
      <dgm:spPr/>
      <dgm:t>
        <a:bodyPr/>
        <a:lstStyle/>
        <a:p>
          <a:endParaRPr lang="zh-TW" altLang="en-US"/>
        </a:p>
      </dgm:t>
    </dgm:pt>
    <dgm:pt modelId="{7B101904-9AAA-46F9-8DDD-E9A67A75D429}" type="pres">
      <dgm:prSet presAssocID="{0E0E9DB4-9DA5-4D16-84C1-22E27A09ED6D}" presName="parentText" presStyleLbl="node1" presStyleIdx="0" presStyleCnt="3" custLinFactNeighborX="-182" custLinFactNeighborY="20019">
        <dgm:presLayoutVars>
          <dgm:chMax val="0"/>
          <dgm:bulletEnabled val="1"/>
        </dgm:presLayoutVars>
      </dgm:prSet>
      <dgm:spPr/>
      <dgm:t>
        <a:bodyPr/>
        <a:lstStyle/>
        <a:p>
          <a:endParaRPr lang="zh-TW" altLang="en-US"/>
        </a:p>
      </dgm:t>
    </dgm:pt>
    <dgm:pt modelId="{9E3DCDCE-742B-478E-9ACD-32F1344F4A7F}" type="pres">
      <dgm:prSet presAssocID="{FD6B8816-9075-4577-BBA1-514B2A01A3B0}" presName="spacer" presStyleCnt="0"/>
      <dgm:spPr/>
    </dgm:pt>
    <dgm:pt modelId="{CBA12B30-1257-4116-8FA1-A0E77486589B}" type="pres">
      <dgm:prSet presAssocID="{E6A2DBEA-2782-40DE-89EB-27FA637EB47C}" presName="parentText" presStyleLbl="node1" presStyleIdx="1" presStyleCnt="3">
        <dgm:presLayoutVars>
          <dgm:chMax val="0"/>
          <dgm:bulletEnabled val="1"/>
        </dgm:presLayoutVars>
      </dgm:prSet>
      <dgm:spPr/>
      <dgm:t>
        <a:bodyPr/>
        <a:lstStyle/>
        <a:p>
          <a:endParaRPr lang="zh-TW" altLang="en-US"/>
        </a:p>
      </dgm:t>
    </dgm:pt>
    <dgm:pt modelId="{1941D2FC-FE70-4A5E-8723-3BFB8DFB61BC}" type="pres">
      <dgm:prSet presAssocID="{E6A2DBEA-2782-40DE-89EB-27FA637EB47C}" presName="childText" presStyleLbl="revTx" presStyleIdx="0" presStyleCnt="1">
        <dgm:presLayoutVars>
          <dgm:bulletEnabled val="1"/>
        </dgm:presLayoutVars>
      </dgm:prSet>
      <dgm:spPr/>
      <dgm:t>
        <a:bodyPr/>
        <a:lstStyle/>
        <a:p>
          <a:endParaRPr lang="zh-TW" altLang="en-US"/>
        </a:p>
      </dgm:t>
    </dgm:pt>
    <dgm:pt modelId="{F6D068D6-9FF4-4335-8295-A6E4B17BAFC0}" type="pres">
      <dgm:prSet presAssocID="{4FF63961-77FC-4033-90B7-BAD2829F4400}" presName="parentText" presStyleLbl="node1" presStyleIdx="2" presStyleCnt="3">
        <dgm:presLayoutVars>
          <dgm:chMax val="0"/>
          <dgm:bulletEnabled val="1"/>
        </dgm:presLayoutVars>
      </dgm:prSet>
      <dgm:spPr/>
      <dgm:t>
        <a:bodyPr/>
        <a:lstStyle/>
        <a:p>
          <a:endParaRPr lang="zh-TW" altLang="en-US"/>
        </a:p>
      </dgm:t>
    </dgm:pt>
  </dgm:ptLst>
  <dgm:cxnLst>
    <dgm:cxn modelId="{4649C2B5-AC45-466F-BD5C-9FD3C7B8CDDD}" type="presOf" srcId="{5AE4BEB7-0153-4522-A37F-2F4E013B1B4B}" destId="{1941D2FC-FE70-4A5E-8723-3BFB8DFB61BC}" srcOrd="0" destOrd="0" presId="urn:microsoft.com/office/officeart/2005/8/layout/vList2"/>
    <dgm:cxn modelId="{CF781BF7-15DA-4C19-A7F8-A5087DDC5618}" type="presOf" srcId="{43689398-CB3A-4048-8F46-3D9CAB03B0EE}" destId="{CA132565-190F-4F6D-A870-3258403CF224}" srcOrd="0" destOrd="0" presId="urn:microsoft.com/office/officeart/2005/8/layout/vList2"/>
    <dgm:cxn modelId="{F22A3F54-3D08-44CB-BF16-3B928A62FF9F}" srcId="{43689398-CB3A-4048-8F46-3D9CAB03B0EE}" destId="{E6A2DBEA-2782-40DE-89EB-27FA637EB47C}" srcOrd="1" destOrd="0" parTransId="{E3988CC6-B44A-43C4-A4CA-1C21EF49034F}" sibTransId="{738D2592-4723-43E1-A9CD-FE596F8A21D4}"/>
    <dgm:cxn modelId="{72E1CB11-1970-429C-9C9B-54CD72DEDEB1}" srcId="{E6A2DBEA-2782-40DE-89EB-27FA637EB47C}" destId="{2EC3A648-B36A-46E0-8929-D2DCD06FCB9A}" srcOrd="1" destOrd="0" parTransId="{D320A479-66A6-4248-BA30-028C0DAE0C82}" sibTransId="{DD79B498-5606-4EC6-8F87-E96727B73897}"/>
    <dgm:cxn modelId="{6049B14C-4FDC-4C73-B013-90ECD60148BF}" srcId="{43689398-CB3A-4048-8F46-3D9CAB03B0EE}" destId="{0E0E9DB4-9DA5-4D16-84C1-22E27A09ED6D}" srcOrd="0" destOrd="0" parTransId="{49C76041-920D-4211-B4DD-2A370CAA40FA}" sibTransId="{FD6B8816-9075-4577-BBA1-514B2A01A3B0}"/>
    <dgm:cxn modelId="{35524D7C-E904-4E83-8C64-BD814DDA727A}" type="presOf" srcId="{2EC3A648-B36A-46E0-8929-D2DCD06FCB9A}" destId="{1941D2FC-FE70-4A5E-8723-3BFB8DFB61BC}" srcOrd="0" destOrd="1" presId="urn:microsoft.com/office/officeart/2005/8/layout/vList2"/>
    <dgm:cxn modelId="{BAEB20E7-6085-4A52-B298-D1B730217E62}" type="presOf" srcId="{E6A2DBEA-2782-40DE-89EB-27FA637EB47C}" destId="{CBA12B30-1257-4116-8FA1-A0E77486589B}" srcOrd="0" destOrd="0" presId="urn:microsoft.com/office/officeart/2005/8/layout/vList2"/>
    <dgm:cxn modelId="{7053D88D-E436-450F-9B36-3599362F19C8}" type="presOf" srcId="{8506E27A-99B4-4198-8EC2-C6C7EA149672}" destId="{1941D2FC-FE70-4A5E-8723-3BFB8DFB61BC}" srcOrd="0" destOrd="3" presId="urn:microsoft.com/office/officeart/2005/8/layout/vList2"/>
    <dgm:cxn modelId="{E5BA7E37-0839-4429-BA36-533E9FC2E2A3}" type="presOf" srcId="{0E0E9DB4-9DA5-4D16-84C1-22E27A09ED6D}" destId="{7B101904-9AAA-46F9-8DDD-E9A67A75D429}" srcOrd="0" destOrd="0" presId="urn:microsoft.com/office/officeart/2005/8/layout/vList2"/>
    <dgm:cxn modelId="{47379E45-CF2F-4840-BABE-9AC59CF7E685}" srcId="{E6A2DBEA-2782-40DE-89EB-27FA637EB47C}" destId="{83C89840-ABDF-47E6-BB9D-4E69B33FD7C8}" srcOrd="2" destOrd="0" parTransId="{B3AB2723-A150-4DF9-B760-D7293E85937A}" sibTransId="{870A6B82-7F7A-46EC-9899-B70E9FEBC3D5}"/>
    <dgm:cxn modelId="{53C53F2A-EEB0-4249-B27E-53D39396728F}" type="presOf" srcId="{83C89840-ABDF-47E6-BB9D-4E69B33FD7C8}" destId="{1941D2FC-FE70-4A5E-8723-3BFB8DFB61BC}" srcOrd="0" destOrd="2" presId="urn:microsoft.com/office/officeart/2005/8/layout/vList2"/>
    <dgm:cxn modelId="{886406C4-E40E-4952-9E62-34DB0D91C05E}" type="presOf" srcId="{4FF63961-77FC-4033-90B7-BAD2829F4400}" destId="{F6D068D6-9FF4-4335-8295-A6E4B17BAFC0}" srcOrd="0" destOrd="0" presId="urn:microsoft.com/office/officeart/2005/8/layout/vList2"/>
    <dgm:cxn modelId="{210F8622-D59B-4E75-8D6A-CBD91E792E39}" srcId="{E6A2DBEA-2782-40DE-89EB-27FA637EB47C}" destId="{8506E27A-99B4-4198-8EC2-C6C7EA149672}" srcOrd="3" destOrd="0" parTransId="{CAFB37B9-67E7-46C3-8864-DBAE4E86E0F7}" sibTransId="{BC866F9D-0FB3-48A0-9CBF-DE2C74ECF3A8}"/>
    <dgm:cxn modelId="{61444B5E-3551-4C0C-9ED4-3E18CA93CC52}" srcId="{E6A2DBEA-2782-40DE-89EB-27FA637EB47C}" destId="{5AE4BEB7-0153-4522-A37F-2F4E013B1B4B}" srcOrd="0" destOrd="0" parTransId="{EF3C70E8-34D5-4006-A209-A328F730D161}" sibTransId="{029229E5-29BF-4463-890F-90BEF57372F3}"/>
    <dgm:cxn modelId="{416ACC37-E6FB-4F35-AD38-A28A0051B3F1}" srcId="{43689398-CB3A-4048-8F46-3D9CAB03B0EE}" destId="{4FF63961-77FC-4033-90B7-BAD2829F4400}" srcOrd="2" destOrd="0" parTransId="{7426F45C-2B34-4D12-9FC6-3C31C6BB6E91}" sibTransId="{7D2606F3-0A4E-4649-B54F-9BD462C9A16E}"/>
    <dgm:cxn modelId="{7A7F8002-D360-4CD7-8AFD-6C98FB8CC752}" type="presParOf" srcId="{CA132565-190F-4F6D-A870-3258403CF224}" destId="{7B101904-9AAA-46F9-8DDD-E9A67A75D429}" srcOrd="0" destOrd="0" presId="urn:microsoft.com/office/officeart/2005/8/layout/vList2"/>
    <dgm:cxn modelId="{86DC832E-2310-4505-9C0F-2A56EC73D1E7}" type="presParOf" srcId="{CA132565-190F-4F6D-A870-3258403CF224}" destId="{9E3DCDCE-742B-478E-9ACD-32F1344F4A7F}" srcOrd="1" destOrd="0" presId="urn:microsoft.com/office/officeart/2005/8/layout/vList2"/>
    <dgm:cxn modelId="{545483A8-D02C-43B9-8E65-585EA587F3A0}" type="presParOf" srcId="{CA132565-190F-4F6D-A870-3258403CF224}" destId="{CBA12B30-1257-4116-8FA1-A0E77486589B}" srcOrd="2" destOrd="0" presId="urn:microsoft.com/office/officeart/2005/8/layout/vList2"/>
    <dgm:cxn modelId="{9B67095A-BF6B-4588-A2BA-22AEFAF0EED8}" type="presParOf" srcId="{CA132565-190F-4F6D-A870-3258403CF224}" destId="{1941D2FC-FE70-4A5E-8723-3BFB8DFB61BC}" srcOrd="3" destOrd="0" presId="urn:microsoft.com/office/officeart/2005/8/layout/vList2"/>
    <dgm:cxn modelId="{1970FE37-2FAC-4CEC-A92F-59CE8D4A023A}" type="presParOf" srcId="{CA132565-190F-4F6D-A870-3258403CF224}" destId="{F6D068D6-9FF4-4335-8295-A6E4B17BAFC0}" srcOrd="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57DF2D3-F4F4-492C-8D2A-92DD8F56F170}" type="doc">
      <dgm:prSet loTypeId="urn:microsoft.com/office/officeart/2005/8/layout/vList2" loCatId="list" qsTypeId="urn:microsoft.com/office/officeart/2005/8/quickstyle/simple1" qsCatId="simple" csTypeId="urn:microsoft.com/office/officeart/2005/8/colors/accent1_1" csCatId="accent1" phldr="1"/>
      <dgm:spPr/>
      <dgm:t>
        <a:bodyPr/>
        <a:lstStyle/>
        <a:p>
          <a:endParaRPr lang="zh-TW" altLang="en-US"/>
        </a:p>
      </dgm:t>
    </dgm:pt>
    <dgm:pt modelId="{9D4E7B51-4943-4737-ADF0-F368AC81F39D}">
      <dgm:prSet/>
      <dgm:spPr/>
      <dgm:t>
        <a:bodyPr/>
        <a:lstStyle/>
        <a:p>
          <a:pPr rtl="0"/>
          <a:r>
            <a:rPr lang="zh-TW" dirty="0" smtClean="0">
              <a:latin typeface="標楷體" pitchFamily="65" charset="-120"/>
              <a:ea typeface="標楷體" pitchFamily="65" charset="-120"/>
            </a:rPr>
            <a:t>「關於 </a:t>
          </a:r>
          <a:r>
            <a:rPr lang="en-US" dirty="0" smtClean="0">
              <a:latin typeface="標楷體" pitchFamily="65" charset="-120"/>
              <a:ea typeface="標楷體" pitchFamily="65" charset="-120"/>
            </a:rPr>
            <a:t>AutoCAD</a:t>
          </a:r>
          <a:r>
            <a:rPr lang="zh-TW" dirty="0" smtClean="0">
              <a:latin typeface="標楷體" pitchFamily="65" charset="-120"/>
              <a:ea typeface="標楷體" pitchFamily="65" charset="-120"/>
            </a:rPr>
            <a:t>」 的對話框上會顯示安裝時輸入的註冊訊息，如授權給</a:t>
          </a:r>
          <a:endParaRPr lang="en-US" dirty="0">
            <a:latin typeface="標楷體" pitchFamily="65" charset="-120"/>
            <a:ea typeface="標楷體" pitchFamily="65" charset="-120"/>
          </a:endParaRPr>
        </a:p>
      </dgm:t>
    </dgm:pt>
    <dgm:pt modelId="{C4130D84-E272-402F-BE87-C78F4C441DB6}" type="parTrans" cxnId="{63BDF52D-CCAB-4E2E-99F3-60099CD04454}">
      <dgm:prSet/>
      <dgm:spPr/>
      <dgm:t>
        <a:bodyPr/>
        <a:lstStyle/>
        <a:p>
          <a:endParaRPr lang="zh-TW" altLang="en-US"/>
        </a:p>
      </dgm:t>
    </dgm:pt>
    <dgm:pt modelId="{1EF6F0C2-88E4-4C90-B370-A8BB425B96B8}" type="sibTrans" cxnId="{63BDF52D-CCAB-4E2E-99F3-60099CD04454}">
      <dgm:prSet/>
      <dgm:spPr/>
      <dgm:t>
        <a:bodyPr/>
        <a:lstStyle/>
        <a:p>
          <a:endParaRPr lang="zh-TW" altLang="en-US"/>
        </a:p>
      </dgm:t>
    </dgm:pt>
    <dgm:pt modelId="{F73B6735-6C24-455D-B3FC-644D8041D829}">
      <dgm:prSet/>
      <dgm:spPr/>
      <dgm:t>
        <a:bodyPr/>
        <a:lstStyle/>
        <a:p>
          <a:pPr rtl="0"/>
          <a:r>
            <a:rPr lang="zh-TW" dirty="0" smtClean="0">
              <a:latin typeface="標楷體" pitchFamily="65" charset="-120"/>
              <a:ea typeface="標楷體" pitchFamily="65" charset="-120"/>
            </a:rPr>
            <a:t>序號：可由此確認產品序號</a:t>
          </a:r>
          <a:r>
            <a:rPr lang="en-US" dirty="0" smtClean="0">
              <a:latin typeface="標楷體" pitchFamily="65" charset="-120"/>
              <a:ea typeface="標楷體" pitchFamily="65" charset="-120"/>
            </a:rPr>
            <a:t>( </a:t>
          </a:r>
          <a:r>
            <a:rPr lang="zh-TW" dirty="0" smtClean="0">
              <a:latin typeface="標楷體" pitchFamily="65" charset="-120"/>
              <a:ea typeface="標楷體" pitchFamily="65" charset="-120"/>
            </a:rPr>
            <a:t>此序號與軟體彩盒上的序號應屬一致 </a:t>
          </a:r>
          <a:r>
            <a:rPr lang="en-US" dirty="0" smtClean="0">
              <a:latin typeface="標楷體" pitchFamily="65" charset="-120"/>
              <a:ea typeface="標楷體" pitchFamily="65" charset="-120"/>
            </a:rPr>
            <a:t>)</a:t>
          </a:r>
          <a:endParaRPr lang="zh-TW" dirty="0">
            <a:latin typeface="標楷體" pitchFamily="65" charset="-120"/>
            <a:ea typeface="標楷體" pitchFamily="65" charset="-120"/>
          </a:endParaRPr>
        </a:p>
      </dgm:t>
    </dgm:pt>
    <dgm:pt modelId="{4BEFCE8E-D48A-4019-A6C1-C3060CD70233}" type="parTrans" cxnId="{303F18A5-C76E-4737-9F5E-F162A40951B7}">
      <dgm:prSet/>
      <dgm:spPr/>
      <dgm:t>
        <a:bodyPr/>
        <a:lstStyle/>
        <a:p>
          <a:endParaRPr lang="zh-TW" altLang="en-US"/>
        </a:p>
      </dgm:t>
    </dgm:pt>
    <dgm:pt modelId="{A8A2AD71-DCA8-4134-8200-B8CD6DF022D5}" type="sibTrans" cxnId="{303F18A5-C76E-4737-9F5E-F162A40951B7}">
      <dgm:prSet/>
      <dgm:spPr/>
      <dgm:t>
        <a:bodyPr/>
        <a:lstStyle/>
        <a:p>
          <a:endParaRPr lang="zh-TW" altLang="en-US"/>
        </a:p>
      </dgm:t>
    </dgm:pt>
    <dgm:pt modelId="{B3C5BAE1-A4A8-4C8E-A027-7FC7D71DE0EC}">
      <dgm:prSet/>
      <dgm:spPr/>
      <dgm:t>
        <a:bodyPr/>
        <a:lstStyle/>
        <a:p>
          <a:pPr rtl="0"/>
          <a:r>
            <a:rPr lang="zh-TW" dirty="0" smtClean="0">
              <a:latin typeface="標楷體" pitchFamily="65" charset="-120"/>
              <a:ea typeface="標楷體" pitchFamily="65" charset="-120"/>
            </a:rPr>
            <a:t>您可以進一步再按下「產品資訊」得到更完整訊息。</a:t>
          </a:r>
          <a:endParaRPr lang="zh-TW" dirty="0">
            <a:latin typeface="標楷體" pitchFamily="65" charset="-120"/>
            <a:ea typeface="標楷體" pitchFamily="65" charset="-120"/>
          </a:endParaRPr>
        </a:p>
      </dgm:t>
    </dgm:pt>
    <dgm:pt modelId="{D8F4B4CB-66AE-464F-BDC2-C315CA2CC3EE}" type="parTrans" cxnId="{7008440B-9BBF-4CEE-865C-3CD61B8A4F32}">
      <dgm:prSet/>
      <dgm:spPr/>
      <dgm:t>
        <a:bodyPr/>
        <a:lstStyle/>
        <a:p>
          <a:endParaRPr lang="zh-TW" altLang="en-US"/>
        </a:p>
      </dgm:t>
    </dgm:pt>
    <dgm:pt modelId="{65CCF469-E310-4B67-9D6E-811690642A54}" type="sibTrans" cxnId="{7008440B-9BBF-4CEE-865C-3CD61B8A4F32}">
      <dgm:prSet/>
      <dgm:spPr/>
      <dgm:t>
        <a:bodyPr/>
        <a:lstStyle/>
        <a:p>
          <a:endParaRPr lang="zh-TW" altLang="en-US"/>
        </a:p>
      </dgm:t>
    </dgm:pt>
    <dgm:pt modelId="{0CEBD857-03C0-4272-BEE2-08AFD6792FF3}" type="pres">
      <dgm:prSet presAssocID="{257DF2D3-F4F4-492C-8D2A-92DD8F56F170}" presName="linear" presStyleCnt="0">
        <dgm:presLayoutVars>
          <dgm:animLvl val="lvl"/>
          <dgm:resizeHandles val="exact"/>
        </dgm:presLayoutVars>
      </dgm:prSet>
      <dgm:spPr/>
      <dgm:t>
        <a:bodyPr/>
        <a:lstStyle/>
        <a:p>
          <a:endParaRPr lang="zh-TW" altLang="en-US"/>
        </a:p>
      </dgm:t>
    </dgm:pt>
    <dgm:pt modelId="{34070158-4B0A-4A76-BCF3-563B530117F0}" type="pres">
      <dgm:prSet presAssocID="{9D4E7B51-4943-4737-ADF0-F368AC81F39D}" presName="parentText" presStyleLbl="node1" presStyleIdx="0" presStyleCnt="3">
        <dgm:presLayoutVars>
          <dgm:chMax val="0"/>
          <dgm:bulletEnabled val="1"/>
        </dgm:presLayoutVars>
      </dgm:prSet>
      <dgm:spPr/>
      <dgm:t>
        <a:bodyPr/>
        <a:lstStyle/>
        <a:p>
          <a:endParaRPr lang="zh-TW" altLang="en-US"/>
        </a:p>
      </dgm:t>
    </dgm:pt>
    <dgm:pt modelId="{2D95DDA0-A6A4-498D-8C3A-B060D0D3C3F1}" type="pres">
      <dgm:prSet presAssocID="{1EF6F0C2-88E4-4C90-B370-A8BB425B96B8}" presName="spacer" presStyleCnt="0"/>
      <dgm:spPr/>
    </dgm:pt>
    <dgm:pt modelId="{48F0FDF1-0ED5-4BBE-A0C4-8E7C6F1E3585}" type="pres">
      <dgm:prSet presAssocID="{F73B6735-6C24-455D-B3FC-644D8041D829}" presName="parentText" presStyleLbl="node1" presStyleIdx="1" presStyleCnt="3">
        <dgm:presLayoutVars>
          <dgm:chMax val="0"/>
          <dgm:bulletEnabled val="1"/>
        </dgm:presLayoutVars>
      </dgm:prSet>
      <dgm:spPr/>
      <dgm:t>
        <a:bodyPr/>
        <a:lstStyle/>
        <a:p>
          <a:endParaRPr lang="zh-TW" altLang="en-US"/>
        </a:p>
      </dgm:t>
    </dgm:pt>
    <dgm:pt modelId="{30B22069-FB3B-4FC3-A025-B52963B87516}" type="pres">
      <dgm:prSet presAssocID="{A8A2AD71-DCA8-4134-8200-B8CD6DF022D5}" presName="spacer" presStyleCnt="0"/>
      <dgm:spPr/>
    </dgm:pt>
    <dgm:pt modelId="{DF31D370-BF80-4FD0-8828-8FE49CEF2CDC}" type="pres">
      <dgm:prSet presAssocID="{B3C5BAE1-A4A8-4C8E-A027-7FC7D71DE0EC}" presName="parentText" presStyleLbl="node1" presStyleIdx="2" presStyleCnt="3" custLinFactY="-879" custLinFactNeighborX="-2004" custLinFactNeighborY="-100000">
        <dgm:presLayoutVars>
          <dgm:chMax val="0"/>
          <dgm:bulletEnabled val="1"/>
        </dgm:presLayoutVars>
      </dgm:prSet>
      <dgm:spPr/>
      <dgm:t>
        <a:bodyPr/>
        <a:lstStyle/>
        <a:p>
          <a:endParaRPr lang="zh-TW" altLang="en-US"/>
        </a:p>
      </dgm:t>
    </dgm:pt>
  </dgm:ptLst>
  <dgm:cxnLst>
    <dgm:cxn modelId="{176677C3-FB94-443F-8EB8-98D39930D3D4}" type="presOf" srcId="{F73B6735-6C24-455D-B3FC-644D8041D829}" destId="{48F0FDF1-0ED5-4BBE-A0C4-8E7C6F1E3585}" srcOrd="0" destOrd="0" presId="urn:microsoft.com/office/officeart/2005/8/layout/vList2"/>
    <dgm:cxn modelId="{9C40CC34-7476-4C67-9170-AF78A21F24D4}" type="presOf" srcId="{B3C5BAE1-A4A8-4C8E-A027-7FC7D71DE0EC}" destId="{DF31D370-BF80-4FD0-8828-8FE49CEF2CDC}" srcOrd="0" destOrd="0" presId="urn:microsoft.com/office/officeart/2005/8/layout/vList2"/>
    <dgm:cxn modelId="{9F2A7ADE-68C2-482B-BFF4-FAB775D589DC}" type="presOf" srcId="{9D4E7B51-4943-4737-ADF0-F368AC81F39D}" destId="{34070158-4B0A-4A76-BCF3-563B530117F0}" srcOrd="0" destOrd="0" presId="urn:microsoft.com/office/officeart/2005/8/layout/vList2"/>
    <dgm:cxn modelId="{63BDF52D-CCAB-4E2E-99F3-60099CD04454}" srcId="{257DF2D3-F4F4-492C-8D2A-92DD8F56F170}" destId="{9D4E7B51-4943-4737-ADF0-F368AC81F39D}" srcOrd="0" destOrd="0" parTransId="{C4130D84-E272-402F-BE87-C78F4C441DB6}" sibTransId="{1EF6F0C2-88E4-4C90-B370-A8BB425B96B8}"/>
    <dgm:cxn modelId="{57E7F80B-0844-4941-97DC-827C5C331B36}" type="presOf" srcId="{257DF2D3-F4F4-492C-8D2A-92DD8F56F170}" destId="{0CEBD857-03C0-4272-BEE2-08AFD6792FF3}" srcOrd="0" destOrd="0" presId="urn:microsoft.com/office/officeart/2005/8/layout/vList2"/>
    <dgm:cxn modelId="{7008440B-9BBF-4CEE-865C-3CD61B8A4F32}" srcId="{257DF2D3-F4F4-492C-8D2A-92DD8F56F170}" destId="{B3C5BAE1-A4A8-4C8E-A027-7FC7D71DE0EC}" srcOrd="2" destOrd="0" parTransId="{D8F4B4CB-66AE-464F-BDC2-C315CA2CC3EE}" sibTransId="{65CCF469-E310-4B67-9D6E-811690642A54}"/>
    <dgm:cxn modelId="{303F18A5-C76E-4737-9F5E-F162A40951B7}" srcId="{257DF2D3-F4F4-492C-8D2A-92DD8F56F170}" destId="{F73B6735-6C24-455D-B3FC-644D8041D829}" srcOrd="1" destOrd="0" parTransId="{4BEFCE8E-D48A-4019-A6C1-C3060CD70233}" sibTransId="{A8A2AD71-DCA8-4134-8200-B8CD6DF022D5}"/>
    <dgm:cxn modelId="{3B031373-3236-4B51-A1F1-8ED29F55DB09}" type="presParOf" srcId="{0CEBD857-03C0-4272-BEE2-08AFD6792FF3}" destId="{34070158-4B0A-4A76-BCF3-563B530117F0}" srcOrd="0" destOrd="0" presId="urn:microsoft.com/office/officeart/2005/8/layout/vList2"/>
    <dgm:cxn modelId="{8589B3BE-FE46-4B51-8588-41FB3FEDB757}" type="presParOf" srcId="{0CEBD857-03C0-4272-BEE2-08AFD6792FF3}" destId="{2D95DDA0-A6A4-498D-8C3A-B060D0D3C3F1}" srcOrd="1" destOrd="0" presId="urn:microsoft.com/office/officeart/2005/8/layout/vList2"/>
    <dgm:cxn modelId="{CF17D3CB-DB2E-4FBA-BE94-1577BCFC0B1C}" type="presParOf" srcId="{0CEBD857-03C0-4272-BEE2-08AFD6792FF3}" destId="{48F0FDF1-0ED5-4BBE-A0C4-8E7C6F1E3585}" srcOrd="2" destOrd="0" presId="urn:microsoft.com/office/officeart/2005/8/layout/vList2"/>
    <dgm:cxn modelId="{9728AD55-FC73-4F65-8F05-C89B847912FD}" type="presParOf" srcId="{0CEBD857-03C0-4272-BEE2-08AFD6792FF3}" destId="{30B22069-FB3B-4FC3-A025-B52963B87516}" srcOrd="3" destOrd="0" presId="urn:microsoft.com/office/officeart/2005/8/layout/vList2"/>
    <dgm:cxn modelId="{17C58183-7F93-499A-BB24-2D365AA9A27D}" type="presParOf" srcId="{0CEBD857-03C0-4272-BEE2-08AFD6792FF3}" destId="{DF31D370-BF80-4FD0-8828-8FE49CEF2CDC}" srcOrd="4"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C41AB8E-8A1E-47ED-8706-00B780E1D2E3}" type="doc">
      <dgm:prSet loTypeId="urn:microsoft.com/office/officeart/2005/8/layout/vList2" loCatId="list" qsTypeId="urn:microsoft.com/office/officeart/2005/8/quickstyle/simple1" qsCatId="simple" csTypeId="urn:microsoft.com/office/officeart/2005/8/colors/accent1_1" csCatId="accent1"/>
      <dgm:spPr/>
      <dgm:t>
        <a:bodyPr/>
        <a:lstStyle/>
        <a:p>
          <a:endParaRPr lang="zh-TW" altLang="en-US"/>
        </a:p>
      </dgm:t>
    </dgm:pt>
    <dgm:pt modelId="{2888D35F-0E75-4B3C-B462-85058C03341C}">
      <dgm:prSet/>
      <dgm:spPr/>
      <dgm:t>
        <a:bodyPr/>
        <a:lstStyle/>
        <a:p>
          <a:pPr rtl="0"/>
          <a:r>
            <a:rPr lang="zh-TW" dirty="0" smtClean="0">
              <a:latin typeface="標楷體" pitchFamily="65" charset="-120"/>
              <a:ea typeface="標楷體" pitchFamily="65" charset="-120"/>
            </a:rPr>
            <a:t>「產品資訊」對話框中有更多訊息。可由產品名稱 確認所採購的版本</a:t>
          </a:r>
          <a:endParaRPr lang="zh-TW" dirty="0">
            <a:latin typeface="標楷體" pitchFamily="65" charset="-120"/>
            <a:ea typeface="標楷體" pitchFamily="65" charset="-120"/>
          </a:endParaRPr>
        </a:p>
      </dgm:t>
    </dgm:pt>
    <dgm:pt modelId="{002430CF-7108-4ED5-9D4B-E7EAC82B20C9}" type="parTrans" cxnId="{92372932-4F38-4279-A913-DCCDC51A51AC}">
      <dgm:prSet/>
      <dgm:spPr/>
      <dgm:t>
        <a:bodyPr/>
        <a:lstStyle/>
        <a:p>
          <a:endParaRPr lang="zh-TW" altLang="en-US"/>
        </a:p>
      </dgm:t>
    </dgm:pt>
    <dgm:pt modelId="{21B688EA-ECBF-4F5F-9FF1-F215245777E4}" type="sibTrans" cxnId="{92372932-4F38-4279-A913-DCCDC51A51AC}">
      <dgm:prSet/>
      <dgm:spPr/>
      <dgm:t>
        <a:bodyPr/>
        <a:lstStyle/>
        <a:p>
          <a:endParaRPr lang="zh-TW" altLang="en-US"/>
        </a:p>
      </dgm:t>
    </dgm:pt>
    <dgm:pt modelId="{FBB0295A-16BF-4541-BBA8-0757D6E8F739}" type="pres">
      <dgm:prSet presAssocID="{DC41AB8E-8A1E-47ED-8706-00B780E1D2E3}" presName="linear" presStyleCnt="0">
        <dgm:presLayoutVars>
          <dgm:animLvl val="lvl"/>
          <dgm:resizeHandles val="exact"/>
        </dgm:presLayoutVars>
      </dgm:prSet>
      <dgm:spPr/>
      <dgm:t>
        <a:bodyPr/>
        <a:lstStyle/>
        <a:p>
          <a:endParaRPr lang="zh-TW" altLang="en-US"/>
        </a:p>
      </dgm:t>
    </dgm:pt>
    <dgm:pt modelId="{08C89607-9783-4E55-A615-8E0127743580}" type="pres">
      <dgm:prSet presAssocID="{2888D35F-0E75-4B3C-B462-85058C03341C}" presName="parentText" presStyleLbl="node1" presStyleIdx="0" presStyleCnt="1">
        <dgm:presLayoutVars>
          <dgm:chMax val="0"/>
          <dgm:bulletEnabled val="1"/>
        </dgm:presLayoutVars>
      </dgm:prSet>
      <dgm:spPr/>
      <dgm:t>
        <a:bodyPr/>
        <a:lstStyle/>
        <a:p>
          <a:endParaRPr lang="zh-TW" altLang="en-US"/>
        </a:p>
      </dgm:t>
    </dgm:pt>
  </dgm:ptLst>
  <dgm:cxnLst>
    <dgm:cxn modelId="{1E470BF6-D362-4575-9D88-9347293E3D1E}" type="presOf" srcId="{2888D35F-0E75-4B3C-B462-85058C03341C}" destId="{08C89607-9783-4E55-A615-8E0127743580}" srcOrd="0" destOrd="0" presId="urn:microsoft.com/office/officeart/2005/8/layout/vList2"/>
    <dgm:cxn modelId="{92372932-4F38-4279-A913-DCCDC51A51AC}" srcId="{DC41AB8E-8A1E-47ED-8706-00B780E1D2E3}" destId="{2888D35F-0E75-4B3C-B462-85058C03341C}" srcOrd="0" destOrd="0" parTransId="{002430CF-7108-4ED5-9D4B-E7EAC82B20C9}" sibTransId="{21B688EA-ECBF-4F5F-9FF1-F215245777E4}"/>
    <dgm:cxn modelId="{CE3FCD90-CB22-4930-B6CA-E6038B5C9808}" type="presOf" srcId="{DC41AB8E-8A1E-47ED-8706-00B780E1D2E3}" destId="{FBB0295A-16BF-4541-BBA8-0757D6E8F739}" srcOrd="0" destOrd="0" presId="urn:microsoft.com/office/officeart/2005/8/layout/vList2"/>
    <dgm:cxn modelId="{7F16E618-6A3F-4F53-83A2-9F41C54480F5}" type="presParOf" srcId="{FBB0295A-16BF-4541-BBA8-0757D6E8F739}" destId="{08C89607-9783-4E55-A615-8E0127743580}"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B13646-0852-4F1D-88A4-942C3351D90D}">
      <dsp:nvSpPr>
        <dsp:cNvPr id="0" name=""/>
        <dsp:cNvSpPr/>
      </dsp:nvSpPr>
      <dsp:spPr>
        <a:xfrm>
          <a:off x="0" y="0"/>
          <a:ext cx="6328759" cy="3971053"/>
        </a:xfrm>
        <a:prstGeom prst="roundRect">
          <a:avLst>
            <a:gd name="adj" fmla="val 85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3081978" numCol="1" spcCol="1270" anchor="t" anchorCtr="0">
          <a:noAutofit/>
        </a:bodyPr>
        <a:lstStyle/>
        <a:p>
          <a:pPr lvl="0" algn="l" defTabSz="1377950">
            <a:lnSpc>
              <a:spcPct val="90000"/>
            </a:lnSpc>
            <a:spcBef>
              <a:spcPct val="0"/>
            </a:spcBef>
            <a:spcAft>
              <a:spcPct val="35000"/>
            </a:spcAft>
          </a:pPr>
          <a:r>
            <a:rPr lang="en-US" sz="3100" kern="1200" dirty="0" smtClean="0"/>
            <a:t>Adobe.com</a:t>
          </a:r>
          <a:endParaRPr lang="en-US" sz="3100" kern="1200" dirty="0"/>
        </a:p>
      </dsp:txBody>
      <dsp:txXfrm>
        <a:off x="98862" y="98862"/>
        <a:ext cx="6131035" cy="3773329"/>
      </dsp:txXfrm>
    </dsp:sp>
    <dsp:sp modelId="{E947F368-AB8D-4EF2-9DAE-6A32EC99B724}">
      <dsp:nvSpPr>
        <dsp:cNvPr id="0" name=""/>
        <dsp:cNvSpPr/>
      </dsp:nvSpPr>
      <dsp:spPr>
        <a:xfrm>
          <a:off x="158218" y="992763"/>
          <a:ext cx="949313" cy="677289"/>
        </a:xfrm>
        <a:prstGeom prst="roundRect">
          <a:avLst>
            <a:gd name="adj" fmla="val 105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zh-TW" altLang="en-US" sz="1300" kern="1200" dirty="0" smtClean="0"/>
            <a:t>個人 </a:t>
          </a:r>
          <a:endParaRPr lang="en-US" sz="1300" kern="1200" dirty="0"/>
        </a:p>
      </dsp:txBody>
      <dsp:txXfrm>
        <a:off x="179047" y="1013592"/>
        <a:ext cx="907655" cy="635631"/>
      </dsp:txXfrm>
    </dsp:sp>
    <dsp:sp modelId="{41D623DB-94EE-4ACC-9EEC-43AD8B3406A9}">
      <dsp:nvSpPr>
        <dsp:cNvPr id="0" name=""/>
        <dsp:cNvSpPr/>
      </dsp:nvSpPr>
      <dsp:spPr>
        <a:xfrm>
          <a:off x="158218" y="1693182"/>
          <a:ext cx="949313" cy="677289"/>
        </a:xfrm>
        <a:prstGeom prst="roundRect">
          <a:avLst>
            <a:gd name="adj" fmla="val 105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zh-TW" altLang="en-US" sz="1300" kern="1200" dirty="0" smtClean="0"/>
            <a:t>企業</a:t>
          </a:r>
          <a:endParaRPr lang="en-US" sz="1300" kern="1200" dirty="0"/>
        </a:p>
      </dsp:txBody>
      <dsp:txXfrm>
        <a:off x="179047" y="1714011"/>
        <a:ext cx="907655" cy="635631"/>
      </dsp:txXfrm>
    </dsp:sp>
    <dsp:sp modelId="{8DA3EE87-78E6-4EAD-AFB9-8B83984BECFE}">
      <dsp:nvSpPr>
        <dsp:cNvPr id="0" name=""/>
        <dsp:cNvSpPr/>
      </dsp:nvSpPr>
      <dsp:spPr>
        <a:xfrm>
          <a:off x="158218" y="2393602"/>
          <a:ext cx="949313" cy="677289"/>
        </a:xfrm>
        <a:prstGeom prst="roundRect">
          <a:avLst>
            <a:gd name="adj" fmla="val 105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zh-TW" altLang="en-US" sz="1300" kern="1200" dirty="0" smtClean="0"/>
            <a:t>學生和教師</a:t>
          </a:r>
          <a:endParaRPr lang="en-US" sz="1300" kern="1200" dirty="0"/>
        </a:p>
      </dsp:txBody>
      <dsp:txXfrm>
        <a:off x="179047" y="2414431"/>
        <a:ext cx="907655" cy="635631"/>
      </dsp:txXfrm>
    </dsp:sp>
    <dsp:sp modelId="{481CC87F-3016-4B4B-9A05-73ED3950B387}">
      <dsp:nvSpPr>
        <dsp:cNvPr id="0" name=""/>
        <dsp:cNvSpPr/>
      </dsp:nvSpPr>
      <dsp:spPr>
        <a:xfrm>
          <a:off x="158218" y="3094022"/>
          <a:ext cx="949313" cy="677289"/>
        </a:xfrm>
        <a:prstGeom prst="roundRect">
          <a:avLst>
            <a:gd name="adj" fmla="val 105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zh-TW" altLang="en-US" sz="1300" kern="1200" dirty="0" smtClean="0"/>
            <a:t>學校和大學</a:t>
          </a:r>
          <a:endParaRPr lang="en-US" altLang="zh-TW" sz="1300" kern="1200" dirty="0" smtClean="0"/>
        </a:p>
      </dsp:txBody>
      <dsp:txXfrm>
        <a:off x="179047" y="3114851"/>
        <a:ext cx="907655" cy="635631"/>
      </dsp:txXfrm>
    </dsp:sp>
    <dsp:sp modelId="{7206FF76-D04D-47FA-8EF1-3D0DCC1CA24D}">
      <dsp:nvSpPr>
        <dsp:cNvPr id="0" name=""/>
        <dsp:cNvSpPr/>
      </dsp:nvSpPr>
      <dsp:spPr>
        <a:xfrm>
          <a:off x="1265751" y="992763"/>
          <a:ext cx="4904788" cy="2779737"/>
        </a:xfrm>
        <a:prstGeom prst="roundRect">
          <a:avLst>
            <a:gd name="adj" fmla="val 105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765133" numCol="1" spcCol="1270" anchor="t" anchorCtr="0">
          <a:noAutofit/>
        </a:bodyPr>
        <a:lstStyle/>
        <a:p>
          <a:pPr lvl="0" algn="l" defTabSz="1377950">
            <a:lnSpc>
              <a:spcPct val="90000"/>
            </a:lnSpc>
            <a:spcBef>
              <a:spcPct val="0"/>
            </a:spcBef>
            <a:spcAft>
              <a:spcPct val="35000"/>
            </a:spcAft>
          </a:pPr>
          <a:r>
            <a:rPr lang="zh-TW" altLang="en-US" sz="3100" kern="1200" dirty="0" smtClean="0"/>
            <a:t>授權經銷商</a:t>
          </a:r>
          <a:endParaRPr lang="en-US" sz="3100" kern="1200" dirty="0"/>
        </a:p>
      </dsp:txBody>
      <dsp:txXfrm>
        <a:off x="1351238" y="1078250"/>
        <a:ext cx="4733814" cy="2608763"/>
      </dsp:txXfrm>
    </dsp:sp>
    <dsp:sp modelId="{3B3EB673-7CC3-4916-8A03-855CA94823FB}">
      <dsp:nvSpPr>
        <dsp:cNvPr id="0" name=""/>
        <dsp:cNvSpPr/>
      </dsp:nvSpPr>
      <dsp:spPr>
        <a:xfrm>
          <a:off x="1388371" y="1965671"/>
          <a:ext cx="980957" cy="511971"/>
        </a:xfrm>
        <a:prstGeom prst="roundRect">
          <a:avLst>
            <a:gd name="adj" fmla="val 105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zh-TW" altLang="en-US" sz="1300" kern="1200" dirty="0" smtClean="0"/>
            <a:t>政府機關</a:t>
          </a:r>
          <a:endParaRPr lang="en-US" sz="1300" kern="1200" dirty="0"/>
        </a:p>
      </dsp:txBody>
      <dsp:txXfrm>
        <a:off x="1404116" y="1981416"/>
        <a:ext cx="949467" cy="480481"/>
      </dsp:txXfrm>
    </dsp:sp>
    <dsp:sp modelId="{510F0245-9554-4C43-865B-8AF90000EC5D}">
      <dsp:nvSpPr>
        <dsp:cNvPr id="0" name=""/>
        <dsp:cNvSpPr/>
      </dsp:nvSpPr>
      <dsp:spPr>
        <a:xfrm>
          <a:off x="1388371" y="2508050"/>
          <a:ext cx="980957" cy="511971"/>
        </a:xfrm>
        <a:prstGeom prst="roundRect">
          <a:avLst>
            <a:gd name="adj" fmla="val 105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zh-TW" altLang="en-US" sz="1300" kern="1200" dirty="0" smtClean="0"/>
            <a:t>企業</a:t>
          </a:r>
          <a:endParaRPr lang="en-US" sz="1300" kern="1200" dirty="0"/>
        </a:p>
      </dsp:txBody>
      <dsp:txXfrm>
        <a:off x="1404116" y="2523795"/>
        <a:ext cx="949467" cy="480481"/>
      </dsp:txXfrm>
    </dsp:sp>
    <dsp:sp modelId="{36A323D4-17B7-40E5-A932-1AF25D801514}">
      <dsp:nvSpPr>
        <dsp:cNvPr id="0" name=""/>
        <dsp:cNvSpPr/>
      </dsp:nvSpPr>
      <dsp:spPr>
        <a:xfrm>
          <a:off x="1388371" y="3050428"/>
          <a:ext cx="980957" cy="511971"/>
        </a:xfrm>
        <a:prstGeom prst="roundRect">
          <a:avLst>
            <a:gd name="adj" fmla="val 105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zh-TW" altLang="en-US" sz="1300" kern="1200" dirty="0" smtClean="0"/>
            <a:t>學校和大學</a:t>
          </a:r>
          <a:endParaRPr lang="en-US" altLang="zh-TW" sz="1300" kern="1200" dirty="0" smtClean="0"/>
        </a:p>
      </dsp:txBody>
      <dsp:txXfrm>
        <a:off x="1404116" y="3066173"/>
        <a:ext cx="949467" cy="480481"/>
      </dsp:txXfrm>
    </dsp:sp>
    <dsp:sp modelId="{65DDAF9E-446D-4659-AF80-B4B6721B1714}">
      <dsp:nvSpPr>
        <dsp:cNvPr id="0" name=""/>
        <dsp:cNvSpPr/>
      </dsp:nvSpPr>
      <dsp:spPr>
        <a:xfrm>
          <a:off x="2499859" y="1985526"/>
          <a:ext cx="3512461" cy="1588421"/>
        </a:xfrm>
        <a:prstGeom prst="roundRect">
          <a:avLst>
            <a:gd name="adj" fmla="val 105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896576" numCol="1" spcCol="1270" anchor="t" anchorCtr="0">
          <a:noAutofit/>
        </a:bodyPr>
        <a:lstStyle/>
        <a:p>
          <a:pPr lvl="0" algn="l" defTabSz="1377950">
            <a:lnSpc>
              <a:spcPct val="90000"/>
            </a:lnSpc>
            <a:spcBef>
              <a:spcPct val="0"/>
            </a:spcBef>
            <a:spcAft>
              <a:spcPct val="35000"/>
            </a:spcAft>
          </a:pPr>
          <a:r>
            <a:rPr lang="en-US" altLang="zh-TW" sz="3100" kern="1200" dirty="0" smtClean="0"/>
            <a:t>Adobe </a:t>
          </a:r>
          <a:r>
            <a:rPr lang="zh-TW" altLang="en-US" sz="3100" kern="1200" dirty="0" smtClean="0"/>
            <a:t>代表洽詢</a:t>
          </a:r>
          <a:endParaRPr lang="en-US" sz="3100" kern="1200" dirty="0"/>
        </a:p>
      </dsp:txBody>
      <dsp:txXfrm>
        <a:off x="2548708" y="2034375"/>
        <a:ext cx="3414763" cy="1490723"/>
      </dsp:txXfrm>
    </dsp:sp>
    <dsp:sp modelId="{65EF07D5-0155-492C-8307-BA915C6600F5}">
      <dsp:nvSpPr>
        <dsp:cNvPr id="0" name=""/>
        <dsp:cNvSpPr/>
      </dsp:nvSpPr>
      <dsp:spPr>
        <a:xfrm>
          <a:off x="2587671" y="2700316"/>
          <a:ext cx="1643979" cy="714789"/>
        </a:xfrm>
        <a:prstGeom prst="roundRect">
          <a:avLst>
            <a:gd name="adj" fmla="val 105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zh-TW" altLang="en-US" sz="1300" kern="1200" dirty="0" smtClean="0"/>
            <a:t>政府機關</a:t>
          </a:r>
          <a:endParaRPr lang="en-US" sz="1300" kern="1200" dirty="0"/>
        </a:p>
      </dsp:txBody>
      <dsp:txXfrm>
        <a:off x="2609653" y="2722298"/>
        <a:ext cx="1600015" cy="670825"/>
      </dsp:txXfrm>
    </dsp:sp>
    <dsp:sp modelId="{4D63A81C-D298-4102-8002-05CD9B8DE12E}">
      <dsp:nvSpPr>
        <dsp:cNvPr id="0" name=""/>
        <dsp:cNvSpPr/>
      </dsp:nvSpPr>
      <dsp:spPr>
        <a:xfrm>
          <a:off x="4278421" y="2700316"/>
          <a:ext cx="1643979" cy="714789"/>
        </a:xfrm>
        <a:prstGeom prst="roundRect">
          <a:avLst>
            <a:gd name="adj" fmla="val 105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zh-TW" altLang="en-US" sz="1300" kern="1200" dirty="0" smtClean="0"/>
            <a:t>企業</a:t>
          </a:r>
          <a:endParaRPr lang="en-US" sz="1300" kern="1200" dirty="0"/>
        </a:p>
      </dsp:txBody>
      <dsp:txXfrm>
        <a:off x="4300403" y="2722298"/>
        <a:ext cx="1600015" cy="67082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672456A-DE11-45A6-B932-E0F5C91E284D}">
      <dsp:nvSpPr>
        <dsp:cNvPr id="0" name=""/>
        <dsp:cNvSpPr/>
      </dsp:nvSpPr>
      <dsp:spPr>
        <a:xfrm>
          <a:off x="0" y="29157"/>
          <a:ext cx="8286808" cy="533300"/>
        </a:xfrm>
        <a:prstGeom prst="roundRect">
          <a:avLst/>
        </a:prstGeom>
        <a:gradFill rotWithShape="0">
          <a:gsLst>
            <a:gs pos="0">
              <a:schemeClr val="accent5">
                <a:hueOff val="0"/>
                <a:satOff val="0"/>
                <a:lumOff val="0"/>
                <a:alphaOff val="0"/>
                <a:tint val="96000"/>
                <a:satMod val="120000"/>
                <a:lumMod val="120000"/>
              </a:schemeClr>
            </a:gs>
            <a:gs pos="100000">
              <a:schemeClr val="accent5">
                <a:hueOff val="0"/>
                <a:satOff val="0"/>
                <a:lumOff val="0"/>
                <a:alphaOff val="0"/>
                <a:shade val="89000"/>
                <a:lumMod val="90000"/>
              </a:schemeClr>
            </a:gs>
          </a:gsLst>
          <a:lin ang="5400000" scaled="0"/>
        </a:gradFill>
        <a:ln>
          <a:noFill/>
        </a:ln>
        <a:effectLst>
          <a:outerShdw blurRad="50800" dist="25400" dir="5400000" rotWithShape="0">
            <a:srgbClr val="000000">
              <a:alpha val="38000"/>
            </a:srgbClr>
          </a:outerShdw>
        </a:effectLst>
        <a:scene3d>
          <a:camera prst="orthographicFront">
            <a:rot lat="0" lon="0" rev="0"/>
          </a:camera>
          <a:lightRig rig="flat" dir="tl">
            <a:rot lat="0" lon="0" rev="6360000"/>
          </a:lightRig>
        </a:scene3d>
        <a:sp3d prstMaterial="flat">
          <a:bevelT w="12700" h="12700"/>
        </a:sp3d>
      </dsp:spPr>
      <dsp:style>
        <a:lnRef idx="0">
          <a:scrgbClr r="0" g="0" b="0"/>
        </a:lnRef>
        <a:fillRef idx="3">
          <a:scrgbClr r="0" g="0" b="0"/>
        </a:fillRef>
        <a:effectRef idx="2">
          <a:scrgbClr r="0" g="0" b="0"/>
        </a:effectRef>
        <a:fontRef idx="minor">
          <a:schemeClr val="lt1"/>
        </a:fontRef>
      </dsp:style>
      <dsp:txBody>
        <a:bodyPr spcFirstLastPara="0" vert="horz" wrap="square" lIns="64770" tIns="64770" rIns="64770" bIns="64770" numCol="1" spcCol="1270" anchor="ctr" anchorCtr="0">
          <a:noAutofit/>
        </a:bodyPr>
        <a:lstStyle/>
        <a:p>
          <a:pPr lvl="0" algn="l" defTabSz="755650" rtl="0">
            <a:lnSpc>
              <a:spcPct val="90000"/>
            </a:lnSpc>
            <a:spcBef>
              <a:spcPct val="0"/>
            </a:spcBef>
            <a:spcAft>
              <a:spcPct val="35000"/>
            </a:spcAft>
          </a:pPr>
          <a:r>
            <a:rPr lang="en-US" altLang="zh-TW" sz="1700" kern="1200" dirty="0" smtClean="0">
              <a:solidFill>
                <a:schemeClr val="tx1"/>
              </a:solidFill>
              <a:latin typeface="微軟正黑體" pitchFamily="34" charset="-120"/>
              <a:ea typeface="微軟正黑體" pitchFamily="34" charset="-120"/>
            </a:rPr>
            <a:t>1. </a:t>
          </a:r>
          <a:r>
            <a:rPr lang="zh-TW" sz="1700" kern="1200" dirty="0" smtClean="0">
              <a:solidFill>
                <a:schemeClr val="tx1"/>
              </a:solidFill>
              <a:latin typeface="微軟正黑體" pitchFamily="34" charset="-120"/>
              <a:ea typeface="微軟正黑體" pitchFamily="34" charset="-120"/>
            </a:rPr>
            <a:t>一套</a:t>
          </a:r>
          <a:r>
            <a:rPr lang="en-US" altLang="zh-TW" sz="1700" kern="1200" dirty="0" smtClean="0">
              <a:solidFill>
                <a:schemeClr val="tx1"/>
              </a:solidFill>
              <a:latin typeface="微軟正黑體" pitchFamily="34" charset="-120"/>
              <a:ea typeface="微軟正黑體" pitchFamily="34" charset="-120"/>
            </a:rPr>
            <a:t> Server/Processor </a:t>
          </a:r>
          <a:r>
            <a:rPr lang="zh-TW" sz="1700" kern="1200" dirty="0" smtClean="0">
              <a:solidFill>
                <a:schemeClr val="tx1"/>
              </a:solidFill>
              <a:latin typeface="微軟正黑體" pitchFamily="34" charset="-120"/>
              <a:ea typeface="微軟正黑體" pitchFamily="34" charset="-120"/>
            </a:rPr>
            <a:t>授權只限安裝於一台</a:t>
          </a:r>
          <a:r>
            <a:rPr lang="en-US" altLang="zh-TW" sz="1700" kern="1200" dirty="0" smtClean="0">
              <a:solidFill>
                <a:schemeClr val="tx1"/>
              </a:solidFill>
              <a:latin typeface="微軟正黑體" pitchFamily="34" charset="-120"/>
              <a:ea typeface="微軟正黑體" pitchFamily="34" charset="-120"/>
            </a:rPr>
            <a:t> </a:t>
          </a:r>
          <a:r>
            <a:rPr lang="en-US" sz="1700" kern="1200" dirty="0" smtClean="0">
              <a:solidFill>
                <a:schemeClr val="tx1"/>
              </a:solidFill>
              <a:latin typeface="微軟正黑體" pitchFamily="34" charset="-120"/>
              <a:ea typeface="微軟正黑體" pitchFamily="34" charset="-120"/>
            </a:rPr>
            <a:t>Server (</a:t>
          </a:r>
          <a:r>
            <a:rPr lang="zh-TW" sz="1700" kern="1200" dirty="0" smtClean="0">
              <a:solidFill>
                <a:schemeClr val="tx1"/>
              </a:solidFill>
              <a:latin typeface="微軟正黑體" pitchFamily="34" charset="-120"/>
              <a:ea typeface="微軟正黑體" pitchFamily="34" charset="-120"/>
            </a:rPr>
            <a:t>實體或虛擬環境</a:t>
          </a:r>
          <a:r>
            <a:rPr lang="en-US" sz="1700" kern="1200" dirty="0" smtClean="0">
              <a:solidFill>
                <a:schemeClr val="tx1"/>
              </a:solidFill>
              <a:latin typeface="微軟正黑體" pitchFamily="34" charset="-120"/>
              <a:ea typeface="微軟正黑體" pitchFamily="34" charset="-120"/>
            </a:rPr>
            <a:t>)</a:t>
          </a:r>
          <a:endParaRPr lang="zh-TW" sz="1700" kern="1200" dirty="0">
            <a:solidFill>
              <a:schemeClr val="tx1"/>
            </a:solidFill>
            <a:latin typeface="微軟正黑體" pitchFamily="34" charset="-120"/>
            <a:ea typeface="微軟正黑體" pitchFamily="34" charset="-120"/>
          </a:endParaRPr>
        </a:p>
      </dsp:txBody>
      <dsp:txXfrm>
        <a:off x="26034" y="55191"/>
        <a:ext cx="8234740" cy="481232"/>
      </dsp:txXfrm>
    </dsp:sp>
    <dsp:sp modelId="{BDE07787-1A89-48CC-9903-6345674D01B9}">
      <dsp:nvSpPr>
        <dsp:cNvPr id="0" name=""/>
        <dsp:cNvSpPr/>
      </dsp:nvSpPr>
      <dsp:spPr>
        <a:xfrm>
          <a:off x="0" y="611418"/>
          <a:ext cx="8286808" cy="533300"/>
        </a:xfrm>
        <a:prstGeom prst="roundRect">
          <a:avLst/>
        </a:prstGeom>
        <a:gradFill rotWithShape="0">
          <a:gsLst>
            <a:gs pos="0">
              <a:schemeClr val="accent5">
                <a:hueOff val="2723985"/>
                <a:satOff val="1859"/>
                <a:lumOff val="-5228"/>
                <a:alphaOff val="0"/>
                <a:tint val="96000"/>
                <a:satMod val="120000"/>
                <a:lumMod val="120000"/>
              </a:schemeClr>
            </a:gs>
            <a:gs pos="100000">
              <a:schemeClr val="accent5">
                <a:hueOff val="2723985"/>
                <a:satOff val="1859"/>
                <a:lumOff val="-5228"/>
                <a:alphaOff val="0"/>
                <a:shade val="89000"/>
                <a:lumMod val="90000"/>
              </a:schemeClr>
            </a:gs>
          </a:gsLst>
          <a:lin ang="5400000" scaled="0"/>
        </a:gradFill>
        <a:ln>
          <a:noFill/>
        </a:ln>
        <a:effectLst>
          <a:outerShdw blurRad="50800" dist="25400" dir="5400000" rotWithShape="0">
            <a:srgbClr val="000000">
              <a:alpha val="38000"/>
            </a:srgbClr>
          </a:outerShdw>
        </a:effectLst>
        <a:scene3d>
          <a:camera prst="orthographicFront">
            <a:rot lat="0" lon="0" rev="0"/>
          </a:camera>
          <a:lightRig rig="flat" dir="tl">
            <a:rot lat="0" lon="0" rev="6360000"/>
          </a:lightRig>
        </a:scene3d>
        <a:sp3d prstMaterial="flat">
          <a:bevelT w="12700" h="12700"/>
        </a:sp3d>
      </dsp:spPr>
      <dsp:style>
        <a:lnRef idx="0">
          <a:scrgbClr r="0" g="0" b="0"/>
        </a:lnRef>
        <a:fillRef idx="3">
          <a:scrgbClr r="0" g="0" b="0"/>
        </a:fillRef>
        <a:effectRef idx="2">
          <a:scrgbClr r="0" g="0" b="0"/>
        </a:effectRef>
        <a:fontRef idx="minor">
          <a:schemeClr val="lt1"/>
        </a:fontRef>
      </dsp:style>
      <dsp:txBody>
        <a:bodyPr spcFirstLastPara="0" vert="horz" wrap="square" lIns="64770" tIns="64770" rIns="64770" bIns="64770" numCol="1" spcCol="1270" anchor="ctr" anchorCtr="0">
          <a:noAutofit/>
        </a:bodyPr>
        <a:lstStyle/>
        <a:p>
          <a:pPr lvl="0" algn="l" defTabSz="755650" rtl="0">
            <a:lnSpc>
              <a:spcPct val="90000"/>
            </a:lnSpc>
            <a:spcBef>
              <a:spcPct val="0"/>
            </a:spcBef>
            <a:spcAft>
              <a:spcPct val="35000"/>
            </a:spcAft>
          </a:pPr>
          <a:r>
            <a:rPr lang="en-US" altLang="zh-CN" sz="1700" kern="1200" dirty="0" smtClean="0">
              <a:solidFill>
                <a:schemeClr val="tx1"/>
              </a:solidFill>
            </a:rPr>
            <a:t>2. Server </a:t>
          </a:r>
          <a:r>
            <a:rPr lang="zh-TW" altLang="en-US" sz="1700" kern="1200" dirty="0" smtClean="0">
              <a:solidFill>
                <a:schemeClr val="tx1"/>
              </a:solidFill>
            </a:rPr>
            <a:t>上的</a:t>
          </a:r>
          <a:r>
            <a:rPr lang="zh-CN" sz="1700" kern="1200" dirty="0" smtClean="0">
              <a:solidFill>
                <a:schemeClr val="tx1"/>
              </a:solidFill>
            </a:rPr>
            <a:t>每個實體</a:t>
          </a:r>
          <a:r>
            <a:rPr lang="en-US" altLang="zh-CN" sz="1700" kern="1200" dirty="0" smtClean="0">
              <a:solidFill>
                <a:schemeClr val="tx1"/>
              </a:solidFill>
            </a:rPr>
            <a:t>/</a:t>
          </a:r>
          <a:r>
            <a:rPr lang="zh-TW" altLang="en-US" sz="1700" kern="1200" dirty="0" smtClean="0">
              <a:solidFill>
                <a:schemeClr val="tx1"/>
              </a:solidFill>
            </a:rPr>
            <a:t>虛擬 </a:t>
          </a:r>
          <a:r>
            <a:rPr lang="en-US" altLang="zh-CN" sz="1700" kern="1200" dirty="0" smtClean="0">
              <a:solidFill>
                <a:schemeClr val="tx1"/>
              </a:solidFill>
            </a:rPr>
            <a:t>Processor </a:t>
          </a:r>
          <a:r>
            <a:rPr lang="zh-TW" altLang="en-US" sz="1700" kern="1200" dirty="0" smtClean="0">
              <a:solidFill>
                <a:schemeClr val="tx1"/>
              </a:solidFill>
            </a:rPr>
            <a:t>都</a:t>
          </a:r>
          <a:r>
            <a:rPr lang="zh-CN" sz="1700" kern="1200" dirty="0" smtClean="0">
              <a:solidFill>
                <a:schemeClr val="tx1"/>
              </a:solidFill>
            </a:rPr>
            <a:t>必須取得</a:t>
          </a:r>
          <a:r>
            <a:rPr lang="zh-TW" altLang="en-US" sz="1700" kern="1200" dirty="0" smtClean="0">
              <a:solidFill>
                <a:schemeClr val="tx1"/>
              </a:solidFill>
            </a:rPr>
            <a:t>授</a:t>
          </a:r>
          <a:r>
            <a:rPr lang="zh-CN" sz="1700" kern="1200" dirty="0" smtClean="0">
              <a:solidFill>
                <a:schemeClr val="tx1"/>
              </a:solidFill>
            </a:rPr>
            <a:t>權。</a:t>
          </a:r>
          <a:endParaRPr lang="zh-TW" sz="1700" kern="1200" dirty="0">
            <a:solidFill>
              <a:schemeClr val="tx1"/>
            </a:solidFill>
            <a:latin typeface="微軟正黑體" pitchFamily="34" charset="-120"/>
            <a:ea typeface="微軟正黑體" pitchFamily="34" charset="-120"/>
          </a:endParaRPr>
        </a:p>
      </dsp:txBody>
      <dsp:txXfrm>
        <a:off x="26034" y="637452"/>
        <a:ext cx="8234740" cy="481232"/>
      </dsp:txXfrm>
    </dsp:sp>
    <dsp:sp modelId="{BC1766C4-CA8F-4933-9CB6-2C8474D1588A}">
      <dsp:nvSpPr>
        <dsp:cNvPr id="0" name=""/>
        <dsp:cNvSpPr/>
      </dsp:nvSpPr>
      <dsp:spPr>
        <a:xfrm>
          <a:off x="0" y="1193679"/>
          <a:ext cx="8286808" cy="533300"/>
        </a:xfrm>
        <a:prstGeom prst="roundRect">
          <a:avLst/>
        </a:prstGeom>
        <a:gradFill rotWithShape="0">
          <a:gsLst>
            <a:gs pos="0">
              <a:schemeClr val="accent5">
                <a:hueOff val="5447971"/>
                <a:satOff val="3718"/>
                <a:lumOff val="-10457"/>
                <a:alphaOff val="0"/>
                <a:tint val="96000"/>
                <a:satMod val="120000"/>
                <a:lumMod val="120000"/>
              </a:schemeClr>
            </a:gs>
            <a:gs pos="100000">
              <a:schemeClr val="accent5">
                <a:hueOff val="5447971"/>
                <a:satOff val="3718"/>
                <a:lumOff val="-10457"/>
                <a:alphaOff val="0"/>
                <a:shade val="89000"/>
                <a:lumMod val="90000"/>
              </a:schemeClr>
            </a:gs>
          </a:gsLst>
          <a:lin ang="5400000" scaled="0"/>
        </a:gradFill>
        <a:ln>
          <a:noFill/>
        </a:ln>
        <a:effectLst>
          <a:outerShdw blurRad="50800" dist="25400" dir="5400000" rotWithShape="0">
            <a:srgbClr val="000000">
              <a:alpha val="38000"/>
            </a:srgbClr>
          </a:outerShdw>
        </a:effectLst>
        <a:scene3d>
          <a:camera prst="orthographicFront">
            <a:rot lat="0" lon="0" rev="0"/>
          </a:camera>
          <a:lightRig rig="flat" dir="tl">
            <a:rot lat="0" lon="0" rev="6360000"/>
          </a:lightRig>
        </a:scene3d>
        <a:sp3d prstMaterial="flat">
          <a:bevelT w="12700" h="12700"/>
        </a:sp3d>
      </dsp:spPr>
      <dsp:style>
        <a:lnRef idx="0">
          <a:scrgbClr r="0" g="0" b="0"/>
        </a:lnRef>
        <a:fillRef idx="3">
          <a:scrgbClr r="0" g="0" b="0"/>
        </a:fillRef>
        <a:effectRef idx="2">
          <a:scrgbClr r="0" g="0" b="0"/>
        </a:effectRef>
        <a:fontRef idx="minor">
          <a:schemeClr val="lt1"/>
        </a:fontRef>
      </dsp:style>
      <dsp:txBody>
        <a:bodyPr spcFirstLastPara="0" vert="horz" wrap="square" lIns="64770" tIns="64770" rIns="64770" bIns="64770" numCol="1" spcCol="1270" anchor="ctr" anchorCtr="0">
          <a:noAutofit/>
        </a:bodyPr>
        <a:lstStyle/>
        <a:p>
          <a:pPr lvl="0" algn="l" defTabSz="755650" rtl="0">
            <a:lnSpc>
              <a:spcPct val="90000"/>
            </a:lnSpc>
            <a:spcBef>
              <a:spcPct val="0"/>
            </a:spcBef>
            <a:spcAft>
              <a:spcPct val="35000"/>
            </a:spcAft>
          </a:pPr>
          <a:r>
            <a:rPr lang="en-US" altLang="zh-TW" sz="1700" kern="1200" dirty="0" smtClean="0">
              <a:solidFill>
                <a:schemeClr val="tx1"/>
              </a:solidFill>
              <a:latin typeface="微軟正黑體" pitchFamily="34" charset="-120"/>
              <a:ea typeface="微軟正黑體" pitchFamily="34" charset="-120"/>
            </a:rPr>
            <a:t>3. </a:t>
          </a:r>
          <a:r>
            <a:rPr lang="zh-TW" sz="1700" kern="1200" dirty="0" smtClean="0">
              <a:solidFill>
                <a:schemeClr val="tx1"/>
              </a:solidFill>
              <a:latin typeface="微軟正黑體" pitchFamily="34" charset="-120"/>
              <a:ea typeface="微軟正黑體" pitchFamily="34" charset="-120"/>
            </a:rPr>
            <a:t>使用端須擁有</a:t>
          </a:r>
          <a:r>
            <a:rPr lang="en-US" altLang="zh-TW" sz="1700" kern="1200" dirty="0" smtClean="0">
              <a:solidFill>
                <a:schemeClr val="tx1"/>
              </a:solidFill>
              <a:latin typeface="微軟正黑體" pitchFamily="34" charset="-120"/>
              <a:ea typeface="微軟正黑體" pitchFamily="34" charset="-120"/>
            </a:rPr>
            <a:t> </a:t>
          </a:r>
          <a:r>
            <a:rPr lang="en-US" sz="1700" kern="1200" dirty="0" smtClean="0">
              <a:solidFill>
                <a:schemeClr val="tx1"/>
              </a:solidFill>
              <a:latin typeface="微軟正黑體" pitchFamily="34" charset="-120"/>
              <a:ea typeface="微軟正黑體" pitchFamily="34" charset="-120"/>
            </a:rPr>
            <a:t>CAL </a:t>
          </a:r>
          <a:r>
            <a:rPr lang="zh-TW" sz="1700" kern="1200" dirty="0" smtClean="0">
              <a:solidFill>
                <a:schemeClr val="tx1"/>
              </a:solidFill>
              <a:latin typeface="微軟正黑體" pitchFamily="34" charset="-120"/>
              <a:ea typeface="微軟正黑體" pitchFamily="34" charset="-120"/>
            </a:rPr>
            <a:t>才能存取</a:t>
          </a:r>
          <a:r>
            <a:rPr lang="en-US" altLang="zh-TW" sz="1700" kern="1200" dirty="0" smtClean="0">
              <a:solidFill>
                <a:schemeClr val="tx1"/>
              </a:solidFill>
              <a:latin typeface="微軟正黑體" pitchFamily="34" charset="-120"/>
              <a:ea typeface="微軟正黑體" pitchFamily="34" charset="-120"/>
            </a:rPr>
            <a:t> </a:t>
          </a:r>
          <a:r>
            <a:rPr lang="en-US" sz="1700" kern="1200" dirty="0" smtClean="0">
              <a:solidFill>
                <a:schemeClr val="tx1"/>
              </a:solidFill>
              <a:latin typeface="微軟正黑體" pitchFamily="34" charset="-120"/>
              <a:ea typeface="微軟正黑體" pitchFamily="34" charset="-120"/>
            </a:rPr>
            <a:t>Server ( CAL</a:t>
          </a:r>
          <a:r>
            <a:rPr lang="zh-TW" altLang="en-US" sz="1700" kern="1200" dirty="0" smtClean="0">
              <a:solidFill>
                <a:schemeClr val="tx1"/>
              </a:solidFill>
              <a:latin typeface="微軟正黑體" pitchFamily="34" charset="-120"/>
              <a:ea typeface="微軟正黑體" pitchFamily="34" charset="-120"/>
            </a:rPr>
            <a:t>版本需高於或等於</a:t>
          </a:r>
          <a:r>
            <a:rPr lang="en-US" altLang="zh-TW" sz="1700" kern="1200" dirty="0" smtClean="0">
              <a:solidFill>
                <a:schemeClr val="tx1"/>
              </a:solidFill>
              <a:latin typeface="微軟正黑體" pitchFamily="34" charset="-120"/>
              <a:ea typeface="微軟正黑體" pitchFamily="34" charset="-120"/>
            </a:rPr>
            <a:t>Server</a:t>
          </a:r>
          <a:r>
            <a:rPr lang="zh-TW" sz="1700" kern="1200" dirty="0" smtClean="0">
              <a:solidFill>
                <a:schemeClr val="tx1"/>
              </a:solidFill>
              <a:latin typeface="微軟正黑體" pitchFamily="34" charset="-120"/>
              <a:ea typeface="微軟正黑體" pitchFamily="34" charset="-120"/>
            </a:rPr>
            <a:t>版本</a:t>
          </a:r>
          <a:r>
            <a:rPr lang="en-US" altLang="zh-TW" sz="1700" kern="1200" dirty="0" smtClean="0">
              <a:solidFill>
                <a:schemeClr val="tx1"/>
              </a:solidFill>
              <a:latin typeface="微軟正黑體" pitchFamily="34" charset="-120"/>
              <a:ea typeface="微軟正黑體" pitchFamily="34" charset="-120"/>
            </a:rPr>
            <a:t> </a:t>
          </a:r>
          <a:r>
            <a:rPr lang="en-US" sz="1700" kern="1200" dirty="0" smtClean="0">
              <a:solidFill>
                <a:schemeClr val="tx1"/>
              </a:solidFill>
              <a:latin typeface="微軟正黑體" pitchFamily="34" charset="-120"/>
              <a:ea typeface="微軟正黑體" pitchFamily="34" charset="-120"/>
            </a:rPr>
            <a:t>)</a:t>
          </a:r>
          <a:endParaRPr lang="zh-TW" sz="1700" kern="1200" dirty="0">
            <a:solidFill>
              <a:schemeClr val="tx1"/>
            </a:solidFill>
            <a:latin typeface="微軟正黑體" pitchFamily="34" charset="-120"/>
            <a:ea typeface="微軟正黑體" pitchFamily="34" charset="-120"/>
          </a:endParaRPr>
        </a:p>
      </dsp:txBody>
      <dsp:txXfrm>
        <a:off x="26034" y="1219713"/>
        <a:ext cx="8234740" cy="481232"/>
      </dsp:txXfrm>
    </dsp:sp>
    <dsp:sp modelId="{9608E1F9-C716-4B34-BDE5-454FB1FD2CB0}">
      <dsp:nvSpPr>
        <dsp:cNvPr id="0" name=""/>
        <dsp:cNvSpPr/>
      </dsp:nvSpPr>
      <dsp:spPr>
        <a:xfrm>
          <a:off x="0" y="1726979"/>
          <a:ext cx="8286808" cy="6510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3106" tIns="17780" rIns="99568" bIns="17780" numCol="1" spcCol="1270" anchor="t" anchorCtr="0">
          <a:noAutofit/>
        </a:bodyPr>
        <a:lstStyle/>
        <a:p>
          <a:pPr marL="114300" lvl="1" indent="-114300" algn="l" defTabSz="622300" rtl="0">
            <a:lnSpc>
              <a:spcPct val="90000"/>
            </a:lnSpc>
            <a:spcBef>
              <a:spcPct val="0"/>
            </a:spcBef>
            <a:spcAft>
              <a:spcPct val="20000"/>
            </a:spcAft>
            <a:buChar char="••"/>
          </a:pPr>
          <a:r>
            <a:rPr lang="en-US" sz="1400" b="1" kern="1200" dirty="0" smtClean="0">
              <a:solidFill>
                <a:schemeClr val="tx1"/>
              </a:solidFill>
              <a:latin typeface="微軟正黑體" pitchFamily="34" charset="-120"/>
              <a:ea typeface="微軟正黑體" pitchFamily="34" charset="-120"/>
            </a:rPr>
            <a:t>Device CAL</a:t>
          </a:r>
          <a:r>
            <a:rPr lang="zh-TW" sz="1400" b="1" kern="1200" dirty="0" smtClean="0">
              <a:solidFill>
                <a:schemeClr val="tx1"/>
              </a:solidFill>
              <a:latin typeface="微軟正黑體" pitchFamily="34" charset="-120"/>
              <a:ea typeface="微軟正黑體" pitchFamily="34" charset="-120"/>
            </a:rPr>
            <a:t>：</a:t>
          </a:r>
          <a:r>
            <a:rPr lang="zh-TW" sz="1400" b="0" kern="1200" dirty="0" smtClean="0">
              <a:solidFill>
                <a:schemeClr val="tx1"/>
              </a:solidFill>
              <a:latin typeface="微軟正黑體" pitchFamily="34" charset="-120"/>
              <a:ea typeface="微軟正黑體" pitchFamily="34" charset="-120"/>
            </a:rPr>
            <a:t>限定裝置，不限制使用者</a:t>
          </a:r>
          <a:endParaRPr lang="zh-TW" sz="1400" b="0" kern="1200" dirty="0">
            <a:solidFill>
              <a:schemeClr val="tx1"/>
            </a:solidFill>
            <a:latin typeface="微軟正黑體" pitchFamily="34" charset="-120"/>
            <a:ea typeface="微軟正黑體" pitchFamily="34" charset="-120"/>
          </a:endParaRPr>
        </a:p>
        <a:p>
          <a:pPr marL="114300" lvl="1" indent="-114300" algn="l" defTabSz="622300" rtl="0">
            <a:lnSpc>
              <a:spcPct val="90000"/>
            </a:lnSpc>
            <a:spcBef>
              <a:spcPct val="0"/>
            </a:spcBef>
            <a:spcAft>
              <a:spcPct val="20000"/>
            </a:spcAft>
            <a:buChar char="••"/>
          </a:pPr>
          <a:r>
            <a:rPr lang="en-US" sz="1400" b="1" kern="1200" dirty="0" smtClean="0">
              <a:solidFill>
                <a:schemeClr val="tx1"/>
              </a:solidFill>
              <a:latin typeface="微軟正黑體" pitchFamily="34" charset="-120"/>
              <a:ea typeface="微軟正黑體" pitchFamily="34" charset="-120"/>
            </a:rPr>
            <a:t>User CAL</a:t>
          </a:r>
          <a:r>
            <a:rPr lang="zh-TW" sz="1400" b="1" kern="1200" dirty="0" smtClean="0">
              <a:solidFill>
                <a:schemeClr val="tx1"/>
              </a:solidFill>
              <a:latin typeface="微軟正黑體" pitchFamily="34" charset="-120"/>
              <a:ea typeface="微軟正黑體" pitchFamily="34" charset="-120"/>
            </a:rPr>
            <a:t>：</a:t>
          </a:r>
          <a:r>
            <a:rPr lang="zh-TW" sz="1400" b="0" kern="1200" dirty="0" smtClean="0">
              <a:solidFill>
                <a:schemeClr val="tx1"/>
              </a:solidFill>
              <a:latin typeface="微軟正黑體" pitchFamily="34" charset="-120"/>
              <a:ea typeface="微軟正黑體" pitchFamily="34" charset="-120"/>
            </a:rPr>
            <a:t>限定使用者，不限制裝置</a:t>
          </a:r>
          <a:endParaRPr lang="zh-TW" sz="1400" b="0" kern="1200" dirty="0">
            <a:solidFill>
              <a:schemeClr val="tx1"/>
            </a:solidFill>
            <a:latin typeface="微軟正黑體" pitchFamily="34" charset="-120"/>
            <a:ea typeface="微軟正黑體" pitchFamily="34" charset="-120"/>
          </a:endParaRPr>
        </a:p>
      </dsp:txBody>
      <dsp:txXfrm>
        <a:off x="0" y="1726979"/>
        <a:ext cx="8286808" cy="651014"/>
      </dsp:txXfrm>
    </dsp:sp>
    <dsp:sp modelId="{809993C0-CAC2-4DCC-901A-058796B74EE0}">
      <dsp:nvSpPr>
        <dsp:cNvPr id="0" name=""/>
        <dsp:cNvSpPr/>
      </dsp:nvSpPr>
      <dsp:spPr>
        <a:xfrm>
          <a:off x="0" y="2377994"/>
          <a:ext cx="8286808" cy="533300"/>
        </a:xfrm>
        <a:prstGeom prst="roundRect">
          <a:avLst/>
        </a:prstGeom>
        <a:gradFill rotWithShape="0">
          <a:gsLst>
            <a:gs pos="0">
              <a:schemeClr val="accent5">
                <a:hueOff val="8171956"/>
                <a:satOff val="5577"/>
                <a:lumOff val="-15685"/>
                <a:alphaOff val="0"/>
                <a:tint val="96000"/>
                <a:satMod val="120000"/>
                <a:lumMod val="120000"/>
              </a:schemeClr>
            </a:gs>
            <a:gs pos="100000">
              <a:schemeClr val="accent5">
                <a:hueOff val="8171956"/>
                <a:satOff val="5577"/>
                <a:lumOff val="-15685"/>
                <a:alphaOff val="0"/>
                <a:shade val="89000"/>
                <a:lumMod val="90000"/>
              </a:schemeClr>
            </a:gs>
          </a:gsLst>
          <a:lin ang="5400000" scaled="0"/>
        </a:gradFill>
        <a:ln>
          <a:noFill/>
        </a:ln>
        <a:effectLst>
          <a:outerShdw blurRad="50800" dist="25400" dir="5400000" rotWithShape="0">
            <a:srgbClr val="000000">
              <a:alpha val="38000"/>
            </a:srgbClr>
          </a:outerShdw>
        </a:effectLst>
        <a:scene3d>
          <a:camera prst="orthographicFront">
            <a:rot lat="0" lon="0" rev="0"/>
          </a:camera>
          <a:lightRig rig="flat" dir="tl">
            <a:rot lat="0" lon="0" rev="6360000"/>
          </a:lightRig>
        </a:scene3d>
        <a:sp3d prstMaterial="flat">
          <a:bevelT w="12700" h="12700"/>
        </a:sp3d>
      </dsp:spPr>
      <dsp:style>
        <a:lnRef idx="0">
          <a:scrgbClr r="0" g="0" b="0"/>
        </a:lnRef>
        <a:fillRef idx="3">
          <a:scrgbClr r="0" g="0" b="0"/>
        </a:fillRef>
        <a:effectRef idx="2">
          <a:scrgbClr r="0" g="0" b="0"/>
        </a:effectRef>
        <a:fontRef idx="minor">
          <a:schemeClr val="lt1"/>
        </a:fontRef>
      </dsp:style>
      <dsp:txBody>
        <a:bodyPr spcFirstLastPara="0" vert="horz" wrap="square" lIns="64770" tIns="64770" rIns="64770" bIns="64770" numCol="1" spcCol="1270" anchor="ctr" anchorCtr="0">
          <a:noAutofit/>
        </a:bodyPr>
        <a:lstStyle/>
        <a:p>
          <a:pPr lvl="0" algn="l" defTabSz="755650" rtl="0">
            <a:lnSpc>
              <a:spcPct val="90000"/>
            </a:lnSpc>
            <a:spcBef>
              <a:spcPct val="0"/>
            </a:spcBef>
            <a:spcAft>
              <a:spcPct val="35000"/>
            </a:spcAft>
          </a:pPr>
          <a:r>
            <a:rPr lang="en-US" altLang="zh-TW" sz="1700" kern="1200" dirty="0" smtClean="0">
              <a:solidFill>
                <a:schemeClr val="tx1"/>
              </a:solidFill>
              <a:latin typeface="微軟正黑體" pitchFamily="34" charset="-120"/>
              <a:ea typeface="微軟正黑體" pitchFamily="34" charset="-120"/>
            </a:rPr>
            <a:t>4. </a:t>
          </a:r>
          <a:r>
            <a:rPr lang="zh-TW" altLang="en-US" sz="1700" kern="1200" dirty="0" smtClean="0">
              <a:solidFill>
                <a:schemeClr val="tx1"/>
              </a:solidFill>
              <a:latin typeface="微軟正黑體" pitchFamily="34" charset="-120"/>
              <a:ea typeface="微軟正黑體" pitchFamily="34" charset="-120"/>
            </a:rPr>
            <a:t>透過 </a:t>
          </a:r>
          <a:r>
            <a:rPr lang="en-US" sz="1700" kern="1200" dirty="0" smtClean="0">
              <a:solidFill>
                <a:schemeClr val="tx1"/>
              </a:solidFill>
              <a:latin typeface="微軟正黑體" pitchFamily="34" charset="-120"/>
              <a:ea typeface="微軟正黑體" pitchFamily="34" charset="-120"/>
            </a:rPr>
            <a:t>External Connector </a:t>
          </a:r>
          <a:r>
            <a:rPr lang="zh-TW" altLang="en-US" sz="1700" kern="1200" dirty="0" smtClean="0">
              <a:solidFill>
                <a:schemeClr val="tx1"/>
              </a:solidFill>
              <a:latin typeface="微軟正黑體" pitchFamily="34" charset="-120"/>
              <a:ea typeface="微軟正黑體" pitchFamily="34" charset="-120"/>
            </a:rPr>
            <a:t>授權，可以讓無限的外部使用者存取 </a:t>
          </a:r>
          <a:r>
            <a:rPr lang="en-US" sz="1700" kern="1200" dirty="0" smtClean="0">
              <a:solidFill>
                <a:schemeClr val="tx1"/>
              </a:solidFill>
              <a:latin typeface="微軟正黑體" pitchFamily="34" charset="-120"/>
              <a:ea typeface="微軟正黑體" pitchFamily="34" charset="-120"/>
            </a:rPr>
            <a:t>Server</a:t>
          </a:r>
          <a:endParaRPr lang="zh-TW" sz="1700" kern="1200" dirty="0">
            <a:solidFill>
              <a:schemeClr val="tx1"/>
            </a:solidFill>
            <a:latin typeface="微軟正黑體" pitchFamily="34" charset="-120"/>
            <a:ea typeface="微軟正黑體" pitchFamily="34" charset="-120"/>
          </a:endParaRPr>
        </a:p>
      </dsp:txBody>
      <dsp:txXfrm>
        <a:off x="26034" y="2404028"/>
        <a:ext cx="8234740" cy="481232"/>
      </dsp:txXfrm>
    </dsp:sp>
    <dsp:sp modelId="{2813A574-090F-4124-B451-5CE3FA5DEB4C}">
      <dsp:nvSpPr>
        <dsp:cNvPr id="0" name=""/>
        <dsp:cNvSpPr/>
      </dsp:nvSpPr>
      <dsp:spPr>
        <a:xfrm>
          <a:off x="0" y="2911295"/>
          <a:ext cx="8286808" cy="10029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3106" tIns="17780" rIns="99568" bIns="17780" numCol="1" spcCol="1270" anchor="t" anchorCtr="0">
          <a:noAutofit/>
        </a:bodyPr>
        <a:lstStyle/>
        <a:p>
          <a:pPr marL="114300" lvl="1" indent="-114300" algn="l" defTabSz="622300" rtl="0">
            <a:lnSpc>
              <a:spcPct val="90000"/>
            </a:lnSpc>
            <a:spcBef>
              <a:spcPct val="0"/>
            </a:spcBef>
            <a:spcAft>
              <a:spcPct val="20000"/>
            </a:spcAft>
            <a:buChar char="••"/>
          </a:pPr>
          <a:r>
            <a:rPr lang="zh-TW" altLang="en-US" sz="1400" kern="1200" dirty="0" smtClean="0">
              <a:solidFill>
                <a:schemeClr val="tx1"/>
              </a:solidFill>
              <a:latin typeface="微軟正黑體" pitchFamily="34" charset="-120"/>
              <a:ea typeface="微軟正黑體" pitchFamily="34" charset="-120"/>
            </a:rPr>
            <a:t>外部使用者定義：</a:t>
          </a:r>
          <a:endParaRPr lang="zh-TW" altLang="en-US" sz="1400" kern="1200" dirty="0">
            <a:solidFill>
              <a:schemeClr val="tx1"/>
            </a:solidFill>
            <a:latin typeface="微軟正黑體" pitchFamily="34" charset="-120"/>
            <a:ea typeface="微軟正黑體" pitchFamily="34" charset="-120"/>
          </a:endParaRPr>
        </a:p>
        <a:p>
          <a:pPr marL="228600" lvl="2" indent="-114300" algn="l" defTabSz="622300">
            <a:lnSpc>
              <a:spcPct val="90000"/>
            </a:lnSpc>
            <a:spcBef>
              <a:spcPct val="0"/>
            </a:spcBef>
            <a:spcAft>
              <a:spcPct val="20000"/>
            </a:spcAft>
            <a:buChar char="••"/>
          </a:pPr>
          <a:r>
            <a:rPr lang="zh-TW" altLang="en-US" sz="1400" kern="1200" dirty="0" smtClean="0">
              <a:solidFill>
                <a:schemeClr val="tx1"/>
              </a:solidFill>
              <a:latin typeface="微軟正黑體" pitchFamily="34" charset="-120"/>
              <a:ea typeface="微軟正黑體" pitchFamily="34" charset="-120"/>
            </a:rPr>
            <a:t>非公司及關係企業員工</a:t>
          </a:r>
        </a:p>
        <a:p>
          <a:pPr marL="228600" lvl="2" indent="-114300" algn="l" defTabSz="622300">
            <a:lnSpc>
              <a:spcPct val="90000"/>
            </a:lnSpc>
            <a:spcBef>
              <a:spcPct val="0"/>
            </a:spcBef>
            <a:spcAft>
              <a:spcPct val="20000"/>
            </a:spcAft>
            <a:buChar char="••"/>
          </a:pPr>
          <a:r>
            <a:rPr lang="zh-TW" altLang="en-US" sz="1400" kern="1200" dirty="0" smtClean="0">
              <a:solidFill>
                <a:schemeClr val="tx1"/>
              </a:solidFill>
              <a:latin typeface="微軟正黑體" pitchFamily="34" charset="-120"/>
              <a:ea typeface="微軟正黑體" pitchFamily="34" charset="-120"/>
            </a:rPr>
            <a:t>非公司及關係企業內部約聘人員或代理人</a:t>
          </a:r>
        </a:p>
      </dsp:txBody>
      <dsp:txXfrm>
        <a:off x="0" y="2911295"/>
        <a:ext cx="8286808" cy="100291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101904-9AAA-46F9-8DDD-E9A67A75D429}">
      <dsp:nvSpPr>
        <dsp:cNvPr id="0" name=""/>
        <dsp:cNvSpPr/>
      </dsp:nvSpPr>
      <dsp:spPr>
        <a:xfrm>
          <a:off x="0" y="76862"/>
          <a:ext cx="8229600" cy="1095120"/>
        </a:xfrm>
        <a:prstGeom prst="roundRect">
          <a:avLst/>
        </a:prstGeom>
        <a:gradFill rotWithShape="0">
          <a:gsLst>
            <a:gs pos="0">
              <a:schemeClr val="lt1">
                <a:hueOff val="0"/>
                <a:satOff val="0"/>
                <a:lumOff val="0"/>
                <a:alphaOff val="0"/>
                <a:tint val="96000"/>
                <a:satMod val="120000"/>
                <a:lumMod val="120000"/>
              </a:schemeClr>
            </a:gs>
            <a:gs pos="100000">
              <a:schemeClr val="lt1">
                <a:hueOff val="0"/>
                <a:satOff val="0"/>
                <a:lumOff val="0"/>
                <a:alphaOff val="0"/>
                <a:shade val="89000"/>
                <a:lumMod val="90000"/>
              </a:schemeClr>
            </a:gs>
          </a:gsLst>
          <a:lin ang="5400000" scaled="0"/>
        </a:gradFill>
        <a:ln>
          <a:noFill/>
        </a:ln>
        <a:effectLst>
          <a:outerShdw blurRad="50800" dist="25400" dir="5400000" rotWithShape="0">
            <a:srgbClr val="000000">
              <a:alpha val="38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rtl="0">
            <a:lnSpc>
              <a:spcPct val="90000"/>
            </a:lnSpc>
            <a:spcBef>
              <a:spcPct val="0"/>
            </a:spcBef>
            <a:spcAft>
              <a:spcPct val="35000"/>
            </a:spcAft>
          </a:pPr>
          <a:r>
            <a:rPr lang="zh-TW" sz="2400" kern="1200" dirty="0" smtClean="0">
              <a:latin typeface="標楷體" pitchFamily="65" charset="-120"/>
              <a:ea typeface="標楷體" pitchFamily="65" charset="-120"/>
            </a:rPr>
            <a:t>請對方提交</a:t>
          </a:r>
          <a:r>
            <a:rPr lang="en-US" sz="3200" b="1" kern="1200" dirty="0" smtClean="0">
              <a:latin typeface="標楷體" pitchFamily="65" charset="-120"/>
              <a:ea typeface="標楷體" pitchFamily="65" charset="-120"/>
            </a:rPr>
            <a:t>Autodesk</a:t>
          </a:r>
          <a:r>
            <a:rPr lang="zh-TW" sz="3200" b="1" kern="1200" dirty="0" smtClean="0">
              <a:latin typeface="標楷體" pitchFamily="65" charset="-120"/>
              <a:ea typeface="標楷體" pitchFamily="65" charset="-120"/>
            </a:rPr>
            <a:t>軟體使用證明</a:t>
          </a:r>
          <a:endParaRPr lang="zh-TW" sz="3200" b="1" kern="1200" dirty="0">
            <a:latin typeface="標楷體" pitchFamily="65" charset="-120"/>
            <a:ea typeface="標楷體" pitchFamily="65" charset="-120"/>
          </a:endParaRPr>
        </a:p>
      </dsp:txBody>
      <dsp:txXfrm>
        <a:off x="53459" y="130321"/>
        <a:ext cx="8122682" cy="988202"/>
      </dsp:txXfrm>
    </dsp:sp>
    <dsp:sp modelId="{CBA12B30-1257-4116-8FA1-A0E77486589B}">
      <dsp:nvSpPr>
        <dsp:cNvPr id="0" name=""/>
        <dsp:cNvSpPr/>
      </dsp:nvSpPr>
      <dsp:spPr>
        <a:xfrm>
          <a:off x="0" y="1231872"/>
          <a:ext cx="8229600" cy="1095120"/>
        </a:xfrm>
        <a:prstGeom prst="roundRect">
          <a:avLst/>
        </a:prstGeom>
        <a:gradFill rotWithShape="0">
          <a:gsLst>
            <a:gs pos="0">
              <a:schemeClr val="lt1">
                <a:hueOff val="0"/>
                <a:satOff val="0"/>
                <a:lumOff val="0"/>
                <a:alphaOff val="0"/>
                <a:tint val="96000"/>
                <a:satMod val="120000"/>
                <a:lumMod val="120000"/>
              </a:schemeClr>
            </a:gs>
            <a:gs pos="100000">
              <a:schemeClr val="lt1">
                <a:hueOff val="0"/>
                <a:satOff val="0"/>
                <a:lumOff val="0"/>
                <a:alphaOff val="0"/>
                <a:shade val="89000"/>
                <a:lumMod val="90000"/>
              </a:schemeClr>
            </a:gs>
          </a:gsLst>
          <a:lin ang="5400000" scaled="0"/>
        </a:gradFill>
        <a:ln>
          <a:noFill/>
        </a:ln>
        <a:effectLst>
          <a:outerShdw blurRad="50800" dist="25400" dir="5400000" rotWithShape="0">
            <a:srgbClr val="000000">
              <a:alpha val="38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99060" tIns="99060" rIns="99060" bIns="99060" numCol="1" spcCol="1270" anchor="ctr" anchorCtr="0">
          <a:noAutofit/>
        </a:bodyPr>
        <a:lstStyle/>
        <a:p>
          <a:pPr lvl="0" algn="l" defTabSz="1155700" rtl="0">
            <a:lnSpc>
              <a:spcPct val="90000"/>
            </a:lnSpc>
            <a:spcBef>
              <a:spcPct val="0"/>
            </a:spcBef>
            <a:spcAft>
              <a:spcPct val="35000"/>
            </a:spcAft>
          </a:pPr>
          <a:r>
            <a:rPr lang="en-US" sz="2600" kern="1200" dirty="0" smtClean="0">
              <a:latin typeface="標楷體" pitchFamily="65" charset="-120"/>
              <a:ea typeface="標楷體" pitchFamily="65" charset="-120"/>
            </a:rPr>
            <a:t>Autodesk</a:t>
          </a:r>
          <a:r>
            <a:rPr lang="zh-TW" sz="2600" kern="1200" dirty="0" smtClean="0">
              <a:latin typeface="標楷體" pitchFamily="65" charset="-120"/>
              <a:ea typeface="標楷體" pitchFamily="65" charset="-120"/>
            </a:rPr>
            <a:t>軟體使用證明內容主要記載</a:t>
          </a:r>
          <a:endParaRPr lang="en-US" sz="2600" kern="1200" dirty="0">
            <a:latin typeface="標楷體" pitchFamily="65" charset="-120"/>
            <a:ea typeface="標楷體" pitchFamily="65" charset="-120"/>
          </a:endParaRPr>
        </a:p>
      </dsp:txBody>
      <dsp:txXfrm>
        <a:off x="53459" y="1285331"/>
        <a:ext cx="8122682" cy="988202"/>
      </dsp:txXfrm>
    </dsp:sp>
    <dsp:sp modelId="{1941D2FC-FE70-4A5E-8723-3BFB8DFB61BC}">
      <dsp:nvSpPr>
        <dsp:cNvPr id="0" name=""/>
        <dsp:cNvSpPr/>
      </dsp:nvSpPr>
      <dsp:spPr>
        <a:xfrm>
          <a:off x="0" y="2326992"/>
          <a:ext cx="8229600" cy="14531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1290" tIns="33020" rIns="184912" bIns="33020" numCol="1" spcCol="1270" anchor="t" anchorCtr="0">
          <a:noAutofit/>
        </a:bodyPr>
        <a:lstStyle/>
        <a:p>
          <a:pPr marL="228600" lvl="1" indent="-228600" algn="l" defTabSz="889000" rtl="0">
            <a:lnSpc>
              <a:spcPct val="90000"/>
            </a:lnSpc>
            <a:spcBef>
              <a:spcPct val="0"/>
            </a:spcBef>
            <a:spcAft>
              <a:spcPct val="20000"/>
            </a:spcAft>
            <a:buChar char="••"/>
          </a:pPr>
          <a:r>
            <a:rPr lang="zh-TW" sz="2000" kern="1200" dirty="0" smtClean="0">
              <a:latin typeface="標楷體" pitchFamily="65" charset="-120"/>
              <a:ea typeface="標楷體" pitchFamily="65" charset="-120"/>
            </a:rPr>
            <a:t>使用者註冊名稱</a:t>
          </a:r>
          <a:endParaRPr lang="en-US" sz="2000" kern="1200" dirty="0">
            <a:latin typeface="標楷體" pitchFamily="65" charset="-120"/>
            <a:ea typeface="標楷體" pitchFamily="65" charset="-120"/>
          </a:endParaRPr>
        </a:p>
        <a:p>
          <a:pPr marL="228600" lvl="1" indent="-228600" algn="l" defTabSz="889000" rtl="0">
            <a:lnSpc>
              <a:spcPct val="90000"/>
            </a:lnSpc>
            <a:spcBef>
              <a:spcPct val="0"/>
            </a:spcBef>
            <a:spcAft>
              <a:spcPct val="20000"/>
            </a:spcAft>
            <a:buChar char="••"/>
          </a:pPr>
          <a:r>
            <a:rPr lang="zh-TW" sz="2000" kern="1200" dirty="0" smtClean="0">
              <a:latin typeface="標楷體" pitchFamily="65" charset="-120"/>
              <a:ea typeface="標楷體" pitchFamily="65" charset="-120"/>
            </a:rPr>
            <a:t>使用者聯絡資訊</a:t>
          </a:r>
          <a:endParaRPr lang="en-US" sz="2000" kern="1200" dirty="0">
            <a:latin typeface="標楷體" pitchFamily="65" charset="-120"/>
            <a:ea typeface="標楷體" pitchFamily="65" charset="-120"/>
          </a:endParaRPr>
        </a:p>
        <a:p>
          <a:pPr marL="228600" lvl="1" indent="-228600" algn="l" defTabSz="889000" rtl="0">
            <a:lnSpc>
              <a:spcPct val="90000"/>
            </a:lnSpc>
            <a:spcBef>
              <a:spcPct val="0"/>
            </a:spcBef>
            <a:spcAft>
              <a:spcPct val="20000"/>
            </a:spcAft>
            <a:buChar char="••"/>
          </a:pPr>
          <a:r>
            <a:rPr lang="zh-TW" sz="2000" kern="1200" dirty="0" smtClean="0">
              <a:latin typeface="標楷體" pitchFamily="65" charset="-120"/>
              <a:ea typeface="標楷體" pitchFamily="65" charset="-120"/>
            </a:rPr>
            <a:t>使用軟體名稱</a:t>
          </a:r>
          <a:endParaRPr lang="en-US" sz="2000" kern="1200" dirty="0">
            <a:latin typeface="標楷體" pitchFamily="65" charset="-120"/>
            <a:ea typeface="標楷體" pitchFamily="65" charset="-120"/>
          </a:endParaRPr>
        </a:p>
        <a:p>
          <a:pPr marL="228600" lvl="1" indent="-228600" algn="l" defTabSz="889000" rtl="0">
            <a:lnSpc>
              <a:spcPct val="90000"/>
            </a:lnSpc>
            <a:spcBef>
              <a:spcPct val="0"/>
            </a:spcBef>
            <a:spcAft>
              <a:spcPct val="20000"/>
            </a:spcAft>
            <a:buChar char="••"/>
          </a:pPr>
          <a:r>
            <a:rPr lang="zh-TW" sz="2000" kern="1200" dirty="0" smtClean="0">
              <a:latin typeface="標楷體" pitchFamily="65" charset="-120"/>
              <a:ea typeface="標楷體" pitchFamily="65" charset="-120"/>
            </a:rPr>
            <a:t>使用軟體版本</a:t>
          </a:r>
          <a:endParaRPr lang="zh-TW" sz="2000" kern="1200" dirty="0">
            <a:latin typeface="標楷體" pitchFamily="65" charset="-120"/>
            <a:ea typeface="標楷體" pitchFamily="65" charset="-120"/>
          </a:endParaRPr>
        </a:p>
      </dsp:txBody>
      <dsp:txXfrm>
        <a:off x="0" y="2326992"/>
        <a:ext cx="8229600" cy="1453139"/>
      </dsp:txXfrm>
    </dsp:sp>
    <dsp:sp modelId="{F6D068D6-9FF4-4335-8295-A6E4B17BAFC0}">
      <dsp:nvSpPr>
        <dsp:cNvPr id="0" name=""/>
        <dsp:cNvSpPr/>
      </dsp:nvSpPr>
      <dsp:spPr>
        <a:xfrm>
          <a:off x="0" y="3780132"/>
          <a:ext cx="8229600" cy="1095120"/>
        </a:xfrm>
        <a:prstGeom prst="roundRect">
          <a:avLst/>
        </a:prstGeom>
        <a:gradFill rotWithShape="0">
          <a:gsLst>
            <a:gs pos="0">
              <a:schemeClr val="lt1">
                <a:hueOff val="0"/>
                <a:satOff val="0"/>
                <a:lumOff val="0"/>
                <a:alphaOff val="0"/>
                <a:tint val="96000"/>
                <a:satMod val="120000"/>
                <a:lumMod val="120000"/>
              </a:schemeClr>
            </a:gs>
            <a:gs pos="100000">
              <a:schemeClr val="lt1">
                <a:hueOff val="0"/>
                <a:satOff val="0"/>
                <a:lumOff val="0"/>
                <a:alphaOff val="0"/>
                <a:shade val="89000"/>
                <a:lumMod val="90000"/>
              </a:schemeClr>
            </a:gs>
          </a:gsLst>
          <a:lin ang="5400000" scaled="0"/>
        </a:gradFill>
        <a:ln>
          <a:noFill/>
        </a:ln>
        <a:effectLst>
          <a:outerShdw blurRad="50800" dist="25400" dir="5400000" rotWithShape="0">
            <a:srgbClr val="000000">
              <a:alpha val="38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99060" tIns="99060" rIns="99060" bIns="99060" numCol="1" spcCol="1270" anchor="ctr" anchorCtr="0">
          <a:noAutofit/>
        </a:bodyPr>
        <a:lstStyle/>
        <a:p>
          <a:pPr lvl="0" algn="l" defTabSz="1155700" rtl="0">
            <a:lnSpc>
              <a:spcPct val="90000"/>
            </a:lnSpc>
            <a:spcBef>
              <a:spcPct val="0"/>
            </a:spcBef>
            <a:spcAft>
              <a:spcPct val="35000"/>
            </a:spcAft>
          </a:pPr>
          <a:r>
            <a:rPr lang="zh-TW" sz="2600" kern="1200" dirty="0" smtClean="0">
              <a:latin typeface="標楷體" pitchFamily="65" charset="-120"/>
              <a:ea typeface="標楷體" pitchFamily="65" charset="-120"/>
            </a:rPr>
            <a:t>因</a:t>
          </a:r>
          <a:r>
            <a:rPr lang="en-US" sz="2600" kern="1200" dirty="0" smtClean="0">
              <a:latin typeface="標楷體" pitchFamily="65" charset="-120"/>
              <a:ea typeface="標楷體" pitchFamily="65" charset="-120"/>
            </a:rPr>
            <a:t>Autodesk</a:t>
          </a:r>
          <a:r>
            <a:rPr lang="zh-TW" sz="2600" kern="1200" dirty="0" smtClean="0">
              <a:latin typeface="標楷體" pitchFamily="65" charset="-120"/>
              <a:ea typeface="標楷體" pitchFamily="65" charset="-120"/>
            </a:rPr>
            <a:t>軟體必須完成註冊才能啟用</a:t>
          </a:r>
          <a:r>
            <a:rPr lang="en-US" sz="2600" kern="1200" dirty="0" smtClean="0">
              <a:latin typeface="標楷體" pitchFamily="65" charset="-120"/>
              <a:ea typeface="標楷體" pitchFamily="65" charset="-120"/>
            </a:rPr>
            <a:t>,</a:t>
          </a:r>
          <a:r>
            <a:rPr lang="zh-TW" sz="2600" kern="1200" dirty="0" smtClean="0">
              <a:latin typeface="標楷體" pitchFamily="65" charset="-120"/>
              <a:ea typeface="標楷體" pitchFamily="65" charset="-120"/>
            </a:rPr>
            <a:t>故完成註冊的用戶可申請“</a:t>
          </a:r>
          <a:r>
            <a:rPr lang="en-US" sz="2600" kern="1200" dirty="0" smtClean="0">
              <a:latin typeface="標楷體" pitchFamily="65" charset="-120"/>
              <a:ea typeface="標楷體" pitchFamily="65" charset="-120"/>
            </a:rPr>
            <a:t>Autodesk</a:t>
          </a:r>
          <a:r>
            <a:rPr lang="zh-TW" sz="2600" kern="1200" dirty="0" smtClean="0">
              <a:latin typeface="標楷體" pitchFamily="65" charset="-120"/>
              <a:ea typeface="標楷體" pitchFamily="65" charset="-120"/>
            </a:rPr>
            <a:t>軟體使用證明” </a:t>
          </a:r>
          <a:endParaRPr lang="zh-TW" sz="2600" kern="1200" dirty="0">
            <a:latin typeface="標楷體" pitchFamily="65" charset="-120"/>
            <a:ea typeface="標楷體" pitchFamily="65" charset="-120"/>
          </a:endParaRPr>
        </a:p>
      </dsp:txBody>
      <dsp:txXfrm>
        <a:off x="53459" y="3833591"/>
        <a:ext cx="8122682" cy="9882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4070158-4B0A-4A76-BCF3-563B530117F0}">
      <dsp:nvSpPr>
        <dsp:cNvPr id="0" name=""/>
        <dsp:cNvSpPr/>
      </dsp:nvSpPr>
      <dsp:spPr>
        <a:xfrm>
          <a:off x="0" y="547135"/>
          <a:ext cx="8324900" cy="518821"/>
        </a:xfrm>
        <a:prstGeom prst="roundRect">
          <a:avLst/>
        </a:prstGeom>
        <a:solidFill>
          <a:schemeClr val="lt1">
            <a:hueOff val="0"/>
            <a:satOff val="0"/>
            <a:lumOff val="0"/>
            <a:alphaOff val="0"/>
          </a:schemeClr>
        </a:solidFill>
        <a:ln w="1587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rtl="0">
            <a:lnSpc>
              <a:spcPct val="90000"/>
            </a:lnSpc>
            <a:spcBef>
              <a:spcPct val="0"/>
            </a:spcBef>
            <a:spcAft>
              <a:spcPct val="35000"/>
            </a:spcAft>
          </a:pPr>
          <a:r>
            <a:rPr lang="zh-TW" sz="2000" kern="1200" dirty="0" smtClean="0">
              <a:latin typeface="標楷體" pitchFamily="65" charset="-120"/>
              <a:ea typeface="標楷體" pitchFamily="65" charset="-120"/>
            </a:rPr>
            <a:t>「關於 </a:t>
          </a:r>
          <a:r>
            <a:rPr lang="en-US" sz="2000" kern="1200" dirty="0" smtClean="0">
              <a:latin typeface="標楷體" pitchFamily="65" charset="-120"/>
              <a:ea typeface="標楷體" pitchFamily="65" charset="-120"/>
            </a:rPr>
            <a:t>AutoCAD</a:t>
          </a:r>
          <a:r>
            <a:rPr lang="zh-TW" sz="2000" kern="1200" dirty="0" smtClean="0">
              <a:latin typeface="標楷體" pitchFamily="65" charset="-120"/>
              <a:ea typeface="標楷體" pitchFamily="65" charset="-120"/>
            </a:rPr>
            <a:t>」 的對話框上會顯示安裝時輸入的註冊訊息，如授權給</a:t>
          </a:r>
          <a:endParaRPr lang="en-US" sz="2000" kern="1200" dirty="0">
            <a:latin typeface="標楷體" pitchFamily="65" charset="-120"/>
            <a:ea typeface="標楷體" pitchFamily="65" charset="-120"/>
          </a:endParaRPr>
        </a:p>
      </dsp:txBody>
      <dsp:txXfrm>
        <a:off x="25327" y="572462"/>
        <a:ext cx="8274246" cy="468167"/>
      </dsp:txXfrm>
    </dsp:sp>
    <dsp:sp modelId="{48F0FDF1-0ED5-4BBE-A0C4-8E7C6F1E3585}">
      <dsp:nvSpPr>
        <dsp:cNvPr id="0" name=""/>
        <dsp:cNvSpPr/>
      </dsp:nvSpPr>
      <dsp:spPr>
        <a:xfrm>
          <a:off x="0" y="1123557"/>
          <a:ext cx="8324900" cy="518821"/>
        </a:xfrm>
        <a:prstGeom prst="roundRect">
          <a:avLst/>
        </a:prstGeom>
        <a:solidFill>
          <a:schemeClr val="lt1">
            <a:hueOff val="0"/>
            <a:satOff val="0"/>
            <a:lumOff val="0"/>
            <a:alphaOff val="0"/>
          </a:schemeClr>
        </a:solidFill>
        <a:ln w="1587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rtl="0">
            <a:lnSpc>
              <a:spcPct val="90000"/>
            </a:lnSpc>
            <a:spcBef>
              <a:spcPct val="0"/>
            </a:spcBef>
            <a:spcAft>
              <a:spcPct val="35000"/>
            </a:spcAft>
          </a:pPr>
          <a:r>
            <a:rPr lang="zh-TW" sz="2000" kern="1200" dirty="0" smtClean="0">
              <a:latin typeface="標楷體" pitchFamily="65" charset="-120"/>
              <a:ea typeface="標楷體" pitchFamily="65" charset="-120"/>
            </a:rPr>
            <a:t>序號：可由此確認產品序號</a:t>
          </a:r>
          <a:r>
            <a:rPr lang="en-US" sz="2000" kern="1200" dirty="0" smtClean="0">
              <a:latin typeface="標楷體" pitchFamily="65" charset="-120"/>
              <a:ea typeface="標楷體" pitchFamily="65" charset="-120"/>
            </a:rPr>
            <a:t>( </a:t>
          </a:r>
          <a:r>
            <a:rPr lang="zh-TW" sz="2000" kern="1200" dirty="0" smtClean="0">
              <a:latin typeface="標楷體" pitchFamily="65" charset="-120"/>
              <a:ea typeface="標楷體" pitchFamily="65" charset="-120"/>
            </a:rPr>
            <a:t>此序號與軟體彩盒上的序號應屬一致 </a:t>
          </a:r>
          <a:r>
            <a:rPr lang="en-US" sz="2000" kern="1200" dirty="0" smtClean="0">
              <a:latin typeface="標楷體" pitchFamily="65" charset="-120"/>
              <a:ea typeface="標楷體" pitchFamily="65" charset="-120"/>
            </a:rPr>
            <a:t>)</a:t>
          </a:r>
          <a:endParaRPr lang="zh-TW" sz="2000" kern="1200" dirty="0">
            <a:latin typeface="標楷體" pitchFamily="65" charset="-120"/>
            <a:ea typeface="標楷體" pitchFamily="65" charset="-120"/>
          </a:endParaRPr>
        </a:p>
      </dsp:txBody>
      <dsp:txXfrm>
        <a:off x="25327" y="1148884"/>
        <a:ext cx="8274246" cy="468167"/>
      </dsp:txXfrm>
    </dsp:sp>
    <dsp:sp modelId="{DF31D370-BF80-4FD0-8828-8FE49CEF2CDC}">
      <dsp:nvSpPr>
        <dsp:cNvPr id="0" name=""/>
        <dsp:cNvSpPr/>
      </dsp:nvSpPr>
      <dsp:spPr>
        <a:xfrm>
          <a:off x="0" y="1637818"/>
          <a:ext cx="8324900" cy="518821"/>
        </a:xfrm>
        <a:prstGeom prst="roundRect">
          <a:avLst/>
        </a:prstGeom>
        <a:solidFill>
          <a:schemeClr val="lt1">
            <a:hueOff val="0"/>
            <a:satOff val="0"/>
            <a:lumOff val="0"/>
            <a:alphaOff val="0"/>
          </a:schemeClr>
        </a:solidFill>
        <a:ln w="1587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rtl="0">
            <a:lnSpc>
              <a:spcPct val="90000"/>
            </a:lnSpc>
            <a:spcBef>
              <a:spcPct val="0"/>
            </a:spcBef>
            <a:spcAft>
              <a:spcPct val="35000"/>
            </a:spcAft>
          </a:pPr>
          <a:r>
            <a:rPr lang="zh-TW" sz="2000" kern="1200" dirty="0" smtClean="0">
              <a:latin typeface="標楷體" pitchFamily="65" charset="-120"/>
              <a:ea typeface="標楷體" pitchFamily="65" charset="-120"/>
            </a:rPr>
            <a:t>您可以進一步再按下「產品資訊」得到更完整訊息。</a:t>
          </a:r>
          <a:endParaRPr lang="zh-TW" sz="2000" kern="1200" dirty="0">
            <a:latin typeface="標楷體" pitchFamily="65" charset="-120"/>
            <a:ea typeface="標楷體" pitchFamily="65" charset="-120"/>
          </a:endParaRPr>
        </a:p>
      </dsp:txBody>
      <dsp:txXfrm>
        <a:off x="25327" y="1663145"/>
        <a:ext cx="8274246" cy="46816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8C89607-9783-4E55-A615-8E0127743580}">
      <dsp:nvSpPr>
        <dsp:cNvPr id="0" name=""/>
        <dsp:cNvSpPr/>
      </dsp:nvSpPr>
      <dsp:spPr>
        <a:xfrm>
          <a:off x="0" y="9649"/>
          <a:ext cx="8229599" cy="1095120"/>
        </a:xfrm>
        <a:prstGeom prst="roundRect">
          <a:avLst/>
        </a:prstGeom>
        <a:solidFill>
          <a:schemeClr val="lt1">
            <a:hueOff val="0"/>
            <a:satOff val="0"/>
            <a:lumOff val="0"/>
            <a:alphaOff val="0"/>
          </a:schemeClr>
        </a:solidFill>
        <a:ln w="1587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l" defTabSz="1155700" rtl="0">
            <a:lnSpc>
              <a:spcPct val="90000"/>
            </a:lnSpc>
            <a:spcBef>
              <a:spcPct val="0"/>
            </a:spcBef>
            <a:spcAft>
              <a:spcPct val="35000"/>
            </a:spcAft>
          </a:pPr>
          <a:r>
            <a:rPr lang="zh-TW" sz="2600" kern="1200" dirty="0" smtClean="0">
              <a:latin typeface="標楷體" pitchFamily="65" charset="-120"/>
              <a:ea typeface="標楷體" pitchFamily="65" charset="-120"/>
            </a:rPr>
            <a:t>「產品資訊」對話框中有更多訊息。可由產品名稱 確認所採購的版本</a:t>
          </a:r>
          <a:endParaRPr lang="zh-TW" sz="2600" kern="1200" dirty="0">
            <a:latin typeface="標楷體" pitchFamily="65" charset="-120"/>
            <a:ea typeface="標楷體" pitchFamily="65" charset="-120"/>
          </a:endParaRPr>
        </a:p>
      </dsp:txBody>
      <dsp:txXfrm>
        <a:off x="53459" y="63108"/>
        <a:ext cx="8122681" cy="988202"/>
      </dsp:txXfrm>
    </dsp:sp>
  </dsp:spTree>
</dsp:drawing>
</file>

<file path=ppt/diagrams/layout1.xml><?xml version="1.0" encoding="utf-8"?>
<dgm:layoutDef xmlns:dgm="http://schemas.openxmlformats.org/drawingml/2006/diagram" xmlns:a="http://schemas.openxmlformats.org/drawingml/2006/main" uniqueId="urn:microsoft.com/office/officeart/2005/8/layout/target2">
  <dgm:title val=""/>
  <dgm:desc val=""/>
  <dgm:catLst>
    <dgm:cat type="relationship"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chMax val="3"/>
      <dgm:chPref val="1"/>
      <dgm:dir/>
      <dgm:animLvl val="lvl"/>
      <dgm:resizeHandles/>
    </dgm:varLst>
    <dgm:alg type="composite">
      <dgm:param type="horzAlign" val="none"/>
      <dgm:param type="vertAlign" val="none"/>
    </dgm:alg>
    <dgm:shape xmlns:r="http://schemas.openxmlformats.org/officeDocument/2006/relationships" r:blip="">
      <dgm:adjLst/>
    </dgm:shape>
    <dgm:presOf/>
    <dgm:choose name="Name1">
      <dgm:if name="Name2" func="var" arg="dir" op="equ" val="norm">
        <dgm:choose name="Name3">
          <dgm:if name="Name4" axis="ch ch" ptType="node node" st="1 1" cnt="1 0" func="cnt" op="gt" val="0">
            <dgm:choose name="Name5">
              <dgm:if name="Name6"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2"/>
                  <dgm:constr type="t" for="ch" forName="middleBox" refType="h" fact="0.25"/>
                  <dgm:constr type="w" for="ch" forName="middleBox" refType="w" fact="0.775"/>
                  <dgm:constr type="h" for="ch" forName="middleBox" refType="h" fact="0.7"/>
                  <dgm:constr type="l" for="ch" forName="centerBox" refType="w" fact="0.395"/>
                  <dgm:constr type="t" for="ch" forName="centerBox" refType="h" fact="0.5"/>
                  <dgm:constr type="w" for="ch" forName="centerBox" refType="w" fact="0.555"/>
                  <dgm:constr type="h" for="ch" forName="centerBox" refType="h" fact="0.4"/>
                  <dgm:constr type="userA" for="des" forName="outerSibTrans" refType="w"/>
                  <dgm:constr type="userA" for="des" forName="middleSibTrans" refType="w"/>
                  <dgm:constr type="userA" for="des" forName="centerSibTrans" refType="w"/>
                </dgm:constrLst>
              </dgm:if>
              <dgm:else name="Name7">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2"/>
                  <dgm:constr type="t" for="ch" forName="middleBox" refType="h" fact="0.25"/>
                  <dgm:constr type="w" for="ch" forName="middleBox" refType="w" fact="0.775"/>
                  <dgm:constr type="h" for="ch" forName="middleBox" refType="h" fact="0.7"/>
                  <dgm:constr type="l" for="ch" forName="centerBox" refType="w" fact="0.225"/>
                  <dgm:constr type="t" for="ch" forName="centerBox" refType="h" fact="0.5"/>
                  <dgm:constr type="w" for="ch" forName="centerBox" refType="w" fact="0.725"/>
                  <dgm:constr type="h" for="ch" forName="centerBox" refType="h" fact="0.4"/>
                  <dgm:constr type="userA" for="des" forName="outerSibTrans" refType="w"/>
                  <dgm:constr type="userA" for="des" forName="middleSibTrans" refType="w"/>
                  <dgm:constr type="userA" for="des" forName="centerSibTrans" refType="w"/>
                </dgm:constrLst>
              </dgm:else>
            </dgm:choose>
          </dgm:if>
          <dgm:else name="Name8">
            <dgm:choose name="Name9">
              <dgm:if name="Name10"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26"/>
                  <dgm:constr type="t" for="ch" forName="centerBox" refType="h" fact="0.5"/>
                  <dgm:constr type="w" for="ch" forName="centerBox" refType="w" fact="0.69"/>
                  <dgm:constr type="h" for="ch" forName="centerBox" refType="h" fact="0.4"/>
                  <dgm:constr type="userA" for="des" forName="outerSibTrans" refType="w"/>
                  <dgm:constr type="userA" for="des" forName="middleSibTrans" refType="w"/>
                  <dgm:constr type="userA" for="des" forName="centerSibTrans" refType="w"/>
                </dgm:constrLst>
              </dgm:if>
              <dgm:else name="Name11">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9"/>
                  <dgm:constr type="h" for="ch" forName="centerBox" refType="h" fact="0.4"/>
                  <dgm:constr type="userA" for="des" forName="outerSibTrans" refType="w"/>
                  <dgm:constr type="userA" for="des" forName="middleSibTrans" refType="w"/>
                  <dgm:constr type="userA" for="des" forName="centerSibTrans" refType="w"/>
                </dgm:constrLst>
              </dgm:else>
            </dgm:choose>
          </dgm:else>
        </dgm:choose>
      </dgm:if>
      <dgm:else name="Name12">
        <dgm:choose name="Name13">
          <dgm:if name="Name14" axis="ch ch" ptType="node node" st="1 1" cnt="1 0" func="cnt" op="gt" val="0">
            <dgm:choose name="Name15">
              <dgm:if name="Name16"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775"/>
                  <dgm:constr type="h" for="ch" forName="middleBox" refType="h" fact="0.7"/>
                  <dgm:constr type="l" for="ch" forName="centerBox" refType="w" fact="0.05"/>
                  <dgm:constr type="t" for="ch" forName="centerBox" refType="h" fact="0.5"/>
                  <dgm:constr type="w" for="ch" forName="centerBox" refType="w" fact="0.55"/>
                  <dgm:constr type="h" for="ch" forName="centerBox" refType="h" fact="0.4"/>
                  <dgm:constr type="userA" for="des" forName="outerSibTrans" refType="w"/>
                  <dgm:constr type="userA" for="des" forName="middleSibTrans" refType="w"/>
                  <dgm:constr type="userA" for="des" forName="centerSibTrans" refType="w"/>
                </dgm:constrLst>
              </dgm:if>
              <dgm:else name="Name17">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775"/>
                  <dgm:constr type="h" for="ch" forName="middleBox" refType="h" fact="0.7"/>
                  <dgm:constr type="l" for="ch" forName="centerBox" refType="w" fact="0.05"/>
                  <dgm:constr type="t" for="ch" forName="centerBox" refType="h" fact="0.5"/>
                  <dgm:constr type="w" for="ch" forName="centerBox" refType="w" fact="0.725"/>
                  <dgm:constr type="h" for="ch" forName="centerBox" refType="h" fact="0.4"/>
                  <dgm:constr type="userA" for="des" forName="outerSibTrans" refType="w"/>
                  <dgm:constr type="userA" for="des" forName="middleSibTrans" refType="w"/>
                  <dgm:constr type="userA" for="des" forName="centerSibTrans" refType="w"/>
                </dgm:constrLst>
              </dgm:else>
            </dgm:choose>
          </dgm:if>
          <dgm:else name="Name18">
            <dgm:choose name="Name19">
              <dgm:if name="Name20"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69"/>
                  <dgm:constr type="h" for="ch" forName="centerBox" refType="h" fact="0.4"/>
                  <dgm:constr type="userA" for="des" forName="outerSibTrans" refType="w"/>
                  <dgm:constr type="userA" for="des" forName="middleSibTrans" refType="w"/>
                  <dgm:constr type="userA" for="des" forName="centerSibTrans" refType="w"/>
                </dgm:constrLst>
              </dgm:if>
              <dgm:else name="Name21">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9"/>
                  <dgm:constr type="h" for="ch" forName="centerBox" refType="h" fact="0.4"/>
                  <dgm:constr type="userA" for="des" forName="outerSibTrans" refType="w"/>
                  <dgm:constr type="userA" for="des" forName="middleSibTrans" refType="w"/>
                  <dgm:constr type="userA" for="des" forName="centerSibTrans" refType="w"/>
                </dgm:constrLst>
              </dgm:else>
            </dgm:choose>
          </dgm:else>
        </dgm:choose>
      </dgm:else>
    </dgm:choose>
    <dgm:ruleLst/>
    <dgm:choose name="Name22">
      <dgm:if name="Name23" axis="root ch" ptType="all node" st="1 1" cnt="0 0" func="cnt" op="gte" val="1">
        <dgm:layoutNode name="outerBox" styleLbl="node1">
          <dgm:alg type="composite">
            <dgm:param type="horzAlign" val="none"/>
            <dgm:param type="vertAlign" val="none"/>
          </dgm:alg>
          <dgm:shape xmlns:r="http://schemas.openxmlformats.org/officeDocument/2006/relationships" r:blip="">
            <dgm:adjLst/>
          </dgm:shape>
          <dgm:presOf/>
          <dgm:choose name="Name24">
            <dgm:if name="Name25" axis="root ch" ptType="all node" st="1 1" cnt="0 0" func="cnt" op="gt" val="1">
              <dgm:choose name="Name26">
                <dgm:if name="Name27" func="var" arg="dir" op="equ" val="norm">
                  <dgm:constrLst>
                    <dgm:constr type="l" for="ch" forName="outerBoxParent"/>
                    <dgm:constr type="t" for="ch" forName="outerBoxParent"/>
                    <dgm:constr type="w" for="ch" forName="outerBoxParent" refType="w"/>
                    <dgm:constr type="h" for="ch" forName="outerBoxParent" refType="h"/>
                    <dgm:constr type="bMarg" for="ch" forName="outerBoxParent" refType="h" fact="2.2"/>
                    <dgm:constr type="l" for="ch" forName="outerBoxChildren" refType="w" fact="0.025"/>
                    <dgm:constr type="t" for="ch" forName="outerBoxChildren" refType="h" fact="0.25"/>
                    <dgm:constr type="w" for="ch" forName="outerBoxChildren" refType="w" fact="0.15"/>
                    <dgm:constr type="h" for="ch" forName="outerBoxChildren" refType="h" fact="0.7"/>
                  </dgm:constrLst>
                </dgm:if>
                <dgm:else name="Name28">
                  <dgm:constrLst>
                    <dgm:constr type="l" for="ch" forName="outerBoxParent"/>
                    <dgm:constr type="t" for="ch" forName="outerBoxParent"/>
                    <dgm:constr type="w" for="ch" forName="outerBoxParent" refType="w"/>
                    <dgm:constr type="h" for="ch" forName="outerBoxParent" refType="h"/>
                    <dgm:constr type="bMarg" for="ch" forName="outerBoxParent" refType="h" fact="2.2"/>
                    <dgm:constr type="l" for="ch" forName="outerBoxChildren" refType="w" fact="0.825"/>
                    <dgm:constr type="t" for="ch" forName="outerBoxChildren" refType="h" fact="0.25"/>
                    <dgm:constr type="w" for="ch" forName="outerBoxChildren" refType="w" fact="0.15"/>
                    <dgm:constr type="h" for="ch" forName="outerBoxChildren" refType="h" fact="0.7"/>
                  </dgm:constrLst>
                </dgm:else>
              </dgm:choose>
            </dgm:if>
            <dgm:else name="Name29">
              <dgm:constrLst>
                <dgm:constr type="l" for="ch" forName="outerBoxParent"/>
                <dgm:constr type="t" for="ch" forName="outerBoxParent"/>
                <dgm:constr type="w" for="ch" forName="outerBoxParent" refType="w"/>
                <dgm:constr type="h" for="ch" forName="outerBoxParent" refType="h"/>
                <dgm:constr type="bMarg" for="ch" forName="outerBoxParent" refType="h" fact="1.75"/>
                <dgm:constr type="l" for="ch" forName="outerBoxChildren" refType="w" fact="0.025"/>
                <dgm:constr type="t" for="ch" forName="outerBoxChildren" refType="h" fact="0.45"/>
                <dgm:constr type="w" for="ch" forName="outerBoxChildren" refType="w" fact="0.95"/>
                <dgm:constr type="h" for="ch" forName="outerBoxChildren" refType="h" fact="0.45"/>
              </dgm:constrLst>
            </dgm:else>
          </dgm:choose>
          <dgm:ruleLst/>
          <dgm:layoutNode name="outerBoxParent" styleLbl="node1">
            <dgm:alg type="tx">
              <dgm:param type="txAnchorVert" val="t"/>
              <dgm:param type="parTxLTRAlign" val="l"/>
              <dgm:param type="parTxRTLAlign" val="r"/>
            </dgm:alg>
            <dgm:shape xmlns:r="http://schemas.openxmlformats.org/officeDocument/2006/relationships" type="roundRect" r:blip="">
              <dgm:adjLst>
                <dgm:adj idx="1" val="0.085"/>
              </dgm:adjLst>
            </dgm:shape>
            <dgm:presOf axis="ch" ptType="node" cnt="1"/>
            <dgm:constrLst>
              <dgm:constr type="tMarg" refType="primFontSz" fact="0.3"/>
              <dgm:constr type="lMarg" refType="primFontSz" fact="0.3"/>
              <dgm:constr type="rMarg" refType="primFontSz" fact="0.3"/>
            </dgm:constrLst>
            <dgm:ruleLst>
              <dgm:rule type="primFontSz" val="5" fact="NaN" max="NaN"/>
            </dgm:ruleLst>
          </dgm:layoutNode>
          <dgm:layoutNode name="outerBoxChildren">
            <dgm:choose name="Name30">
              <dgm:if name="Name31" axis="root ch" ptType="all node" st="1 1" cnt="0 0" func="cnt" op="gt" val="1">
                <dgm:alg type="lin">
                  <dgm:param type="linDir" val="fromT"/>
                  <dgm:param type="vertAlign" val="t"/>
                </dgm:alg>
              </dgm:if>
              <dgm:else name="Name32">
                <dgm:choose name="Name33">
                  <dgm:if name="Name34" func="var" arg="dir" op="equ" val="norm">
                    <dgm:alg type="lin">
                      <dgm:param type="horzAlign" val="l"/>
                    </dgm:alg>
                  </dgm:if>
                  <dgm:else name="Name35">
                    <dgm:alg type="lin">
                      <dgm:param type="linDir" val="fromR"/>
                      <dgm:param type="horzAlign" val="r"/>
                    </dgm:alg>
                  </dgm:else>
                </dgm:choose>
              </dgm:else>
            </dgm:choose>
            <dgm:shape xmlns:r="http://schemas.openxmlformats.org/officeDocument/2006/relationships" r:blip="">
              <dgm:adjLst/>
            </dgm:shape>
            <dgm:presOf/>
            <dgm:constrLst>
              <dgm:constr type="w" for="ch" forName="oChild" refType="w"/>
              <dgm:constr type="h" for="ch" forName="oChild" refType="h"/>
            </dgm:constrLst>
            <dgm:ruleLst/>
            <dgm:forEach name="Name36" axis="ch ch" ptType="node node" st="1 1" cnt="1 0">
              <dgm:layoutNode name="oChild" styleLbl="fgAcc1">
                <dgm:varLst>
                  <dgm:bulletEnabled val="1"/>
                </dgm:varLst>
                <dgm:alg type="tx"/>
                <dgm:shape xmlns:r="http://schemas.openxmlformats.org/officeDocument/2006/relationships" type="roundRect" r:blip="">
                  <dgm:adjLst>
                    <dgm:adj idx="1" val="0.105"/>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Name37" axis="followSib" ptType="sibTrans" cnt="1">
                <dgm:layoutNode name="outerSibTrans">
                  <dgm:alg type="sp"/>
                  <dgm:shape xmlns:r="http://schemas.openxmlformats.org/officeDocument/2006/relationships" r:blip="">
                    <dgm:adjLst/>
                  </dgm:shape>
                  <dgm:presOf/>
                  <dgm:constrLst>
                    <dgm:constr type="userA"/>
                    <dgm:constr type="w" refType="userA" fact="0.015"/>
                    <dgm:constr type="h" refType="userA" fact="0.015"/>
                  </dgm:constrLst>
                  <dgm:ruleLst/>
                </dgm:layoutNode>
              </dgm:forEach>
            </dgm:forEach>
          </dgm:layoutNode>
        </dgm:layoutNode>
      </dgm:if>
      <dgm:else name="Name38"/>
    </dgm:choose>
    <dgm:choose name="Name39">
      <dgm:if name="Name40" axis="root ch" ptType="all node" st="1 1" cnt="0 0" func="cnt" op="gte" val="2">
        <dgm:layoutNode name="middleBox">
          <dgm:alg type="composite">
            <dgm:param type="horzAlign" val="none"/>
            <dgm:param type="vertAlign" val="none"/>
          </dgm:alg>
          <dgm:shape xmlns:r="http://schemas.openxmlformats.org/officeDocument/2006/relationships" r:blip="">
            <dgm:adjLst/>
          </dgm:shape>
          <dgm:presOf/>
          <dgm:choose name="Name41">
            <dgm:if name="Name42" axis="root ch" ptType="all node" st="1 1" cnt="0 0" func="cnt" op="gt" val="2">
              <dgm:choose name="Name43">
                <dgm:if name="Name44" func="var" arg="dir" op="equ" val="norm">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025"/>
                    <dgm:constr type="t" for="ch" forName="middleBoxChildren" refType="h" fact="0.35"/>
                    <dgm:constr type="w" for="ch" forName="middleBoxChildren" refType="w" fact="0.2"/>
                    <dgm:constr type="h" for="ch" forName="middleBoxChildren" refType="h" fact="0.575"/>
                  </dgm:constrLst>
                </dgm:if>
                <dgm:else name="Name45">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775"/>
                    <dgm:constr type="t" for="ch" forName="middleBoxChildren" refType="h" fact="0.35"/>
                    <dgm:constr type="w" for="ch" forName="middleBoxChildren" refType="w" fact="0.2"/>
                    <dgm:constr type="h" for="ch" forName="middleBoxChildren" refType="h" fact="0.575"/>
                  </dgm:constrLst>
                </dgm:else>
              </dgm:choose>
            </dgm:if>
            <dgm:else name="Name46">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025"/>
                <dgm:constr type="t" for="ch" forName="middleBoxChildren" refType="h" fact="0.45"/>
                <dgm:constr type="w" for="ch" forName="middleBoxChildren" refType="w" fact="0.95"/>
                <dgm:constr type="h" for="ch" forName="middleBoxChildren" refType="h" fact="0.45"/>
              </dgm:constrLst>
            </dgm:else>
          </dgm:choose>
          <dgm:ruleLst/>
          <dgm:layoutNode name="middleBoxParent" styleLbl="node1">
            <dgm:alg type="tx">
              <dgm:param type="txAnchorVert" val="t"/>
              <dgm:param type="parTxLTRAlign" val="l"/>
              <dgm:param type="parTxRTLAlign" val="r"/>
            </dgm:alg>
            <dgm:shape xmlns:r="http://schemas.openxmlformats.org/officeDocument/2006/relationships" type="roundRect" r:blip="">
              <dgm:adjLst>
                <dgm:adj idx="1" val="0.105"/>
              </dgm:adjLst>
            </dgm:shape>
            <dgm:presOf axis="ch" ptType="node" st="2" cnt="1"/>
            <dgm:constrLst>
              <dgm:constr type="tMarg" refType="primFontSz" fact="0.3"/>
              <dgm:constr type="lMarg" refType="primFontSz" fact="0.3"/>
              <dgm:constr type="rMarg" refType="primFontSz" fact="0.3"/>
            </dgm:constrLst>
            <dgm:ruleLst>
              <dgm:rule type="primFontSz" val="5" fact="NaN" max="NaN"/>
            </dgm:ruleLst>
          </dgm:layoutNode>
          <dgm:layoutNode name="middleBoxChildren">
            <dgm:choose name="Name47">
              <dgm:if name="Name48" axis="root ch" ptType="all node" st="1 1" cnt="0 0" func="cnt" op="gt" val="2">
                <dgm:alg type="lin">
                  <dgm:param type="linDir" val="fromT"/>
                  <dgm:param type="vertAlign" val="t"/>
                </dgm:alg>
              </dgm:if>
              <dgm:else name="Name49">
                <dgm:choose name="Name50">
                  <dgm:if name="Name51" func="var" arg="dir" op="equ" val="norm">
                    <dgm:alg type="lin">
                      <dgm:param type="horzAlign" val="l"/>
                    </dgm:alg>
                  </dgm:if>
                  <dgm:else name="Name52">
                    <dgm:alg type="lin">
                      <dgm:param type="linDir" val="fromR"/>
                      <dgm:param type="horzAlign" val="r"/>
                    </dgm:alg>
                  </dgm:else>
                </dgm:choose>
              </dgm:else>
            </dgm:choose>
            <dgm:shape xmlns:r="http://schemas.openxmlformats.org/officeDocument/2006/relationships" r:blip="">
              <dgm:adjLst/>
            </dgm:shape>
            <dgm:presOf/>
            <dgm:constrLst>
              <dgm:constr type="w" for="ch" forName="mChild" refType="w"/>
              <dgm:constr type="h" for="ch" forName="mChild" refType="h"/>
            </dgm:constrLst>
            <dgm:ruleLst/>
            <dgm:forEach name="Name53" axis="ch ch" ptType="node node" st="2 1" cnt="1 0">
              <dgm:layoutNode name="mChild" styleLbl="fgAcc1">
                <dgm:varLst>
                  <dgm:bulletEnabled val="1"/>
                </dgm:varLst>
                <dgm:alg type="tx"/>
                <dgm:shape xmlns:r="http://schemas.openxmlformats.org/officeDocument/2006/relationships" type="roundRect" r:blip="">
                  <dgm:adjLst>
                    <dgm:adj idx="1" val="0.105"/>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Name54" axis="followSib" ptType="sibTrans" cnt="1">
                <dgm:layoutNode name="middleSibTrans">
                  <dgm:alg type="sp"/>
                  <dgm:shape xmlns:r="http://schemas.openxmlformats.org/officeDocument/2006/relationships" r:blip="">
                    <dgm:adjLst/>
                  </dgm:shape>
                  <dgm:presOf/>
                  <dgm:constrLst>
                    <dgm:constr type="userA"/>
                    <dgm:constr type="w" refType="userA" fact="0.015"/>
                    <dgm:constr type="h" refType="userA" fact="0.015"/>
                  </dgm:constrLst>
                  <dgm:ruleLst/>
                </dgm:layoutNode>
              </dgm:forEach>
            </dgm:forEach>
          </dgm:layoutNode>
        </dgm:layoutNode>
      </dgm:if>
      <dgm:else name="Name55"/>
    </dgm:choose>
    <dgm:choose name="Name56">
      <dgm:if name="Name57" axis="root ch" ptType="all node" st="1 1" cnt="0 0" func="cnt" op="gte" val="3">
        <dgm:layoutNode name="centerBox">
          <dgm:alg type="composite">
            <dgm:param type="horzAlign" val="none"/>
            <dgm:param type="vertAlign" val="none"/>
          </dgm:alg>
          <dgm:shape xmlns:r="http://schemas.openxmlformats.org/officeDocument/2006/relationships" r:blip="">
            <dgm:adjLst/>
          </dgm:shape>
          <dgm:presOf/>
          <dgm:choose name="Name58">
            <dgm:if name="Name59" axis="ch ch" ptType="node node" st="3 1" cnt="1 0" func="cnt" op="gt" val="0">
              <dgm:constrLst>
                <dgm:constr type="l" for="ch" forName="centerBoxParent"/>
                <dgm:constr type="t" for="ch" forName="centerBoxParent"/>
                <dgm:constr type="w" for="ch" forName="centerBoxParent" refType="w"/>
                <dgm:constr type="h" for="ch" forName="centerBoxParent" refType="h"/>
                <dgm:constr type="bMarg" for="ch" forName="centerBoxParent" refType="h" fact="1.6"/>
                <dgm:constr type="l" for="ch" forName="centerBoxChildren" refType="w" fact="0.025"/>
                <dgm:constr type="t" for="ch" forName="centerBoxChildren" refType="h" fact="0.45"/>
                <dgm:constr type="w" for="ch" forName="centerBoxChildren" refType="w" fact="0.95"/>
                <dgm:constr type="h" for="ch" forName="centerBoxChildren" refType="h" fact="0.45"/>
              </dgm:constrLst>
            </dgm:if>
            <dgm:else name="Name60">
              <dgm:constrLst>
                <dgm:constr type="l" for="ch" forName="centerBoxParent"/>
                <dgm:constr type="t" for="ch" forName="centerBoxParent"/>
                <dgm:constr type="w" for="ch" forName="centerBoxParent" refType="w"/>
                <dgm:constr type="h" for="ch" forName="centerBoxParent" refType="h"/>
              </dgm:constrLst>
            </dgm:else>
          </dgm:choose>
          <dgm:ruleLst/>
          <dgm:layoutNode name="centerBoxParent" styleLbl="node1">
            <dgm:alg type="tx">
              <dgm:param type="txAnchorVert" val="t"/>
              <dgm:param type="parTxLTRAlign" val="l"/>
              <dgm:param type="parTxRTLAlign" val="r"/>
            </dgm:alg>
            <dgm:shape xmlns:r="http://schemas.openxmlformats.org/officeDocument/2006/relationships" type="roundRect" r:blip="">
              <dgm:adjLst>
                <dgm:adj idx="1" val="0.105"/>
              </dgm:adjLst>
            </dgm:shape>
            <dgm:presOf axis="ch" ptType="node" st="3" cnt="1"/>
            <dgm:constrLst>
              <dgm:constr type="tMarg" refType="primFontSz" fact="0.3"/>
              <dgm:constr type="lMarg" refType="primFontSz" fact="0.3"/>
              <dgm:constr type="rMarg" refType="primFontSz" fact="0.3"/>
            </dgm:constrLst>
            <dgm:ruleLst>
              <dgm:rule type="primFontSz" val="5" fact="NaN" max="NaN"/>
            </dgm:ruleLst>
          </dgm:layoutNode>
          <dgm:choose name="Name61">
            <dgm:if name="Name62" axis="ch ch" ptType="node node" st="3 1" cnt="1 0" func="cnt" op="gt" val="0">
              <dgm:layoutNode name="centerBoxChildren">
                <dgm:choose name="Name63">
                  <dgm:if name="Name64" func="var" arg="dir" op="equ" val="norm">
                    <dgm:alg type="lin">
                      <dgm:param type="horzAlign" val="l"/>
                    </dgm:alg>
                  </dgm:if>
                  <dgm:else name="Name65">
                    <dgm:alg type="lin">
                      <dgm:param type="linDir" val="fromR"/>
                      <dgm:param type="horzAlign" val="r"/>
                    </dgm:alg>
                  </dgm:else>
                </dgm:choose>
                <dgm:shape xmlns:r="http://schemas.openxmlformats.org/officeDocument/2006/relationships" r:blip="">
                  <dgm:adjLst/>
                </dgm:shape>
                <dgm:presOf/>
                <dgm:constrLst>
                  <dgm:constr type="w" for="ch" forName="cChild" refType="w"/>
                  <dgm:constr type="h" for="ch" forName="cChild" refType="h"/>
                </dgm:constrLst>
                <dgm:ruleLst/>
                <dgm:forEach name="Name66" axis="ch ch" ptType="node node" st="3 1" cnt="1 0">
                  <dgm:layoutNode name="cChild" styleLbl="fgAcc1">
                    <dgm:varLst>
                      <dgm:bulletEnabled val="1"/>
                    </dgm:varLst>
                    <dgm:alg type="tx"/>
                    <dgm:shape xmlns:r="http://schemas.openxmlformats.org/officeDocument/2006/relationships" type="roundRect" r:blip="">
                      <dgm:adjLst>
                        <dgm:adj idx="1" val="0.105"/>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Name67" axis="followSib" ptType="sibTrans" cnt="1">
                    <dgm:layoutNode name="centerSibTrans">
                      <dgm:alg type="sp"/>
                      <dgm:shape xmlns:r="http://schemas.openxmlformats.org/officeDocument/2006/relationships" r:blip="">
                        <dgm:adjLst/>
                      </dgm:shape>
                      <dgm:presOf/>
                      <dgm:constrLst>
                        <dgm:constr type="userA"/>
                        <dgm:constr type="w" refType="userA" fact="0.015"/>
                        <dgm:constr type="h" refType="userA" fact="0.015"/>
                      </dgm:constrLst>
                      <dgm:ruleLst/>
                    </dgm:layoutNode>
                  </dgm:forEach>
                </dgm:forEach>
              </dgm:layoutNode>
            </dgm:if>
            <dgm:else name="Name68"/>
          </dgm:choose>
        </dgm:layoutNode>
      </dgm:if>
      <dgm:else name="Name69"/>
    </dgm:choose>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4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9" name="Rectangle 3"/>
          <p:cNvSpPr>
            <a:spLocks noGrp="1" noChangeArrowheads="1"/>
          </p:cNvSpPr>
          <p:nvPr>
            <p:ph type="dt" sz="quarter" idx="1"/>
          </p:nvPr>
        </p:nvSpPr>
        <p:spPr bwMode="auto">
          <a:xfrm>
            <a:off x="3857622" y="0"/>
            <a:ext cx="2949579" cy="497139"/>
          </a:xfrm>
          <a:prstGeom prst="rect">
            <a:avLst/>
          </a:prstGeom>
          <a:noFill/>
          <a:ln w="9525">
            <a:noFill/>
            <a:miter lim="800000"/>
            <a:headEnd/>
            <a:tailEnd/>
          </a:ln>
          <a:effectLst/>
        </p:spPr>
        <p:txBody>
          <a:bodyPr vert="horz" wrap="square" lIns="93349" tIns="46675" rIns="93349" bIns="46675" numCol="1" anchor="t" anchorCtr="0" compatLnSpc="1">
            <a:prstTxWarp prst="textNoShape">
              <a:avLst/>
            </a:prstTxWarp>
          </a:bodyPr>
          <a:lstStyle>
            <a:lvl1pPr algn="r" defTabSz="933580">
              <a:defRPr sz="1200">
                <a:effectLst/>
                <a:latin typeface="Arial" charset="0"/>
                <a:ea typeface="新細明體" pitchFamily="18" charset="-120"/>
                <a:cs typeface="+mn-cs"/>
              </a:defRPr>
            </a:lvl1pPr>
          </a:lstStyle>
          <a:p>
            <a:pPr>
              <a:defRPr/>
            </a:pPr>
            <a:fld id="{E3E20BF0-A288-487D-9B73-60FCBAC8664B}" type="datetime1">
              <a:rPr lang="zh-TW" altLang="en-US" smtClean="0"/>
              <a:t>2015/8/5</a:t>
            </a:fld>
            <a:endParaRPr lang="en-US" altLang="zh-TW"/>
          </a:p>
        </p:txBody>
      </p:sp>
      <p:sp>
        <p:nvSpPr>
          <p:cNvPr id="19461" name="Rectangle 5"/>
          <p:cNvSpPr>
            <a:spLocks noGrp="1" noChangeArrowheads="1"/>
          </p:cNvSpPr>
          <p:nvPr>
            <p:ph type="sldNum" sz="quarter" idx="3"/>
          </p:nvPr>
        </p:nvSpPr>
        <p:spPr bwMode="auto">
          <a:xfrm>
            <a:off x="6200803" y="9442200"/>
            <a:ext cx="606397" cy="497138"/>
          </a:xfrm>
          <a:prstGeom prst="rect">
            <a:avLst/>
          </a:prstGeom>
          <a:noFill/>
          <a:ln w="9525">
            <a:noFill/>
            <a:miter lim="800000"/>
            <a:headEnd/>
            <a:tailEnd/>
          </a:ln>
          <a:effectLst/>
        </p:spPr>
        <p:txBody>
          <a:bodyPr vert="horz" wrap="square" lIns="93349" tIns="46675" rIns="93349" bIns="46675" numCol="1" anchor="b" anchorCtr="0" compatLnSpc="1">
            <a:prstTxWarp prst="textNoShape">
              <a:avLst/>
            </a:prstTxWarp>
          </a:bodyPr>
          <a:lstStyle>
            <a:lvl1pPr algn="r" defTabSz="933580">
              <a:defRPr sz="1200">
                <a:effectLst/>
                <a:latin typeface="Arial" charset="0"/>
                <a:ea typeface="新細明體" pitchFamily="18" charset="-120"/>
                <a:cs typeface="+mn-cs"/>
              </a:defRPr>
            </a:lvl1pPr>
          </a:lstStyle>
          <a:p>
            <a:pPr>
              <a:defRPr/>
            </a:pPr>
            <a:fld id="{C04717AF-C35E-434F-9C2B-2AA3067039C1}" type="slidenum">
              <a:rPr lang="zh-TW" altLang="en-US"/>
              <a:pPr>
                <a:defRPr/>
              </a:pPr>
              <a:t>‹#›</a:t>
            </a:fld>
            <a:endParaRPr lang="en-US" altLang="zh-TW"/>
          </a:p>
        </p:txBody>
      </p:sp>
    </p:spTree>
    <p:extLst>
      <p:ext uri="{BB962C8B-B14F-4D97-AF65-F5344CB8AC3E}">
        <p14:creationId xmlns:p14="http://schemas.microsoft.com/office/powerpoint/2010/main" val="3929385301"/>
      </p:ext>
    </p:extLst>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698" name="Rectangle 2"/>
          <p:cNvSpPr>
            <a:spLocks noGrp="1" noChangeArrowheads="1"/>
          </p:cNvSpPr>
          <p:nvPr>
            <p:ph type="hdr" sz="quarter"/>
          </p:nvPr>
        </p:nvSpPr>
        <p:spPr bwMode="auto">
          <a:xfrm>
            <a:off x="0" y="0"/>
            <a:ext cx="2949580" cy="497139"/>
          </a:xfrm>
          <a:prstGeom prst="rect">
            <a:avLst/>
          </a:prstGeom>
          <a:noFill/>
          <a:ln w="9525">
            <a:noFill/>
            <a:miter lim="800000"/>
            <a:headEnd/>
            <a:tailEnd/>
          </a:ln>
          <a:effectLst/>
        </p:spPr>
        <p:txBody>
          <a:bodyPr vert="horz" wrap="square" lIns="93349" tIns="46675" rIns="93349" bIns="46675" numCol="1" anchor="t" anchorCtr="0" compatLnSpc="1">
            <a:prstTxWarp prst="textNoShape">
              <a:avLst/>
            </a:prstTxWarp>
          </a:bodyPr>
          <a:lstStyle>
            <a:lvl1pPr defTabSz="933580">
              <a:defRPr sz="1200" b="0">
                <a:effectLst/>
                <a:ea typeface="新細明體" pitchFamily="18" charset="-120"/>
                <a:cs typeface="+mn-cs"/>
              </a:defRPr>
            </a:lvl1pPr>
          </a:lstStyle>
          <a:p>
            <a:pPr>
              <a:defRPr/>
            </a:pPr>
            <a:endParaRPr lang="en-US" altLang="zh-TW"/>
          </a:p>
        </p:txBody>
      </p:sp>
      <p:sp>
        <p:nvSpPr>
          <p:cNvPr id="29699" name="Rectangle 3"/>
          <p:cNvSpPr>
            <a:spLocks noGrp="1" noChangeArrowheads="1"/>
          </p:cNvSpPr>
          <p:nvPr>
            <p:ph type="dt" idx="1"/>
          </p:nvPr>
        </p:nvSpPr>
        <p:spPr bwMode="auto">
          <a:xfrm>
            <a:off x="3856066" y="0"/>
            <a:ext cx="2949580" cy="497139"/>
          </a:xfrm>
          <a:prstGeom prst="rect">
            <a:avLst/>
          </a:prstGeom>
          <a:noFill/>
          <a:ln w="9525">
            <a:noFill/>
            <a:miter lim="800000"/>
            <a:headEnd/>
            <a:tailEnd/>
          </a:ln>
          <a:effectLst/>
        </p:spPr>
        <p:txBody>
          <a:bodyPr vert="horz" wrap="square" lIns="93349" tIns="46675" rIns="93349" bIns="46675" numCol="1" anchor="t" anchorCtr="0" compatLnSpc="1">
            <a:prstTxWarp prst="textNoShape">
              <a:avLst/>
            </a:prstTxWarp>
          </a:bodyPr>
          <a:lstStyle>
            <a:lvl1pPr algn="r" defTabSz="933580">
              <a:defRPr sz="1200" b="0">
                <a:effectLst/>
                <a:ea typeface="新細明體" pitchFamily="18" charset="-120"/>
                <a:cs typeface="+mn-cs"/>
              </a:defRPr>
            </a:lvl1pPr>
          </a:lstStyle>
          <a:p>
            <a:pPr>
              <a:defRPr/>
            </a:pPr>
            <a:fld id="{BACCE61C-FB40-479C-9D84-48A33908E19C}" type="datetime1">
              <a:rPr lang="zh-TW" altLang="en-US" smtClean="0"/>
              <a:t>2015/8/5</a:t>
            </a:fld>
            <a:endParaRPr lang="en-US" altLang="zh-TW"/>
          </a:p>
        </p:txBody>
      </p:sp>
      <p:sp>
        <p:nvSpPr>
          <p:cNvPr id="92164" name="Rectangle 4"/>
          <p:cNvSpPr>
            <a:spLocks noGrp="1" noRot="1" noChangeAspect="1" noChangeArrowheads="1" noTextEdit="1"/>
          </p:cNvSpPr>
          <p:nvPr>
            <p:ph type="sldImg" idx="2"/>
          </p:nvPr>
        </p:nvSpPr>
        <p:spPr bwMode="auto">
          <a:xfrm>
            <a:off x="919163" y="744538"/>
            <a:ext cx="4970462" cy="3729037"/>
          </a:xfrm>
          <a:prstGeom prst="rect">
            <a:avLst/>
          </a:prstGeom>
          <a:noFill/>
          <a:ln w="9525">
            <a:solidFill>
              <a:srgbClr val="000000"/>
            </a:solidFill>
            <a:miter lim="800000"/>
            <a:headEnd/>
            <a:tailEnd/>
          </a:ln>
        </p:spPr>
      </p:sp>
      <p:sp>
        <p:nvSpPr>
          <p:cNvPr id="29701" name="Rectangle 5"/>
          <p:cNvSpPr>
            <a:spLocks noGrp="1" noChangeArrowheads="1"/>
          </p:cNvSpPr>
          <p:nvPr>
            <p:ph type="body" sz="quarter" idx="3"/>
          </p:nvPr>
        </p:nvSpPr>
        <p:spPr bwMode="auto">
          <a:xfrm>
            <a:off x="681032" y="4721955"/>
            <a:ext cx="5445138" cy="4472531"/>
          </a:xfrm>
          <a:prstGeom prst="rect">
            <a:avLst/>
          </a:prstGeom>
          <a:noFill/>
          <a:ln w="9525">
            <a:noFill/>
            <a:miter lim="800000"/>
            <a:headEnd/>
            <a:tailEnd/>
          </a:ln>
          <a:effectLst/>
        </p:spPr>
        <p:txBody>
          <a:bodyPr vert="horz" wrap="square" lIns="93349" tIns="46675" rIns="93349" bIns="46675" numCol="1" anchor="t" anchorCtr="0" compatLnSpc="1">
            <a:prstTxWarp prst="textNoShape">
              <a:avLst/>
            </a:prstTxWarp>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p>
        </p:txBody>
      </p:sp>
      <p:sp>
        <p:nvSpPr>
          <p:cNvPr id="29702" name="Rectangle 6"/>
          <p:cNvSpPr>
            <a:spLocks noGrp="1" noChangeArrowheads="1"/>
          </p:cNvSpPr>
          <p:nvPr>
            <p:ph type="ftr" sz="quarter" idx="4"/>
          </p:nvPr>
        </p:nvSpPr>
        <p:spPr bwMode="auto">
          <a:xfrm>
            <a:off x="1" y="9554955"/>
            <a:ext cx="5625502" cy="382676"/>
          </a:xfrm>
          <a:prstGeom prst="rect">
            <a:avLst/>
          </a:prstGeom>
          <a:noFill/>
          <a:ln w="9525">
            <a:noFill/>
            <a:miter lim="800000"/>
            <a:headEnd/>
            <a:tailEnd/>
          </a:ln>
          <a:effectLst/>
        </p:spPr>
        <p:txBody>
          <a:bodyPr vert="horz" wrap="square" lIns="93349" tIns="46675" rIns="93349" bIns="46675" numCol="1" anchor="b" anchorCtr="0" compatLnSpc="1">
            <a:prstTxWarp prst="textNoShape">
              <a:avLst/>
            </a:prstTxWarp>
          </a:bodyPr>
          <a:lstStyle>
            <a:lvl1pPr defTabSz="933580" eaLnBrk="0" hangingPunct="0">
              <a:defRPr sz="800" b="0">
                <a:effectLst/>
                <a:ea typeface="新細明體" pitchFamily="18" charset="-120"/>
                <a:cs typeface="Arial" charset="0"/>
              </a:defRPr>
            </a:lvl1pPr>
          </a:lstStyle>
          <a:p>
            <a:pPr>
              <a:defRPr/>
            </a:pPr>
            <a:r>
              <a:rPr lang="en-US" altLang="zh-TW"/>
              <a:t>© 2006 Microsoft Corporation. All rights reserved. This presentation is for informational purposes only. Microsoft makes no warranties, express or implied, in this summary.</a:t>
            </a:r>
            <a:endParaRPr lang="en-US" altLang="zh-TW" sz="1200"/>
          </a:p>
        </p:txBody>
      </p:sp>
      <p:sp>
        <p:nvSpPr>
          <p:cNvPr id="29703" name="Rectangle 7"/>
          <p:cNvSpPr>
            <a:spLocks noGrp="1" noChangeArrowheads="1"/>
          </p:cNvSpPr>
          <p:nvPr>
            <p:ph type="sldNum" sz="quarter" idx="5"/>
          </p:nvPr>
        </p:nvSpPr>
        <p:spPr bwMode="auto">
          <a:xfrm>
            <a:off x="5541540" y="9440493"/>
            <a:ext cx="1264106" cy="497139"/>
          </a:xfrm>
          <a:prstGeom prst="rect">
            <a:avLst/>
          </a:prstGeom>
          <a:noFill/>
          <a:ln w="9525">
            <a:noFill/>
            <a:miter lim="800000"/>
            <a:headEnd/>
            <a:tailEnd/>
          </a:ln>
          <a:effectLst/>
        </p:spPr>
        <p:txBody>
          <a:bodyPr vert="horz" wrap="square" lIns="93349" tIns="46675" rIns="93349" bIns="46675" numCol="1" anchor="b" anchorCtr="0" compatLnSpc="1">
            <a:prstTxWarp prst="textNoShape">
              <a:avLst/>
            </a:prstTxWarp>
          </a:bodyPr>
          <a:lstStyle>
            <a:lvl1pPr algn="r" defTabSz="933580">
              <a:defRPr sz="1200" b="0">
                <a:effectLst/>
                <a:ea typeface="新細明體" pitchFamily="18" charset="-120"/>
                <a:cs typeface="+mn-cs"/>
              </a:defRPr>
            </a:lvl1pPr>
          </a:lstStyle>
          <a:p>
            <a:pPr>
              <a:defRPr/>
            </a:pPr>
            <a:fld id="{A9B5049F-741E-4493-BB84-83EA17494660}" type="slidenum">
              <a:rPr lang="zh-TW" altLang="en-US"/>
              <a:pPr>
                <a:defRPr/>
              </a:pPr>
              <a:t>‹#›</a:t>
            </a:fld>
            <a:endParaRPr lang="en-US" altLang="zh-TW"/>
          </a:p>
        </p:txBody>
      </p:sp>
    </p:spTree>
    <p:extLst>
      <p:ext uri="{BB962C8B-B14F-4D97-AF65-F5344CB8AC3E}">
        <p14:creationId xmlns:p14="http://schemas.microsoft.com/office/powerpoint/2010/main" val="574092127"/>
      </p:ext>
    </p:extLst>
  </p:cSld>
  <p:clrMap bg1="lt1" tx1="dk1" bg2="lt2" tx2="dk2" accent1="accent1" accent2="accent2" accent3="accent3" accent4="accent4" accent5="accent5" accent6="accent6" hlink="hlink" folHlink="folHlink"/>
  <p:hf/>
  <p:notesStyle>
    <a:lvl1pPr algn="l" rtl="0" eaLnBrk="0" fontAlgn="base" hangingPunct="0">
      <a:spcBef>
        <a:spcPct val="30000"/>
      </a:spcBef>
      <a:spcAft>
        <a:spcPct val="0"/>
      </a:spcAft>
      <a:defRPr sz="1200" kern="1200">
        <a:solidFill>
          <a:schemeClr val="tx1"/>
        </a:solidFill>
        <a:latin typeface="Franklin Gothic Medium" pitchFamily="34" charset="0"/>
        <a:ea typeface="+mn-ea"/>
        <a:cs typeface="+mn-cs"/>
      </a:defRPr>
    </a:lvl1pPr>
    <a:lvl2pPr marL="233363" indent="9525" algn="l" rtl="0" eaLnBrk="0" fontAlgn="base" hangingPunct="0">
      <a:spcBef>
        <a:spcPct val="30000"/>
      </a:spcBef>
      <a:spcAft>
        <a:spcPct val="0"/>
      </a:spcAft>
      <a:buChar char="•"/>
      <a:defRPr sz="1000" kern="1200">
        <a:solidFill>
          <a:schemeClr val="tx1"/>
        </a:solidFill>
        <a:latin typeface="Franklin Gothic Medium" pitchFamily="34" charset="0"/>
        <a:ea typeface="+mn-ea"/>
        <a:cs typeface="+mn-cs"/>
      </a:defRPr>
    </a:lvl2pPr>
    <a:lvl3pPr marL="457200" indent="-9525" algn="l" rtl="0" eaLnBrk="0" fontAlgn="base" hangingPunct="0">
      <a:spcBef>
        <a:spcPct val="30000"/>
      </a:spcBef>
      <a:spcAft>
        <a:spcPct val="0"/>
      </a:spcAft>
      <a:buChar char="•"/>
      <a:defRPr sz="900" kern="1200">
        <a:solidFill>
          <a:schemeClr val="tx1"/>
        </a:solidFill>
        <a:latin typeface="Franklin Gothic Medium" pitchFamily="34" charset="0"/>
        <a:ea typeface="+mn-ea"/>
        <a:cs typeface="+mn-cs"/>
      </a:defRPr>
    </a:lvl3pPr>
    <a:lvl4pPr marL="681038" algn="l" rtl="0" eaLnBrk="0" fontAlgn="base" hangingPunct="0">
      <a:spcBef>
        <a:spcPct val="30000"/>
      </a:spcBef>
      <a:spcAft>
        <a:spcPct val="0"/>
      </a:spcAft>
      <a:buChar char="•"/>
      <a:defRPr sz="900" kern="1200">
        <a:solidFill>
          <a:schemeClr val="tx1"/>
        </a:solidFill>
        <a:latin typeface="Franklin Gothic Medium" pitchFamily="34" charset="0"/>
        <a:ea typeface="+mn-ea"/>
        <a:cs typeface="+mn-cs"/>
      </a:defRPr>
    </a:lvl4pPr>
    <a:lvl5pPr marL="904875" algn="l" rtl="0" eaLnBrk="0" fontAlgn="base" hangingPunct="0">
      <a:spcBef>
        <a:spcPct val="30000"/>
      </a:spcBef>
      <a:spcAft>
        <a:spcPct val="0"/>
      </a:spcAft>
      <a:buChar char="•"/>
      <a:defRPr sz="900" kern="1200">
        <a:solidFill>
          <a:schemeClr val="tx1"/>
        </a:solidFill>
        <a:latin typeface="Franklin Gothic Medium"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4CDB930-BE8F-4086-877D-A7B85115D0F6}" type="slidenum">
              <a:rPr lang="en-US" smtClean="0"/>
              <a:pPr/>
              <a:t>12</a:t>
            </a:fld>
            <a:endParaRPr lang="en-US" dirty="0"/>
          </a:p>
        </p:txBody>
      </p:sp>
    </p:spTree>
    <p:extLst>
      <p:ext uri="{BB962C8B-B14F-4D97-AF65-F5344CB8AC3E}">
        <p14:creationId xmlns:p14="http://schemas.microsoft.com/office/powerpoint/2010/main" val="28323362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dirty="0" smtClean="0">
                <a:solidFill>
                  <a:schemeClr val="tx1"/>
                </a:solidFill>
                <a:effectLst/>
                <a:latin typeface="+mn-lt"/>
                <a:ea typeface="+mn-ea"/>
                <a:cs typeface="+mn-cs"/>
              </a:rPr>
              <a:t>So let’s start by taking a look at Windows 10 Pro in Volume Licensing</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indows 10 Pro is sold only as an upgrade license in Volume Licensing and does require a qualifying underlying Operating System license, typically a professional version of Windows.</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is means that Windows 10 Pro will be primarily purchased in Volume Licensing by customers who are looking to move their existing PCs running either Windows XP Professional, Windows 7 Professional or Windows 8.1 Pro to Windows 10 Pro.  Many commercial customers will take advantage of the limited-time</a:t>
            </a:r>
            <a:r>
              <a:rPr lang="en-US" sz="1200" kern="1200" baseline="0" dirty="0" smtClean="0">
                <a:solidFill>
                  <a:schemeClr val="tx1"/>
                </a:solidFill>
                <a:effectLst/>
                <a:latin typeface="+mn-lt"/>
                <a:ea typeface="+mn-ea"/>
                <a:cs typeface="+mn-cs"/>
              </a:rPr>
              <a:t> free-upgrade offer for Windows 10 Pro.</a:t>
            </a:r>
            <a:endParaRPr lang="en-US" sz="1200" kern="1200" dirty="0" smtClean="0">
              <a:solidFill>
                <a:schemeClr val="tx1"/>
              </a:solidFill>
              <a:effectLst/>
              <a:latin typeface="+mn-lt"/>
              <a:ea typeface="+mn-ea"/>
              <a:cs typeface="+mn-cs"/>
            </a:endParaRP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You can get standalone upgrade licenses</a:t>
            </a:r>
            <a:r>
              <a:rPr lang="en-US" sz="1200" kern="1200" baseline="0" dirty="0" smtClean="0">
                <a:solidFill>
                  <a:schemeClr val="tx1"/>
                </a:solidFill>
                <a:effectLst/>
                <a:latin typeface="+mn-lt"/>
                <a:ea typeface="+mn-ea"/>
                <a:cs typeface="+mn-cs"/>
              </a:rPr>
              <a:t> through the Open and Select Plus programs.</a:t>
            </a:r>
          </a:p>
          <a:p>
            <a:endParaRPr lang="en-US" sz="1200" kern="1200" baseline="0" dirty="0" smtClean="0">
              <a:solidFill>
                <a:schemeClr val="tx1"/>
              </a:solidFill>
              <a:effectLst/>
              <a:latin typeface="+mn-lt"/>
              <a:ea typeface="+mn-ea"/>
              <a:cs typeface="+mn-cs"/>
            </a:endParaRPr>
          </a:p>
          <a:p>
            <a:r>
              <a:rPr lang="en-US" sz="1200" kern="1200" baseline="0" dirty="0" smtClean="0">
                <a:solidFill>
                  <a:schemeClr val="tx1"/>
                </a:solidFill>
                <a:effectLst/>
                <a:latin typeface="+mn-lt"/>
                <a:ea typeface="+mn-ea"/>
                <a:cs typeface="+mn-cs"/>
              </a:rPr>
              <a:t>Some organizations do need additional functionality that Pro does not provide.  This is where Windows 10 Enterprise can be beneficial, </a:t>
            </a:r>
            <a:r>
              <a:rPr lang="en-US" sz="1200" kern="1200" dirty="0" smtClean="0">
                <a:solidFill>
                  <a:schemeClr val="tx1"/>
                </a:solidFill>
                <a:effectLst/>
                <a:latin typeface="+mn-lt"/>
                <a:ea typeface="+mn-ea"/>
                <a:cs typeface="+mn-cs"/>
              </a:rPr>
              <a:t>so let’s take a look at</a:t>
            </a:r>
            <a:r>
              <a:rPr lang="en-US" sz="1200" kern="1200" baseline="0" dirty="0" smtClean="0">
                <a:solidFill>
                  <a:schemeClr val="tx1"/>
                </a:solidFill>
                <a:effectLst/>
                <a:latin typeface="+mn-lt"/>
                <a:ea typeface="+mn-ea"/>
                <a:cs typeface="+mn-cs"/>
              </a:rPr>
              <a:t> what the Enterprise edition includes.</a:t>
            </a:r>
            <a:endParaRPr lang="en-US" sz="1200" kern="1200" dirty="0" smtClean="0">
              <a:solidFill>
                <a:schemeClr val="tx1"/>
              </a:solidFill>
              <a:effectLst/>
              <a:latin typeface="+mn-lt"/>
              <a:ea typeface="+mn-ea"/>
              <a:cs typeface="+mn-cs"/>
            </a:endParaRPr>
          </a:p>
          <a:p>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a:xfrm>
            <a:off x="2798191" y="12739987"/>
            <a:ext cx="2140667" cy="670648"/>
          </a:xfrm>
          <a:prstGeom prst="rect">
            <a:avLst/>
          </a:prstGeom>
        </p:spPr>
        <p:txBody>
          <a:bodyPr/>
          <a:lstStyle/>
          <a:p>
            <a:fld id="{8B263312-38AA-4E1E-B2B5-0F8F122B24FE}"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37259726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buFont typeface="Arial" panose="020B0604020202020204" pitchFamily="34" charset="0"/>
              <a:buNone/>
            </a:pPr>
            <a:endParaRPr lang="en-US" b="0" baseline="0" dirty="0" smtClean="0">
              <a:solidFill>
                <a:srgbClr val="FF0000"/>
              </a:solidFill>
            </a:endParaRPr>
          </a:p>
          <a:p>
            <a:r>
              <a:rPr lang="en-US" sz="1200" kern="1200" dirty="0" smtClean="0">
                <a:solidFill>
                  <a:srgbClr val="FF0000"/>
                </a:solidFill>
                <a:effectLst/>
                <a:latin typeface="+mn-lt"/>
                <a:ea typeface="+mn-ea"/>
                <a:cs typeface="+mn-cs"/>
              </a:rPr>
              <a:t>The Enterprise</a:t>
            </a:r>
            <a:r>
              <a:rPr lang="en-US" sz="1200" kern="1200" baseline="0" dirty="0" smtClean="0">
                <a:solidFill>
                  <a:srgbClr val="FF0000"/>
                </a:solidFill>
                <a:effectLst/>
                <a:latin typeface="+mn-lt"/>
                <a:ea typeface="+mn-ea"/>
                <a:cs typeface="+mn-cs"/>
              </a:rPr>
              <a:t> edition gives you a lot of additional functionality but for even more, many customer customers look at </a:t>
            </a:r>
            <a:r>
              <a:rPr lang="en-US" sz="1200" kern="1200" dirty="0" smtClean="0">
                <a:solidFill>
                  <a:srgbClr val="FF0000"/>
                </a:solidFill>
                <a:effectLst/>
                <a:latin typeface="+mn-lt"/>
                <a:ea typeface="+mn-ea"/>
                <a:cs typeface="+mn-cs"/>
              </a:rPr>
              <a:t>Software Assurance or SA.  SA has been greatly expanded since its original introduction and with SA for Windows 10 we have continued down this path of providing increased value for our customers.  </a:t>
            </a:r>
          </a:p>
          <a:p>
            <a:endParaRPr lang="en-US" sz="1200" kern="1200" dirty="0" smtClean="0">
              <a:solidFill>
                <a:srgbClr val="FF0000"/>
              </a:solidFill>
              <a:effectLst/>
              <a:latin typeface="+mn-lt"/>
              <a:ea typeface="+mn-ea"/>
              <a:cs typeface="+mn-cs"/>
            </a:endParaRPr>
          </a:p>
          <a:p>
            <a:r>
              <a:rPr lang="en-US" sz="1200" kern="1200" dirty="0" smtClean="0">
                <a:solidFill>
                  <a:srgbClr val="FF0000"/>
                </a:solidFill>
                <a:effectLst/>
                <a:latin typeface="+mn-lt"/>
                <a:ea typeface="+mn-ea"/>
                <a:cs typeface="+mn-cs"/>
              </a:rPr>
              <a:t>Software Assurance can be added to any Windows 10 Enterprise</a:t>
            </a:r>
            <a:r>
              <a:rPr lang="en-US" sz="1200" kern="1200" baseline="0" dirty="0" smtClean="0">
                <a:solidFill>
                  <a:srgbClr val="FF0000"/>
                </a:solidFill>
                <a:effectLst/>
                <a:latin typeface="+mn-lt"/>
                <a:ea typeface="+mn-ea"/>
                <a:cs typeface="+mn-cs"/>
              </a:rPr>
              <a:t> u</a:t>
            </a:r>
            <a:r>
              <a:rPr lang="en-US" sz="1200" kern="1200" dirty="0" smtClean="0">
                <a:solidFill>
                  <a:srgbClr val="FF0000"/>
                </a:solidFill>
                <a:effectLst/>
                <a:latin typeface="+mn-lt"/>
                <a:ea typeface="+mn-ea"/>
                <a:cs typeface="+mn-cs"/>
              </a:rPr>
              <a:t>pgrade purchase in VL and is automatically included in agreement programs like </a:t>
            </a:r>
            <a:r>
              <a:rPr lang="en-US" sz="1200" kern="1200" baseline="0" dirty="0" smtClean="0">
                <a:solidFill>
                  <a:srgbClr val="FF0000"/>
                </a:solidFill>
                <a:effectLst/>
                <a:latin typeface="+mn-lt"/>
                <a:ea typeface="+mn-ea"/>
                <a:cs typeface="+mn-cs"/>
              </a:rPr>
              <a:t>EA and Open Value.</a:t>
            </a:r>
          </a:p>
          <a:p>
            <a:endParaRPr lang="en-US" sz="1200" kern="1200" baseline="0" dirty="0" smtClean="0">
              <a:solidFill>
                <a:srgbClr val="FF0000"/>
              </a:solidFill>
              <a:effectLst/>
              <a:latin typeface="+mn-lt"/>
              <a:ea typeface="+mn-ea"/>
              <a:cs typeface="+mn-cs"/>
            </a:endParaRPr>
          </a:p>
          <a:p>
            <a:r>
              <a:rPr lang="en-US" sz="1200" kern="1200" baseline="0" dirty="0" smtClean="0">
                <a:solidFill>
                  <a:srgbClr val="FF0000"/>
                </a:solidFill>
                <a:effectLst/>
                <a:latin typeface="+mn-lt"/>
                <a:ea typeface="+mn-ea"/>
                <a:cs typeface="+mn-cs"/>
              </a:rPr>
              <a:t>Note that benefits are valid while SA coverage is active and that you can move your Enterprise upgrade license to a new device while you have active SA.</a:t>
            </a:r>
          </a:p>
          <a:p>
            <a:endParaRPr lang="en-US" sz="1200" kern="1200" baseline="0" dirty="0" smtClean="0">
              <a:solidFill>
                <a:srgbClr val="FF0000"/>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solidFill>
                  <a:srgbClr val="FF0000"/>
                </a:solidFill>
              </a:rPr>
              <a:t>You can acquire the Enterprise edition as a standalone upgrade </a:t>
            </a:r>
            <a:r>
              <a:rPr lang="en-US" sz="1200" dirty="0" smtClean="0">
                <a:solidFill>
                  <a:srgbClr val="FF0000"/>
                </a:solidFill>
                <a:latin typeface="Segoe UI Light"/>
                <a:ea typeface="ＭＳ Ｐゴシック" charset="0"/>
                <a:cs typeface="Segoe UI Light"/>
              </a:rPr>
              <a:t>in the Open License and Select Plus VL programs: this option ONLY provides</a:t>
            </a:r>
            <a:r>
              <a:rPr lang="en-US" sz="1200" baseline="0" dirty="0" smtClean="0">
                <a:solidFill>
                  <a:srgbClr val="FF0000"/>
                </a:solidFill>
                <a:latin typeface="Segoe UI Light"/>
                <a:ea typeface="ＭＳ Ｐゴシック" charset="0"/>
                <a:cs typeface="Segoe UI Light"/>
              </a:rPr>
              <a:t> access to the LTSB, and does not provide the Enterprise Edition Current Branch/Current Branch for Business</a:t>
            </a:r>
            <a:r>
              <a:rPr lang="en-US" sz="1200" dirty="0" smtClean="0">
                <a:solidFill>
                  <a:srgbClr val="FF0000"/>
                </a:solidFill>
                <a:latin typeface="Segoe UI Light"/>
                <a:ea typeface="ＭＳ Ｐゴシック" charset="0"/>
                <a:cs typeface="Segoe UI Light"/>
              </a:rPr>
              <a:t>.</a:t>
            </a:r>
            <a:r>
              <a:rPr lang="en-US" sz="1200" baseline="0" dirty="0" smtClean="0">
                <a:solidFill>
                  <a:srgbClr val="FF0000"/>
                </a:solidFill>
                <a:latin typeface="Segoe UI Light"/>
                <a:ea typeface="ＭＳ Ｐゴシック" charset="0"/>
                <a:cs typeface="Segoe UI Light"/>
              </a:rPr>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solidFill>
                <a:srgbClr val="FF0000"/>
              </a:solidFill>
            </a:endParaRPr>
          </a:p>
        </p:txBody>
      </p:sp>
      <p:sp>
        <p:nvSpPr>
          <p:cNvPr id="4" name="Slide Number Placeholder 3"/>
          <p:cNvSpPr>
            <a:spLocks noGrp="1"/>
          </p:cNvSpPr>
          <p:nvPr>
            <p:ph type="sldNum" sz="quarter" idx="10"/>
          </p:nvPr>
        </p:nvSpPr>
        <p:spPr>
          <a:xfrm>
            <a:off x="2798191" y="12739987"/>
            <a:ext cx="2140667" cy="670648"/>
          </a:xfrm>
          <a:prstGeom prst="rect">
            <a:avLst/>
          </a:prstGeom>
        </p:spPr>
        <p:txBody>
          <a:bodyPr/>
          <a:lstStyle/>
          <a:p>
            <a:fld id="{8B263312-38AA-4E1E-B2B5-0F8F122B24FE}"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16088805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dirty="0" smtClean="0">
                <a:solidFill>
                  <a:schemeClr val="tx1"/>
                </a:solidFill>
                <a:effectLst/>
                <a:latin typeface="+mn-lt"/>
                <a:ea typeface="+mn-ea"/>
                <a:cs typeface="+mn-cs"/>
              </a:rPr>
              <a:t>Up until now we have spent a lot of time talking about licensing the primary device with Windows Enterprise and SA.  However there is another way to license the primary device using the Windows VDA license.</a:t>
            </a:r>
          </a:p>
          <a:p>
            <a:r>
              <a:rPr lang="en-US" sz="1200" kern="1200" dirty="0" smtClean="0">
                <a:solidFill>
                  <a:schemeClr val="tx1"/>
                </a:solidFill>
                <a:effectLst/>
                <a:latin typeface="+mn-lt"/>
                <a:ea typeface="+mn-ea"/>
                <a:cs typeface="+mn-cs"/>
              </a:rPr>
              <a:t>In most organizations we usually see two types of devices used, PC’s and Thin Clients.  PC’s are typically licensed with Enterprise and SA as we have talked about and have a qualified OS on them and get need local install rights.  The thin client on the other hand has no qualified OS and you don’t need local install rights as these devices will typically be used to connect to a VDI infrastructure.  For these devices Microsoft offers the VDA license.  </a:t>
            </a:r>
          </a:p>
          <a:p>
            <a:endParaRPr lang="en-US" dirty="0"/>
          </a:p>
        </p:txBody>
      </p:sp>
      <p:sp>
        <p:nvSpPr>
          <p:cNvPr id="4" name="Slide Number Placeholder 3"/>
          <p:cNvSpPr>
            <a:spLocks noGrp="1"/>
          </p:cNvSpPr>
          <p:nvPr>
            <p:ph type="sldNum" sz="quarter" idx="10"/>
          </p:nvPr>
        </p:nvSpPr>
        <p:spPr>
          <a:xfrm>
            <a:off x="2798191" y="12739987"/>
            <a:ext cx="2140667" cy="670648"/>
          </a:xfrm>
          <a:prstGeom prst="rect">
            <a:avLst/>
          </a:prstGeom>
        </p:spPr>
        <p:txBody>
          <a:bodyPr/>
          <a:lstStyle/>
          <a:p>
            <a:fld id="{8B263312-38AA-4E1E-B2B5-0F8F122B24FE}"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16601913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Windows SA per User puts users at the center of their devices and offers them a premium Windows Experience across their devices</a:t>
            </a:r>
          </a:p>
          <a:p>
            <a:r>
              <a:rPr lang="en-US" sz="1200" kern="1200" dirty="0" smtClean="0">
                <a:solidFill>
                  <a:schemeClr val="tx1"/>
                </a:solidFill>
                <a:effectLst/>
                <a:latin typeface="+mn-lt"/>
                <a:ea typeface="+mn-ea"/>
                <a:cs typeface="+mn-cs"/>
              </a:rPr>
              <a:t>There are a few aspects of Windows SA that are worth highlighting:</a:t>
            </a:r>
          </a:p>
          <a:p>
            <a:pPr marL="171450" lvl="0" indent="-171450">
              <a:buFont typeface="Arial" panose="020B0604020202020204" pitchFamily="34" charset="0"/>
              <a:buChar char="•"/>
            </a:pPr>
            <a:r>
              <a:rPr lang="en-US" sz="1200" kern="1200" dirty="0" smtClean="0">
                <a:solidFill>
                  <a:schemeClr val="tx1"/>
                </a:solidFill>
                <a:effectLst/>
                <a:latin typeface="+mn-lt"/>
                <a:ea typeface="+mn-ea"/>
                <a:cs typeface="+mn-cs"/>
              </a:rPr>
              <a:t>All of the user’s devices are covered through Windows SA per User - including those running iOS and Android operation systems</a:t>
            </a:r>
          </a:p>
          <a:p>
            <a:pPr marL="171450" lvl="0" indent="-171450">
              <a:buFont typeface="Arial" panose="020B0604020202020204" pitchFamily="34" charset="0"/>
              <a:buChar char="•"/>
            </a:pPr>
            <a:r>
              <a:rPr lang="en-US" sz="1200" kern="1200" dirty="0" smtClean="0">
                <a:solidFill>
                  <a:schemeClr val="tx1"/>
                </a:solidFill>
                <a:effectLst/>
                <a:latin typeface="+mn-lt"/>
                <a:ea typeface="+mn-ea"/>
                <a:cs typeface="+mn-cs"/>
              </a:rPr>
              <a:t>Only the user’s primary PC needs to be running a qualified OS (i.e. Windows Pro)</a:t>
            </a:r>
          </a:p>
          <a:p>
            <a:pPr marL="171450" lvl="0" indent="-171450">
              <a:buFont typeface="Arial" panose="020B0604020202020204" pitchFamily="34" charset="0"/>
              <a:buChar char="•"/>
            </a:pPr>
            <a:r>
              <a:rPr lang="en-US" sz="1200" kern="1200" dirty="0" smtClean="0">
                <a:solidFill>
                  <a:schemeClr val="tx1"/>
                </a:solidFill>
                <a:effectLst/>
                <a:latin typeface="+mn-lt"/>
                <a:ea typeface="+mn-ea"/>
                <a:cs typeface="+mn-cs"/>
              </a:rPr>
              <a:t>Windows </a:t>
            </a:r>
            <a:r>
              <a:rPr lang="en-US" sz="1200" b="1" kern="1200" dirty="0" smtClean="0">
                <a:solidFill>
                  <a:schemeClr val="tx1"/>
                </a:solidFill>
                <a:effectLst/>
                <a:latin typeface="+mn-lt"/>
                <a:ea typeface="+mn-ea"/>
                <a:cs typeface="+mn-cs"/>
              </a:rPr>
              <a:t>Enterprise Edition </a:t>
            </a:r>
            <a:r>
              <a:rPr lang="en-US" sz="1200" kern="1200" dirty="0" smtClean="0">
                <a:solidFill>
                  <a:schemeClr val="tx1"/>
                </a:solidFill>
                <a:effectLst/>
                <a:latin typeface="+mn-lt"/>
                <a:ea typeface="+mn-ea"/>
                <a:cs typeface="+mn-cs"/>
              </a:rPr>
              <a:t>can be delivered across the user’s devices</a:t>
            </a:r>
          </a:p>
          <a:p>
            <a:pPr marL="171450" lvl="0" indent="-171450">
              <a:buFont typeface="Arial" panose="020B0604020202020204" pitchFamily="34" charset="0"/>
              <a:buChar char="•"/>
            </a:pPr>
            <a:r>
              <a:rPr lang="en-US" sz="1200" kern="1200" dirty="0" smtClean="0">
                <a:solidFill>
                  <a:schemeClr val="tx1"/>
                </a:solidFill>
                <a:effectLst/>
                <a:latin typeface="+mn-lt"/>
                <a:ea typeface="+mn-ea"/>
                <a:cs typeface="+mn-cs"/>
              </a:rPr>
              <a:t>You have </a:t>
            </a:r>
            <a:r>
              <a:rPr lang="en-US" sz="1200" b="1" kern="1200" dirty="0" smtClean="0">
                <a:solidFill>
                  <a:schemeClr val="tx1"/>
                </a:solidFill>
                <a:effectLst/>
                <a:latin typeface="+mn-lt"/>
                <a:ea typeface="+mn-ea"/>
                <a:cs typeface="+mn-cs"/>
              </a:rPr>
              <a:t>flexibility</a:t>
            </a:r>
            <a:r>
              <a:rPr lang="en-US" sz="1200" kern="1200" dirty="0" smtClean="0">
                <a:solidFill>
                  <a:schemeClr val="tx1"/>
                </a:solidFill>
                <a:effectLst/>
                <a:latin typeface="+mn-lt"/>
                <a:ea typeface="+mn-ea"/>
                <a:cs typeface="+mn-cs"/>
              </a:rPr>
              <a:t> to deliver Windows Enterprise across devices through local install, Virtual Desktop Infrastructure (VDI), or Windows To Go</a:t>
            </a:r>
          </a:p>
          <a:p>
            <a:pPr marL="171450" lvl="0" indent="-171450">
              <a:buFont typeface="Arial" panose="020B0604020202020204" pitchFamily="34" charset="0"/>
              <a:buChar char="•"/>
            </a:pPr>
            <a:r>
              <a:rPr lang="en-US" sz="1200" kern="1200" dirty="0" smtClean="0">
                <a:solidFill>
                  <a:schemeClr val="tx1"/>
                </a:solidFill>
                <a:effectLst/>
                <a:latin typeface="+mn-lt"/>
                <a:ea typeface="+mn-ea"/>
                <a:cs typeface="+mn-cs"/>
              </a:rPr>
              <a:t>This provides </a:t>
            </a:r>
            <a:r>
              <a:rPr lang="en-US" sz="1200" b="1" kern="1200" dirty="0" smtClean="0">
                <a:solidFill>
                  <a:schemeClr val="tx1"/>
                </a:solidFill>
                <a:effectLst/>
                <a:latin typeface="+mn-lt"/>
                <a:ea typeface="+mn-ea"/>
                <a:cs typeface="+mn-cs"/>
              </a:rPr>
              <a:t>simpler license management </a:t>
            </a:r>
            <a:r>
              <a:rPr lang="en-US" sz="1200" kern="1200" dirty="0" smtClean="0">
                <a:solidFill>
                  <a:schemeClr val="tx1"/>
                </a:solidFill>
                <a:effectLst/>
                <a:latin typeface="+mn-lt"/>
                <a:ea typeface="+mn-ea"/>
                <a:cs typeface="+mn-cs"/>
              </a:rPr>
              <a:t>by allowing you to count just users with primary PCs, instead of every single device and enable new scenarios</a:t>
            </a:r>
          </a:p>
          <a:p>
            <a:endParaRPr lang="en-US" sz="300" kern="1200" dirty="0" smtClean="0">
              <a:solidFill>
                <a:schemeClr val="tx1"/>
              </a:solidFill>
              <a:latin typeface="Segoe UI Light" pitchFamily="34" charset="0"/>
              <a:ea typeface="+mn-ea"/>
              <a:cs typeface="+mn-cs"/>
            </a:endParaRPr>
          </a:p>
          <a:p>
            <a:endParaRPr lang="en-US" dirty="0" smtClean="0"/>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AB56AE7-D693-4931-94F2-650826774EB7}" type="datetime1">
              <a:rPr lang="zh-TW" altLang="en-US" smtClean="0">
                <a:solidFill>
                  <a:prstClr val="black"/>
                </a:solidFill>
              </a:rPr>
              <a:t>2015/8/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34406422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TW" altLang="en-US" dirty="0" smtClean="0"/>
              <a:t>政府單位的使用情境 </a:t>
            </a:r>
            <a:r>
              <a:rPr lang="en-US" altLang="zh-TW" dirty="0" smtClean="0"/>
              <a:t>: </a:t>
            </a:r>
            <a:r>
              <a:rPr lang="zh-TW" altLang="en-US" dirty="0" smtClean="0"/>
              <a:t>約聘人員</a:t>
            </a:r>
            <a:r>
              <a:rPr lang="en-US" altLang="zh-TW" dirty="0" smtClean="0"/>
              <a:t>,</a:t>
            </a:r>
            <a:r>
              <a:rPr lang="zh-TW" altLang="en-US" dirty="0" smtClean="0"/>
              <a:t>替代役等非固員工可透過</a:t>
            </a:r>
            <a:r>
              <a:rPr lang="en-US" altLang="zh-TW" dirty="0" smtClean="0"/>
              <a:t>Office365</a:t>
            </a:r>
            <a:r>
              <a:rPr lang="zh-TW" altLang="en-US" dirty="0" smtClean="0"/>
              <a:t>的授權模式</a:t>
            </a:r>
            <a:r>
              <a:rPr lang="en-US" altLang="zh-TW" dirty="0" smtClean="0"/>
              <a:t>,</a:t>
            </a:r>
            <a:r>
              <a:rPr lang="zh-TW" altLang="en-US" dirty="0" smtClean="0"/>
              <a:t>彈性採購及使用最新版本的</a:t>
            </a:r>
            <a:r>
              <a:rPr lang="en-US" altLang="zh-TW" dirty="0" smtClean="0"/>
              <a:t>Office.</a:t>
            </a:r>
          </a:p>
          <a:p>
            <a:r>
              <a:rPr lang="zh-TW" altLang="en-US" dirty="0" smtClean="0"/>
              <a:t>也方便</a:t>
            </a:r>
            <a:r>
              <a:rPr lang="en-US" altLang="zh-TW" dirty="0" smtClean="0"/>
              <a:t>IT</a:t>
            </a:r>
            <a:r>
              <a:rPr lang="zh-TW" altLang="en-US" dirty="0" smtClean="0"/>
              <a:t>人員作軟體資產管理</a:t>
            </a:r>
            <a:r>
              <a:rPr lang="en-US" altLang="zh-TW" dirty="0" smtClean="0"/>
              <a:t>,</a:t>
            </a:r>
            <a:r>
              <a:rPr lang="zh-TW" altLang="en-US" dirty="0" smtClean="0"/>
              <a:t>不需擔心授權超用的狀況</a:t>
            </a:r>
            <a:endParaRPr lang="zh-TW" altLang="en-US" dirty="0"/>
          </a:p>
        </p:txBody>
      </p:sp>
      <p:sp>
        <p:nvSpPr>
          <p:cNvPr id="4" name="Header Placeholder 3"/>
          <p:cNvSpPr>
            <a:spLocks noGrp="1"/>
          </p:cNvSpPr>
          <p:nvPr>
            <p:ph type="hdr" sz="quarter" idx="10"/>
          </p:nvPr>
        </p:nvSpPr>
        <p:spPr/>
        <p:txBody>
          <a:bodyPr/>
          <a:lstStyle/>
          <a:p>
            <a:pPr>
              <a:defRPr/>
            </a:pPr>
            <a:endParaRPr lang="en-US" altLang="zh-TW"/>
          </a:p>
        </p:txBody>
      </p:sp>
      <p:sp>
        <p:nvSpPr>
          <p:cNvPr id="5" name="Date Placeholder 4"/>
          <p:cNvSpPr>
            <a:spLocks noGrp="1"/>
          </p:cNvSpPr>
          <p:nvPr>
            <p:ph type="dt" idx="11"/>
          </p:nvPr>
        </p:nvSpPr>
        <p:spPr/>
        <p:txBody>
          <a:bodyPr/>
          <a:lstStyle/>
          <a:p>
            <a:pPr>
              <a:defRPr/>
            </a:pPr>
            <a:fld id="{EC85403E-D866-4C94-B484-5ED141D9E166}" type="datetime1">
              <a:rPr lang="zh-TW" altLang="en-US" smtClean="0"/>
              <a:t>2015/8/5</a:t>
            </a:fld>
            <a:endParaRPr lang="en-US" altLang="zh-TW"/>
          </a:p>
        </p:txBody>
      </p:sp>
      <p:sp>
        <p:nvSpPr>
          <p:cNvPr id="6" name="Footer Placeholder 5"/>
          <p:cNvSpPr>
            <a:spLocks noGrp="1"/>
          </p:cNvSpPr>
          <p:nvPr>
            <p:ph type="ftr" sz="quarter" idx="12"/>
          </p:nvPr>
        </p:nvSpPr>
        <p:spPr/>
        <p:txBody>
          <a:bodyPr/>
          <a:lstStyle/>
          <a:p>
            <a:pPr>
              <a:defRPr/>
            </a:pPr>
            <a:r>
              <a:rPr lang="en-US" altLang="zh-TW" smtClean="0"/>
              <a:t>© 2006 Microsoft Corporation. All rights reserved. This presentation is for informational purposes only. Microsoft makes no warranties, express or implied, in this summary.</a:t>
            </a:r>
            <a:endParaRPr lang="en-US" altLang="zh-TW" sz="1200"/>
          </a:p>
        </p:txBody>
      </p:sp>
      <p:sp>
        <p:nvSpPr>
          <p:cNvPr id="7" name="Slide Number Placeholder 6"/>
          <p:cNvSpPr>
            <a:spLocks noGrp="1"/>
          </p:cNvSpPr>
          <p:nvPr>
            <p:ph type="sldNum" sz="quarter" idx="13"/>
          </p:nvPr>
        </p:nvSpPr>
        <p:spPr/>
        <p:txBody>
          <a:bodyPr/>
          <a:lstStyle/>
          <a:p>
            <a:pPr>
              <a:defRPr/>
            </a:pPr>
            <a:fld id="{A9B5049F-741E-4493-BB84-83EA17494660}" type="slidenum">
              <a:rPr lang="zh-TW" altLang="en-US" smtClean="0"/>
              <a:pPr>
                <a:defRPr/>
              </a:pPr>
              <a:t>40</a:t>
            </a:fld>
            <a:endParaRPr lang="en-US" altLang="zh-TW"/>
          </a:p>
        </p:txBody>
      </p:sp>
    </p:spTree>
    <p:extLst>
      <p:ext uri="{BB962C8B-B14F-4D97-AF65-F5344CB8AC3E}">
        <p14:creationId xmlns:p14="http://schemas.microsoft.com/office/powerpoint/2010/main" val="38108761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14413" y="723900"/>
            <a:ext cx="4833937" cy="3627438"/>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694690EA-15D2-47B4-86E4-E32174DC994A}" type="datetime1">
              <a:rPr lang="zh-TW" altLang="en-US" smtClean="0">
                <a:solidFill>
                  <a:prstClr val="black"/>
                </a:solidFill>
              </a:rPr>
              <a:t>2015/8/5</a:t>
            </a:fld>
            <a:endParaRPr lang="en-US" dirty="0">
              <a:solidFill>
                <a:prstClr val="black"/>
              </a:solidFill>
            </a:endParaRPr>
          </a:p>
        </p:txBody>
      </p:sp>
      <p:sp>
        <p:nvSpPr>
          <p:cNvPr id="6" name="Footer Placeholder 5"/>
          <p:cNvSpPr>
            <a:spLocks noGrp="1"/>
          </p:cNvSpPr>
          <p:nvPr>
            <p:ph type="ftr" sz="quarter" idx="12"/>
          </p:nvPr>
        </p:nvSpPr>
        <p:spPr/>
        <p:txBody>
          <a:bodyPr/>
          <a:lstStyle/>
          <a:p>
            <a:endParaRPr lang="en-US" dirty="0">
              <a:solidFill>
                <a:prstClr val="black"/>
              </a:solidFill>
            </a:endParaRPr>
          </a:p>
        </p:txBody>
      </p:sp>
      <p:sp>
        <p:nvSpPr>
          <p:cNvPr id="7" name="Slide Number Placeholder 6"/>
          <p:cNvSpPr>
            <a:spLocks noGrp="1"/>
          </p:cNvSpPr>
          <p:nvPr>
            <p:ph type="sldNum" sz="quarter" idx="13"/>
          </p:nvPr>
        </p:nvSpPr>
        <p:spPr/>
        <p:txBody>
          <a:bodyPr/>
          <a:lstStyle/>
          <a:p>
            <a:fld id="{E4ED4314-266A-4E1A-A14B-80BE5EF4B635}"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40827307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Header Placeholder 3"/>
          <p:cNvSpPr>
            <a:spLocks noGrp="1"/>
          </p:cNvSpPr>
          <p:nvPr>
            <p:ph type="hdr" sz="quarter" idx="10"/>
          </p:nvPr>
        </p:nvSpPr>
        <p:spPr/>
        <p:txBody>
          <a:bodyPr/>
          <a:lstStyle/>
          <a:p>
            <a:pPr>
              <a:defRPr/>
            </a:pPr>
            <a:endParaRPr lang="en-US" altLang="zh-TW"/>
          </a:p>
        </p:txBody>
      </p:sp>
      <p:sp>
        <p:nvSpPr>
          <p:cNvPr id="5" name="Date Placeholder 4"/>
          <p:cNvSpPr>
            <a:spLocks noGrp="1"/>
          </p:cNvSpPr>
          <p:nvPr>
            <p:ph type="dt" idx="11"/>
          </p:nvPr>
        </p:nvSpPr>
        <p:spPr/>
        <p:txBody>
          <a:bodyPr/>
          <a:lstStyle/>
          <a:p>
            <a:pPr>
              <a:defRPr/>
            </a:pPr>
            <a:fld id="{71FA1BE6-630F-4BFA-A397-8EC4DDC9BBDB}" type="datetime1">
              <a:rPr lang="zh-TW" altLang="en-US" smtClean="0"/>
              <a:t>2015/8/5</a:t>
            </a:fld>
            <a:endParaRPr lang="en-US" altLang="zh-TW"/>
          </a:p>
        </p:txBody>
      </p:sp>
      <p:sp>
        <p:nvSpPr>
          <p:cNvPr id="6" name="Footer Placeholder 5"/>
          <p:cNvSpPr>
            <a:spLocks noGrp="1"/>
          </p:cNvSpPr>
          <p:nvPr>
            <p:ph type="ftr" sz="quarter" idx="12"/>
          </p:nvPr>
        </p:nvSpPr>
        <p:spPr/>
        <p:txBody>
          <a:bodyPr/>
          <a:lstStyle/>
          <a:p>
            <a:pPr>
              <a:defRPr/>
            </a:pPr>
            <a:r>
              <a:rPr lang="en-US" altLang="zh-TW" smtClean="0"/>
              <a:t>© 2006 Microsoft Corporation. All rights reserved. This presentation is for informational purposes only. Microsoft makes no warranties, express or implied, in this summary.</a:t>
            </a:r>
            <a:endParaRPr lang="en-US" altLang="zh-TW" sz="1200"/>
          </a:p>
        </p:txBody>
      </p:sp>
      <p:sp>
        <p:nvSpPr>
          <p:cNvPr id="7" name="Slide Number Placeholder 6"/>
          <p:cNvSpPr>
            <a:spLocks noGrp="1"/>
          </p:cNvSpPr>
          <p:nvPr>
            <p:ph type="sldNum" sz="quarter" idx="13"/>
          </p:nvPr>
        </p:nvSpPr>
        <p:spPr/>
        <p:txBody>
          <a:bodyPr/>
          <a:lstStyle/>
          <a:p>
            <a:pPr>
              <a:defRPr/>
            </a:pPr>
            <a:fld id="{A9B5049F-741E-4493-BB84-83EA17494660}" type="slidenum">
              <a:rPr lang="zh-TW" altLang="en-US" smtClean="0"/>
              <a:pPr>
                <a:defRPr/>
              </a:pPr>
              <a:t>42</a:t>
            </a:fld>
            <a:endParaRPr lang="en-US" altLang="zh-TW"/>
          </a:p>
        </p:txBody>
      </p:sp>
    </p:spTree>
    <p:extLst>
      <p:ext uri="{BB962C8B-B14F-4D97-AF65-F5344CB8AC3E}">
        <p14:creationId xmlns:p14="http://schemas.microsoft.com/office/powerpoint/2010/main" val="6457294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TW" dirty="0" smtClean="0"/>
              <a:t>Q : CAL</a:t>
            </a:r>
            <a:r>
              <a:rPr lang="zh-TW" altLang="en-US" dirty="0" smtClean="0"/>
              <a:t>有幾種買法</a:t>
            </a:r>
            <a:r>
              <a:rPr lang="en-US" altLang="zh-TW" dirty="0" smtClean="0"/>
              <a:t>?</a:t>
            </a:r>
            <a:endParaRPr lang="zh-TW" alt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4385565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TW" altLang="en-US" dirty="0" smtClean="0"/>
              <a:t>問問題</a:t>
            </a:r>
            <a:endParaRPr lang="zh-TW" alt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10094874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31016862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4CDB930-BE8F-4086-877D-A7B85115D0F6}" type="slidenum">
              <a:rPr lang="en-US" smtClean="0"/>
              <a:pPr/>
              <a:t>13</a:t>
            </a:fld>
            <a:endParaRPr lang="en-US" dirty="0"/>
          </a:p>
        </p:txBody>
      </p:sp>
    </p:spTree>
    <p:extLst>
      <p:ext uri="{BB962C8B-B14F-4D97-AF65-F5344CB8AC3E}">
        <p14:creationId xmlns:p14="http://schemas.microsoft.com/office/powerpoint/2010/main" val="169297515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4238" y="731838"/>
            <a:ext cx="4881562" cy="3662362"/>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1</a:t>
            </a:fld>
            <a:endParaRPr lang="en-US" dirty="0">
              <a:solidFill>
                <a:prstClr val="black"/>
              </a:solidFill>
            </a:endParaRPr>
          </a:p>
        </p:txBody>
      </p:sp>
    </p:spTree>
    <p:extLst>
      <p:ext uri="{BB962C8B-B14F-4D97-AF65-F5344CB8AC3E}">
        <p14:creationId xmlns:p14="http://schemas.microsoft.com/office/powerpoint/2010/main" val="8650097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smtClean="0">
                <a:gradFill>
                  <a:gsLst>
                    <a:gs pos="0">
                      <a:prstClr val="black">
                        <a:lumMod val="50000"/>
                      </a:prstClr>
                    </a:gs>
                    <a:gs pos="100000">
                      <a:prstClr val="black">
                        <a:lumMod val="50000"/>
                      </a:prstClr>
                    </a:gs>
                  </a:gsLst>
                  <a:lin ang="5400000" scaled="0"/>
                </a:gradFill>
              </a:rPr>
              <a:t>Windows Server Management Marketing</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13991"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3991"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F5045C56-AFED-4B02-9FB4-ACF41EC9BC0C}" type="datetime1">
              <a:rPr lang="zh-TW" altLang="en-US" smtClean="0">
                <a:solidFill>
                  <a:prstClr val="black"/>
                </a:solidFill>
              </a:rPr>
              <a:t>2015/8/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val="9117531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a:xfrm>
            <a:off x="680094" y="4716687"/>
            <a:ext cx="5437781" cy="4467138"/>
          </a:xfrm>
          <a:prstGeom prst="rect">
            <a:avLst/>
          </a:prstGeom>
        </p:spPr>
        <p:txBody>
          <a:bodyPr lIns="93140" tIns="46570" rIns="93140" bIns="46570">
            <a:normAutofit/>
          </a:bodyPr>
          <a:lstStyle/>
          <a:p>
            <a:r>
              <a:rPr lang="en-US" dirty="0"/>
              <a:t> </a:t>
            </a:r>
            <a:endParaRPr lang="en-US" dirty="0" smtClean="0"/>
          </a:p>
        </p:txBody>
      </p:sp>
      <p:sp>
        <p:nvSpPr>
          <p:cNvPr id="4" name="Slide Number Placeholder 3"/>
          <p:cNvSpPr>
            <a:spLocks noGrp="1"/>
          </p:cNvSpPr>
          <p:nvPr>
            <p:ph type="sldNum" sz="quarter" idx="10"/>
          </p:nvPr>
        </p:nvSpPr>
        <p:spPr/>
        <p:txBody>
          <a:bodyPr/>
          <a:lstStyle/>
          <a:p>
            <a:fld id="{8980CB99-47E3-46F4-AAEB-3919FBEFC014}" type="slidenum">
              <a:rPr lang="en-US" smtClean="0">
                <a:solidFill>
                  <a:prstClr val="black"/>
                </a:solidFill>
                <a:latin typeface="Segoe" pitchFamily="34" charset="0"/>
              </a:rPr>
              <a:pPr/>
              <a:t>54</a:t>
            </a:fld>
            <a:endParaRPr lang="en-US" dirty="0">
              <a:solidFill>
                <a:prstClr val="black"/>
              </a:solidFill>
              <a:latin typeface="Segoe" pitchFamily="34" charset="0"/>
            </a:endParaRPr>
          </a:p>
        </p:txBody>
      </p:sp>
    </p:spTree>
    <p:extLst>
      <p:ext uri="{BB962C8B-B14F-4D97-AF65-F5344CB8AC3E}">
        <p14:creationId xmlns:p14="http://schemas.microsoft.com/office/powerpoint/2010/main" val="219916316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各種 SQL Server 2012 版本的</a:t>
            </a:r>
            <a:r>
              <a:rPr lang="en-US" b="1" baseline="0" dirty="0" smtClean="0"/>
              <a:t>授權選擇</a:t>
            </a:r>
          </a:p>
          <a:p>
            <a:endParaRPr lang="en-US" baseline="0" dirty="0" smtClean="0"/>
          </a:p>
          <a:p>
            <a:r>
              <a:rPr lang="en-US" baseline="0" dirty="0" smtClean="0"/>
              <a:t>Microsoft 改進了 SQL Server 2012 的授權方式，期能更為貼近客戶購買與使用資料庫及商業智慧軟體的習慣。</a:t>
            </a:r>
            <a:r>
              <a:rPr lang="en-US" dirty="0" smtClean="0"/>
              <a:t>本表概略列出各版 SQL Server 2012 的授權方式：</a:t>
            </a:r>
          </a:p>
          <a:p>
            <a:endParaRPr lang="en-US" dirty="0" smtClean="0"/>
          </a:p>
          <a:p>
            <a:r>
              <a:rPr lang="en-US" b="1" dirty="0" smtClean="0"/>
              <a:t>企業版</a:t>
            </a:r>
            <a:r>
              <a:rPr lang="en-US" baseline="0" dirty="0" smtClean="0"/>
              <a:t>僅以處理能力為授權依據，其標準為核心功能數，而不是處理器數量。</a:t>
            </a:r>
            <a:r>
              <a:rPr lang="en-US" dirty="0" smtClean="0"/>
              <a:t>此授權模型的定價取決於處理能力，讓客戶能依據其所需要的處理能力付費。</a:t>
            </a:r>
          </a:p>
          <a:p>
            <a:endParaRPr lang="en-US" baseline="0" dirty="0" smtClean="0"/>
          </a:p>
          <a:p>
            <a:pPr marL="0" lvl="1" defTabSz="895829">
              <a:lnSpc>
                <a:spcPct val="90000"/>
              </a:lnSpc>
              <a:spcAft>
                <a:spcPts val="326"/>
              </a:spcAft>
              <a:defRPr/>
            </a:pPr>
            <a:r>
              <a:rPr lang="en-US" b="1" baseline="0" dirty="0" smtClean="0"/>
              <a:t>商業智慧版</a:t>
            </a:r>
            <a:r>
              <a:rPr lang="en-US" baseline="0" dirty="0" smtClean="0"/>
              <a:t>僅以伺服器+CAL 為授權依據。</a:t>
            </a:r>
            <a:r>
              <a:rPr lang="en-US" dirty="0">
                <a:ln>
                  <a:solidFill>
                    <a:srgbClr val="FFFFFF">
                      <a:alpha val="0"/>
                    </a:srgbClr>
                  </a:solidFill>
                </a:ln>
                <a:solidFill>
                  <a:srgbClr val="FFFFFF"/>
                </a:solidFill>
              </a:rPr>
              <a:t>此版能以使用者數量或裝置數量為授權依據，提供 SQL Server 2012 的完整 BI 功能，是大多數客戶最常選擇的 BI 解決方案的購買方式。</a:t>
            </a:r>
          </a:p>
          <a:p>
            <a:pPr marL="171435" indent="-171435">
              <a:buFont typeface="Arial"/>
              <a:buChar char="•"/>
            </a:pPr>
            <a:endParaRPr lang="en-US" baseline="0" dirty="0" smtClean="0"/>
          </a:p>
          <a:p>
            <a:r>
              <a:rPr lang="en-US" b="1" baseline="0" dirty="0" smtClean="0"/>
              <a:t>標準版</a:t>
            </a:r>
            <a:r>
              <a:rPr lang="en-US" baseline="0" dirty="0" smtClean="0"/>
              <a:t>以伺服器+CAL 及核心功能數為授權依據。</a:t>
            </a:r>
            <a:r>
              <a:rPr lang="en-US" dirty="0">
                <a:ln>
                  <a:solidFill>
                    <a:srgbClr val="FFFFFF">
                      <a:alpha val="0"/>
                    </a:srgbClr>
                  </a:solidFill>
                </a:ln>
                <a:solidFill>
                  <a:srgbClr val="FFFFFF"/>
                </a:solidFill>
              </a:rPr>
              <a:t>此版本為範圍廣大的各種客戶提供彈性的授權選擇。</a:t>
            </a:r>
            <a:endParaRPr lang="en-US" b="1" i="0" dirty="0" smtClean="0"/>
          </a:p>
          <a:p>
            <a:endParaRPr lang="en-US" dirty="0"/>
          </a:p>
        </p:txBody>
      </p:sp>
      <p:sp>
        <p:nvSpPr>
          <p:cNvPr id="4" name="Slide Number Placeholder 3"/>
          <p:cNvSpPr>
            <a:spLocks noGrp="1"/>
          </p:cNvSpPr>
          <p:nvPr>
            <p:ph type="sldNum" sz="quarter" idx="10"/>
          </p:nvPr>
        </p:nvSpPr>
        <p:spPr/>
        <p:txBody>
          <a:bodyPr/>
          <a:lstStyle/>
          <a:p>
            <a:fld id="{B78B9D2A-298C-4EDA-9341-747E428CC2F5}" type="slidenum">
              <a:rPr lang="en-US" smtClean="0"/>
              <a:pPr/>
              <a:t>55</a:t>
            </a:fld>
            <a:endParaRPr lang="en-US" dirty="0"/>
          </a:p>
        </p:txBody>
      </p:sp>
    </p:spTree>
    <p:extLst>
      <p:ext uri="{BB962C8B-B14F-4D97-AF65-F5344CB8AC3E}">
        <p14:creationId xmlns:p14="http://schemas.microsoft.com/office/powerpoint/2010/main" val="31205799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kern="1200" dirty="0" smtClean="0">
                <a:solidFill>
                  <a:schemeClr val="tx1"/>
                </a:solidFill>
                <a:effectLst/>
                <a:latin typeface="Segoe UI" pitchFamily="34" charset="0"/>
                <a:ea typeface="+mn-ea"/>
                <a:cs typeface="+mn-cs"/>
              </a:rPr>
              <a:t>When licensing SQL 2012 the rights to run a</a:t>
            </a:r>
            <a:r>
              <a:rPr lang="en-US" sz="1000" kern="1200" baseline="0" dirty="0" smtClean="0">
                <a:solidFill>
                  <a:schemeClr val="tx1"/>
                </a:solidFill>
                <a:effectLst/>
                <a:latin typeface="Segoe UI" pitchFamily="34" charset="0"/>
                <a:ea typeface="+mn-ea"/>
                <a:cs typeface="+mn-cs"/>
              </a:rPr>
              <a:t> second passive fail-over server were granted through the license assigned to the active server.  The passive server is considered ‘warm’ in that there is no work offloaded from the primary server.  During a ‘fail-over event’ the passive server now becomes ‘active’ and the license is re-assigned.  Without Software Assurance the license must remained assigned for a period of 90d.  </a:t>
            </a:r>
          </a:p>
          <a:p>
            <a:endParaRPr lang="en-US" sz="1000" kern="1200" baseline="0" dirty="0" smtClean="0">
              <a:solidFill>
                <a:schemeClr val="tx1"/>
              </a:solidFill>
              <a:effectLst/>
              <a:latin typeface="Segoe UI" pitchFamily="34" charset="0"/>
              <a:ea typeface="+mn-ea"/>
              <a:cs typeface="+mn-cs"/>
            </a:endParaRPr>
          </a:p>
          <a:p>
            <a:r>
              <a:rPr lang="en-US" sz="1000" kern="1200" baseline="0" dirty="0" smtClean="0">
                <a:solidFill>
                  <a:schemeClr val="tx1"/>
                </a:solidFill>
                <a:effectLst/>
                <a:latin typeface="Segoe UI" pitchFamily="34" charset="0"/>
                <a:ea typeface="+mn-ea"/>
                <a:cs typeface="+mn-cs"/>
              </a:rPr>
              <a:t>With SQL 2014 the ‘Fail-over server’ is granted through a SA Benefit.  Combined with License Mobility within a Server Farm (which is also a SA Benefit) we are enabling customers to have full flexibility to manage their high availability environment…for both planned and unplanned downtime.  This addresses a big gap customers had with the 90d rule…where they had to remain on the secondary server for 90d before they could fail back to the primary active server (in the event of a fail-over).  </a:t>
            </a:r>
          </a:p>
          <a:p>
            <a:endParaRPr lang="en-US" sz="1000" kern="1200" baseline="0" dirty="0" smtClean="0">
              <a:solidFill>
                <a:schemeClr val="tx1"/>
              </a:solidFill>
              <a:effectLst/>
              <a:latin typeface="Segoe UI" pitchFamily="34" charset="0"/>
              <a:ea typeface="+mn-ea"/>
              <a:cs typeface="+mn-cs"/>
            </a:endParaRPr>
          </a:p>
          <a:p>
            <a:pPr marL="457200" lvl="0" indent="-457200" defTabSz="1088105">
              <a:lnSpc>
                <a:spcPct val="100000"/>
              </a:lnSpc>
              <a:spcBef>
                <a:spcPct val="20000"/>
              </a:spcBef>
              <a:buClr>
                <a:srgbClr val="0072C6"/>
              </a:buClr>
              <a:buSzPct val="100000"/>
              <a:buFont typeface="+mj-lt"/>
              <a:buAutoNum type="arabicPeriod"/>
              <a:defRPr/>
            </a:pPr>
            <a:r>
              <a:rPr lang="zh-TW" altLang="en-US" dirty="0" smtClean="0">
                <a:latin typeface="Segoe UI Light"/>
              </a:rPr>
              <a:t>二台組成</a:t>
            </a:r>
            <a:r>
              <a:rPr lang="en-US" altLang="zh-TW" dirty="0" smtClean="0">
                <a:latin typeface="Segoe UI Light"/>
              </a:rPr>
              <a:t>HA</a:t>
            </a:r>
            <a:r>
              <a:rPr lang="zh-TW" altLang="en-US" dirty="0" smtClean="0">
                <a:latin typeface="Segoe UI Light"/>
              </a:rPr>
              <a:t>架構</a:t>
            </a:r>
            <a:r>
              <a:rPr lang="en-US" altLang="zh-TW" dirty="0" smtClean="0">
                <a:latin typeface="Segoe UI Light"/>
              </a:rPr>
              <a:t>, HA </a:t>
            </a:r>
            <a:r>
              <a:rPr lang="zh-TW" altLang="en-US" dirty="0" smtClean="0">
                <a:latin typeface="Segoe UI Light"/>
              </a:rPr>
              <a:t>指 </a:t>
            </a:r>
            <a:r>
              <a:rPr lang="en-US" altLang="zh-TW" dirty="0" smtClean="0">
                <a:latin typeface="Segoe UI Light"/>
              </a:rPr>
              <a:t>Cluster/Mirror / Always ON</a:t>
            </a:r>
            <a:endParaRPr lang="en-US" altLang="zh-TW" sz="2400" dirty="0" smtClean="0">
              <a:solidFill>
                <a:srgbClr val="0072C6"/>
              </a:solidFill>
              <a:latin typeface="Segoe UI Light"/>
              <a:cs typeface="Segoe UI" pitchFamily="34" charset="0"/>
            </a:endParaRPr>
          </a:p>
          <a:p>
            <a:pPr marL="742842" lvl="1" indent="-457200" defTabSz="1088105">
              <a:lnSpc>
                <a:spcPct val="100000"/>
              </a:lnSpc>
              <a:spcBef>
                <a:spcPct val="20000"/>
              </a:spcBef>
              <a:buSzTx/>
              <a:buFont typeface="Arial" pitchFamily="34" charset="0"/>
              <a:buChar char="–"/>
              <a:defRPr/>
            </a:pPr>
            <a:r>
              <a:rPr lang="en-US" altLang="zh-TW" sz="1800" dirty="0" smtClean="0">
                <a:solidFill>
                  <a:srgbClr val="505050"/>
                </a:solidFill>
                <a:latin typeface="Segoe UI Light"/>
                <a:cs typeface="Segoe UI" pitchFamily="34" charset="0"/>
              </a:rPr>
              <a:t>AA</a:t>
            </a:r>
            <a:r>
              <a:rPr lang="zh-TW" altLang="en-US" sz="1800" dirty="0" smtClean="0">
                <a:solidFill>
                  <a:srgbClr val="505050"/>
                </a:solidFill>
                <a:latin typeface="Segoe UI Light"/>
                <a:cs typeface="Segoe UI" pitchFamily="34" charset="0"/>
              </a:rPr>
              <a:t>模式需要二台授權</a:t>
            </a:r>
            <a:endParaRPr lang="en-US" altLang="zh-TW" sz="1800" dirty="0" smtClean="0">
              <a:solidFill>
                <a:srgbClr val="505050"/>
              </a:solidFill>
              <a:latin typeface="Segoe UI Light"/>
              <a:cs typeface="Segoe UI" pitchFamily="34" charset="0"/>
            </a:endParaRPr>
          </a:p>
          <a:p>
            <a:pPr marL="742842" lvl="1" indent="-457200">
              <a:defRPr/>
            </a:pPr>
            <a:r>
              <a:rPr lang="en-US" altLang="zh-TW" sz="1800" dirty="0" smtClean="0">
                <a:latin typeface="Segoe UI Light"/>
              </a:rPr>
              <a:t>AP</a:t>
            </a:r>
            <a:r>
              <a:rPr lang="zh-TW" altLang="en-US" sz="1800" dirty="0" smtClean="0">
                <a:latin typeface="Segoe UI Light"/>
              </a:rPr>
              <a:t>模式</a:t>
            </a:r>
            <a:r>
              <a:rPr lang="en-US" altLang="zh-TW" sz="1800" dirty="0" smtClean="0">
                <a:latin typeface="Segoe UI Light"/>
              </a:rPr>
              <a:t>, </a:t>
            </a:r>
            <a:r>
              <a:rPr lang="zh-TW" altLang="en-US" sz="1800" dirty="0" smtClean="0">
                <a:latin typeface="Segoe UI Light"/>
              </a:rPr>
              <a:t>優惠</a:t>
            </a:r>
            <a:r>
              <a:rPr lang="en-US" altLang="zh-TW" sz="1800" dirty="0" smtClean="0">
                <a:latin typeface="Segoe UI Light"/>
              </a:rPr>
              <a:t>P</a:t>
            </a:r>
            <a:r>
              <a:rPr lang="zh-TW" altLang="en-US" sz="1800" dirty="0" smtClean="0">
                <a:latin typeface="Segoe UI Light"/>
              </a:rPr>
              <a:t>台可以使用</a:t>
            </a:r>
            <a:r>
              <a:rPr lang="en-US" altLang="zh-TW" sz="1800" dirty="0" smtClean="0">
                <a:latin typeface="Segoe UI Light"/>
              </a:rPr>
              <a:t>SA</a:t>
            </a:r>
            <a:r>
              <a:rPr lang="zh-TW" altLang="en-US" sz="1800" dirty="0" smtClean="0">
                <a:latin typeface="Segoe UI Light"/>
              </a:rPr>
              <a:t>的方式取得授權</a:t>
            </a:r>
            <a:endParaRPr lang="en-US" altLang="zh-TW" sz="1800" dirty="0" smtClean="0"/>
          </a:p>
          <a:p>
            <a:pPr marL="571284" lvl="2" indent="0">
              <a:buNone/>
              <a:defRPr/>
            </a:pPr>
            <a:r>
              <a:rPr lang="en-US" altLang="zh-TW" dirty="0" smtClean="0">
                <a:latin typeface="Segoe UI Light"/>
              </a:rPr>
              <a:t>Rule1: </a:t>
            </a:r>
            <a:r>
              <a:rPr lang="zh-TW" altLang="en-US" dirty="0" smtClean="0">
                <a:latin typeface="Segoe UI Light"/>
              </a:rPr>
              <a:t>利用</a:t>
            </a:r>
            <a:r>
              <a:rPr lang="en-US" altLang="zh-TW" dirty="0" smtClean="0">
                <a:latin typeface="Segoe UI Light"/>
              </a:rPr>
              <a:t>SA,</a:t>
            </a:r>
            <a:r>
              <a:rPr lang="zh-TW" altLang="en-US" dirty="0" smtClean="0">
                <a:latin typeface="Segoe UI Light"/>
              </a:rPr>
              <a:t>則有</a:t>
            </a:r>
            <a:r>
              <a:rPr lang="en-US" altLang="zh-TW" dirty="0" smtClean="0">
                <a:latin typeface="Segoe UI Light"/>
              </a:rPr>
              <a:t>SA</a:t>
            </a:r>
            <a:r>
              <a:rPr lang="zh-TW" altLang="en-US" dirty="0" smtClean="0">
                <a:latin typeface="Segoe UI Light"/>
              </a:rPr>
              <a:t>的</a:t>
            </a:r>
            <a:r>
              <a:rPr lang="en-US" altLang="zh-TW" dirty="0" smtClean="0">
                <a:latin typeface="Segoe UI Light"/>
              </a:rPr>
              <a:t>Benefit,</a:t>
            </a:r>
            <a:r>
              <a:rPr lang="zh-TW" altLang="en-US" dirty="0" smtClean="0">
                <a:latin typeface="Segoe UI Light"/>
              </a:rPr>
              <a:t>例如可以升級</a:t>
            </a:r>
            <a:endParaRPr lang="en-US" altLang="zh-TW" dirty="0" smtClean="0">
              <a:latin typeface="Segoe UI Light"/>
            </a:endParaRPr>
          </a:p>
          <a:p>
            <a:pPr marL="571284" lvl="2" indent="0">
              <a:buNone/>
              <a:defRPr/>
            </a:pPr>
            <a:r>
              <a:rPr lang="en-US" altLang="zh-TW" dirty="0" smtClean="0">
                <a:latin typeface="Segoe UI Light"/>
              </a:rPr>
              <a:t>Rule2:</a:t>
            </a:r>
            <a:r>
              <a:rPr lang="zh-TW" altLang="en-US" dirty="0" smtClean="0">
                <a:latin typeface="Segoe UI Light"/>
              </a:rPr>
              <a:t>可以直接買二個授權</a:t>
            </a:r>
            <a:r>
              <a:rPr lang="en-US" altLang="zh-TW" dirty="0" smtClean="0">
                <a:latin typeface="Segoe UI Light"/>
              </a:rPr>
              <a:t>, </a:t>
            </a:r>
            <a:r>
              <a:rPr lang="zh-TW" altLang="en-US" dirty="0" smtClean="0">
                <a:latin typeface="Segoe UI Light"/>
              </a:rPr>
              <a:t>不用</a:t>
            </a:r>
            <a:r>
              <a:rPr lang="en-US" altLang="zh-TW" dirty="0" smtClean="0">
                <a:latin typeface="Segoe UI Light"/>
              </a:rPr>
              <a:t>SA, </a:t>
            </a:r>
            <a:r>
              <a:rPr lang="zh-TW" altLang="en-US" dirty="0" smtClean="0">
                <a:latin typeface="Segoe UI Light"/>
              </a:rPr>
              <a:t>但是不能升級</a:t>
            </a:r>
            <a:endParaRPr lang="en-US" altLang="zh-TW" sz="1600" dirty="0" smtClean="0">
              <a:solidFill>
                <a:srgbClr val="505050"/>
              </a:solidFill>
              <a:latin typeface="Segoe UI Light"/>
              <a:cs typeface="Segoe UI" pitchFamily="34" charset="0"/>
            </a:endParaRPr>
          </a:p>
          <a:p>
            <a:pPr marL="457200" indent="-457200">
              <a:buFont typeface="+mj-lt"/>
              <a:buAutoNum type="arabicPeriod"/>
            </a:pPr>
            <a:r>
              <a:rPr lang="zh-TW" altLang="en-US" dirty="0" smtClean="0"/>
              <a:t>二台以上組成</a:t>
            </a:r>
            <a:r>
              <a:rPr lang="en-US" altLang="zh-TW" dirty="0" smtClean="0"/>
              <a:t>HA</a:t>
            </a:r>
            <a:r>
              <a:rPr lang="zh-TW" altLang="en-US" dirty="0" smtClean="0"/>
              <a:t>架構</a:t>
            </a:r>
            <a:r>
              <a:rPr lang="en-US" altLang="zh-TW" dirty="0" smtClean="0"/>
              <a:t>, </a:t>
            </a:r>
            <a:r>
              <a:rPr lang="zh-TW" altLang="en-US" dirty="0" smtClean="0"/>
              <a:t>第三台開始都需要取得完整授權</a:t>
            </a:r>
            <a:endParaRPr lang="en-US" altLang="zh-TW" dirty="0" smtClean="0"/>
          </a:p>
          <a:p>
            <a:endParaRPr lang="en-US" sz="1000" kern="1200" baseline="0" dirty="0" smtClean="0">
              <a:solidFill>
                <a:schemeClr val="tx1"/>
              </a:solidFill>
              <a:effectLst/>
              <a:latin typeface="Segoe UI" pitchFamily="34" charset="0"/>
              <a:ea typeface="+mn-ea"/>
              <a:cs typeface="+mn-cs"/>
            </a:endParaRPr>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1B0640E-E810-44B5-BFF7-8BBC1E0F0CF5}" type="datetime1">
              <a:rPr lang="zh-TW" altLang="en-US" smtClean="0">
                <a:solidFill>
                  <a:prstClr val="black"/>
                </a:solidFill>
              </a:rPr>
              <a:t>2015/8/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6</a:t>
            </a:fld>
            <a:endParaRPr lang="en-US" dirty="0">
              <a:solidFill>
                <a:prstClr val="black"/>
              </a:solidFill>
            </a:endParaRPr>
          </a:p>
        </p:txBody>
      </p:sp>
    </p:spTree>
    <p:extLst>
      <p:ext uri="{BB962C8B-B14F-4D97-AF65-F5344CB8AC3E}">
        <p14:creationId xmlns:p14="http://schemas.microsoft.com/office/powerpoint/2010/main" val="15631686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404" rtl="0" eaLnBrk="1" fontAlgn="auto" latinLnBrk="0" hangingPunct="1">
              <a:lnSpc>
                <a:spcPct val="90000"/>
              </a:lnSpc>
              <a:spcBef>
                <a:spcPts val="0"/>
              </a:spcBef>
              <a:spcAft>
                <a:spcPts val="340"/>
              </a:spcAft>
              <a:buClrTx/>
              <a:buSzTx/>
              <a:buFontTx/>
              <a:buNone/>
              <a:tabLst/>
              <a:defRPr/>
            </a:pPr>
            <a:r>
              <a:rPr lang="en-US" sz="1000" kern="1200" dirty="0" smtClean="0">
                <a:solidFill>
                  <a:schemeClr val="tx1"/>
                </a:solidFill>
                <a:effectLst/>
                <a:latin typeface="Segoe UI" pitchFamily="34" charset="0"/>
                <a:ea typeface="+mn-ea"/>
                <a:cs typeface="+mn-cs"/>
              </a:rPr>
              <a:t>SQL</a:t>
            </a:r>
            <a:r>
              <a:rPr lang="en-US" sz="1000" kern="1200" baseline="0" dirty="0" smtClean="0">
                <a:solidFill>
                  <a:schemeClr val="tx1"/>
                </a:solidFill>
                <a:effectLst/>
                <a:latin typeface="Segoe UI" pitchFamily="34" charset="0"/>
                <a:ea typeface="+mn-ea"/>
                <a:cs typeface="+mn-cs"/>
              </a:rPr>
              <a:t> BI provides customers with a user or device based model for premium BI.  Given that all server access requires CALs, there are many inadvertent license compliance scenarios that come up when feeding data into BI server.  We have addressed this complex issue with SQL Server 2014 by enabling batch processing of data into SQL BI server without requiring CALs for those data sources supplying the data.  We are defining ‘Batch Processing’ as </a:t>
            </a:r>
            <a:r>
              <a:rPr lang="en-US" sz="1000" kern="1200" dirty="0" smtClean="0">
                <a:solidFill>
                  <a:schemeClr val="tx1"/>
                </a:solidFill>
                <a:effectLst/>
                <a:latin typeface="Segoe UI Light" pitchFamily="34" charset="0"/>
                <a:ea typeface="+mn-ea"/>
                <a:cs typeface="+mn-cs"/>
              </a:rPr>
              <a:t>an activity that allows a group of tasks occurring at different times to be processed all at the same time.  </a:t>
            </a:r>
          </a:p>
          <a:p>
            <a:pPr marL="0" marR="0" indent="0" algn="l" defTabSz="932404" rtl="0" eaLnBrk="1" fontAlgn="auto" latinLnBrk="0" hangingPunct="1">
              <a:lnSpc>
                <a:spcPct val="90000"/>
              </a:lnSpc>
              <a:spcBef>
                <a:spcPts val="0"/>
              </a:spcBef>
              <a:spcAft>
                <a:spcPts val="340"/>
              </a:spcAft>
              <a:buClrTx/>
              <a:buSzTx/>
              <a:buFontTx/>
              <a:buNone/>
              <a:tabLst/>
              <a:defRPr/>
            </a:pPr>
            <a:endParaRPr lang="en-US" sz="1000" kern="1200" dirty="0" smtClean="0">
              <a:solidFill>
                <a:schemeClr val="tx1"/>
              </a:solidFill>
              <a:effectLst/>
              <a:latin typeface="Segoe UI Light" pitchFamily="34" charset="0"/>
              <a:ea typeface="+mn-ea"/>
              <a:cs typeface="+mn-cs"/>
            </a:endParaRPr>
          </a:p>
          <a:p>
            <a:pPr marL="0" marR="0" indent="0" algn="l" defTabSz="932404" rtl="0" eaLnBrk="1" fontAlgn="auto" latinLnBrk="0" hangingPunct="1">
              <a:lnSpc>
                <a:spcPct val="90000"/>
              </a:lnSpc>
              <a:spcBef>
                <a:spcPts val="0"/>
              </a:spcBef>
              <a:spcAft>
                <a:spcPts val="340"/>
              </a:spcAft>
              <a:buClrTx/>
              <a:buSzTx/>
              <a:buFontTx/>
              <a:buNone/>
              <a:tabLst/>
              <a:defRPr/>
            </a:pPr>
            <a:r>
              <a:rPr lang="en-US" sz="1000" kern="1200" dirty="0" smtClean="0">
                <a:solidFill>
                  <a:schemeClr val="tx1"/>
                </a:solidFill>
                <a:effectLst/>
                <a:latin typeface="Segoe UI Light" pitchFamily="34" charset="0"/>
                <a:ea typeface="+mn-ea"/>
                <a:cs typeface="+mn-cs"/>
              </a:rPr>
              <a:t>It is important</a:t>
            </a:r>
            <a:r>
              <a:rPr lang="en-US" sz="1000" kern="1200" baseline="0" dirty="0" smtClean="0">
                <a:solidFill>
                  <a:schemeClr val="tx1"/>
                </a:solidFill>
                <a:effectLst/>
                <a:latin typeface="Segoe UI Light" pitchFamily="34" charset="0"/>
                <a:ea typeface="+mn-ea"/>
                <a:cs typeface="+mn-cs"/>
              </a:rPr>
              <a:t> to note that this only applies to SQL BI Server.  All access to SQL STD 2014 in the Server/CAL licensing model remain as is…with all server access requiring a CAL.</a:t>
            </a:r>
            <a:endParaRPr lang="en-US" sz="1000" kern="1200" dirty="0" smtClean="0">
              <a:solidFill>
                <a:schemeClr val="tx1"/>
              </a:solidFill>
              <a:effectLst/>
              <a:latin typeface="Segoe UI Light" pitchFamily="34" charset="0"/>
              <a:ea typeface="+mn-ea"/>
              <a:cs typeface="+mn-cs"/>
            </a:endParaRPr>
          </a:p>
          <a:p>
            <a:endParaRPr lang="en-US" sz="1000" kern="1200" dirty="0" smtClean="0">
              <a:solidFill>
                <a:schemeClr val="tx1"/>
              </a:solidFill>
              <a:effectLst/>
              <a:latin typeface="Segoe UI" pitchFamily="34" charset="0"/>
              <a:ea typeface="+mn-ea"/>
              <a:cs typeface="+mn-cs"/>
            </a:endParaRPr>
          </a:p>
          <a:p>
            <a:endParaRPr lang="en-US" sz="1000" kern="1200" dirty="0" smtClean="0">
              <a:solidFill>
                <a:schemeClr val="tx1"/>
              </a:solidFill>
              <a:effectLst/>
              <a:latin typeface="Segoe UI" pitchFamily="34" charset="0"/>
              <a:ea typeface="+mn-ea"/>
              <a:cs typeface="+mn-cs"/>
            </a:endParaRPr>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BF75FFE-5022-4071-9744-CFDE6D01FE59}" type="datetime1">
              <a:rPr lang="zh-TW" altLang="en-US" smtClean="0">
                <a:solidFill>
                  <a:prstClr val="black"/>
                </a:solidFill>
              </a:rPr>
              <a:t>2015/8/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7</a:t>
            </a:fld>
            <a:endParaRPr lang="en-US" dirty="0">
              <a:solidFill>
                <a:prstClr val="black"/>
              </a:solidFill>
            </a:endParaRPr>
          </a:p>
        </p:txBody>
      </p:sp>
    </p:spTree>
    <p:extLst>
      <p:ext uri="{BB962C8B-B14F-4D97-AF65-F5344CB8AC3E}">
        <p14:creationId xmlns:p14="http://schemas.microsoft.com/office/powerpoint/2010/main" val="23072198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0</a:t>
            </a:fld>
            <a:endParaRPr lang="en-US" dirty="0"/>
          </a:p>
        </p:txBody>
      </p:sp>
    </p:spTree>
    <p:extLst>
      <p:ext uri="{BB962C8B-B14F-4D97-AF65-F5344CB8AC3E}">
        <p14:creationId xmlns:p14="http://schemas.microsoft.com/office/powerpoint/2010/main" val="336120443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0" name="Rectangle 7"/>
          <p:cNvSpPr>
            <a:spLocks noGrp="1" noChangeArrowheads="1"/>
          </p:cNvSpPr>
          <p:nvPr>
            <p:ph type="sldNum" sz="quarter" idx="5"/>
          </p:nvPr>
        </p:nvSpPr>
        <p:spPr/>
        <p:txBody>
          <a:bodyPr/>
          <a:lstStyle/>
          <a:p>
            <a:pPr defTabSz="933472">
              <a:defRPr/>
            </a:pPr>
            <a:fld id="{4971D978-2255-41E8-A18B-AD835FAF841B}" type="slidenum">
              <a:rPr lang="en-US" altLang="zh-TW" smtClean="0"/>
              <a:pPr defTabSz="933472">
                <a:defRPr/>
              </a:pPr>
              <a:t>66</a:t>
            </a:fld>
            <a:endParaRPr lang="en-US" altLang="zh-TW" smtClean="0"/>
          </a:p>
        </p:txBody>
      </p:sp>
      <p:sp>
        <p:nvSpPr>
          <p:cNvPr id="104451" name="Rectangle 2"/>
          <p:cNvSpPr>
            <a:spLocks noGrp="1" noRot="1" noChangeAspect="1" noChangeArrowheads="1" noTextEdit="1"/>
          </p:cNvSpPr>
          <p:nvPr>
            <p:ph type="sldImg"/>
          </p:nvPr>
        </p:nvSpPr>
        <p:spPr>
          <a:xfrm>
            <a:off x="1512888" y="744538"/>
            <a:ext cx="3878262" cy="2909887"/>
          </a:xfrm>
          <a:ln/>
        </p:spPr>
      </p:sp>
      <p:sp>
        <p:nvSpPr>
          <p:cNvPr id="104452" name="Rectangle 3"/>
          <p:cNvSpPr>
            <a:spLocks noGrp="1" noChangeArrowheads="1"/>
          </p:cNvSpPr>
          <p:nvPr>
            <p:ph type="body" idx="1"/>
          </p:nvPr>
        </p:nvSpPr>
        <p:spPr>
          <a:xfrm>
            <a:off x="908042" y="3901935"/>
            <a:ext cx="5263219" cy="5292552"/>
          </a:xfrm>
          <a:noFill/>
          <a:ln/>
        </p:spPr>
        <p:txBody>
          <a:bodyPr/>
          <a:lstStyle/>
          <a:p>
            <a:pPr eaLnBrk="1" hangingPunct="1">
              <a:spcBef>
                <a:spcPct val="0"/>
              </a:spcBef>
            </a:pPr>
            <a:endParaRPr lang="zh-TW" altLang="zh-TW" sz="1800"/>
          </a:p>
        </p:txBody>
      </p:sp>
    </p:spTree>
    <p:extLst>
      <p:ext uri="{BB962C8B-B14F-4D97-AF65-F5344CB8AC3E}">
        <p14:creationId xmlns:p14="http://schemas.microsoft.com/office/powerpoint/2010/main" val="35383788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6E97924-5D98-4235-940E-4160F74E81C4}" type="slidenum">
              <a:rPr lang="en-GB" smtClean="0"/>
              <a:t>16</a:t>
            </a:fld>
            <a:endParaRPr lang="en-GB"/>
          </a:p>
        </p:txBody>
      </p:sp>
    </p:spTree>
    <p:extLst>
      <p:ext uri="{BB962C8B-B14F-4D97-AF65-F5344CB8AC3E}">
        <p14:creationId xmlns:p14="http://schemas.microsoft.com/office/powerpoint/2010/main" val="31065620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Header Placeholder 3"/>
          <p:cNvSpPr>
            <a:spLocks noGrp="1"/>
          </p:cNvSpPr>
          <p:nvPr>
            <p:ph type="hdr" sz="quarter" idx="10"/>
          </p:nvPr>
        </p:nvSpPr>
        <p:spPr/>
        <p:txBody>
          <a:bodyPr/>
          <a:lstStyle/>
          <a:p>
            <a:pPr>
              <a:defRPr/>
            </a:pPr>
            <a:endParaRPr lang="en-US" altLang="zh-TW"/>
          </a:p>
        </p:txBody>
      </p:sp>
      <p:sp>
        <p:nvSpPr>
          <p:cNvPr id="5" name="Date Placeholder 4"/>
          <p:cNvSpPr>
            <a:spLocks noGrp="1"/>
          </p:cNvSpPr>
          <p:nvPr>
            <p:ph type="dt" idx="11"/>
          </p:nvPr>
        </p:nvSpPr>
        <p:spPr/>
        <p:txBody>
          <a:bodyPr/>
          <a:lstStyle/>
          <a:p>
            <a:pPr>
              <a:defRPr/>
            </a:pPr>
            <a:fld id="{818F0F7E-2FED-4806-8F68-FD7353016376}" type="datetime1">
              <a:rPr lang="zh-TW" altLang="en-US" smtClean="0"/>
              <a:t>2015/8/5</a:t>
            </a:fld>
            <a:endParaRPr lang="en-US" altLang="zh-TW"/>
          </a:p>
        </p:txBody>
      </p:sp>
      <p:sp>
        <p:nvSpPr>
          <p:cNvPr id="6" name="Footer Placeholder 5"/>
          <p:cNvSpPr>
            <a:spLocks noGrp="1"/>
          </p:cNvSpPr>
          <p:nvPr>
            <p:ph type="ftr" sz="quarter" idx="12"/>
          </p:nvPr>
        </p:nvSpPr>
        <p:spPr/>
        <p:txBody>
          <a:bodyPr/>
          <a:lstStyle/>
          <a:p>
            <a:pPr>
              <a:defRPr/>
            </a:pPr>
            <a:r>
              <a:rPr lang="en-US" altLang="zh-TW" smtClean="0"/>
              <a:t>© 2006 Microsoft Corporation. All rights reserved. This presentation is for informational purposes only. Microsoft makes no warranties, express or implied, in this summary.</a:t>
            </a:r>
            <a:endParaRPr lang="en-US" altLang="zh-TW" sz="1200"/>
          </a:p>
        </p:txBody>
      </p:sp>
      <p:sp>
        <p:nvSpPr>
          <p:cNvPr id="7" name="Slide Number Placeholder 6"/>
          <p:cNvSpPr>
            <a:spLocks noGrp="1"/>
          </p:cNvSpPr>
          <p:nvPr>
            <p:ph type="sldNum" sz="quarter" idx="13"/>
          </p:nvPr>
        </p:nvSpPr>
        <p:spPr/>
        <p:txBody>
          <a:bodyPr/>
          <a:lstStyle/>
          <a:p>
            <a:pPr>
              <a:defRPr/>
            </a:pPr>
            <a:fld id="{A9B5049F-741E-4493-BB84-83EA17494660}" type="slidenum">
              <a:rPr lang="zh-TW" altLang="en-US" smtClean="0"/>
              <a:pPr>
                <a:defRPr/>
              </a:pPr>
              <a:t>17</a:t>
            </a:fld>
            <a:endParaRPr lang="en-US" altLang="zh-TW"/>
          </a:p>
        </p:txBody>
      </p:sp>
    </p:spTree>
    <p:extLst>
      <p:ext uri="{BB962C8B-B14F-4D97-AF65-F5344CB8AC3E}">
        <p14:creationId xmlns:p14="http://schemas.microsoft.com/office/powerpoint/2010/main" val="28662695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zh-TW" altLang="en-US" dirty="0" smtClean="0"/>
              <a:t>重點：</a:t>
            </a:r>
            <a:endParaRPr lang="en-US" altLang="zh-TW" dirty="0" smtClean="0"/>
          </a:p>
          <a:p>
            <a:pPr marL="230566" indent="-230566">
              <a:buAutoNum type="arabicPeriod"/>
            </a:pPr>
            <a:r>
              <a:rPr lang="en-US" altLang="zh-TW" dirty="0" smtClean="0"/>
              <a:t>Windows OEM</a:t>
            </a:r>
            <a:r>
              <a:rPr lang="zh-TW" altLang="en-US" dirty="0" smtClean="0"/>
              <a:t>授權為完整版，大量授權僅提供升級版</a:t>
            </a:r>
            <a:endParaRPr lang="en-US" altLang="zh-TW" dirty="0" smtClean="0"/>
          </a:p>
          <a:p>
            <a:pPr marL="230566" indent="-230566">
              <a:buAutoNum type="arabicPeriod"/>
            </a:pPr>
            <a:r>
              <a:rPr lang="en-US" altLang="zh-TW" dirty="0" smtClean="0"/>
              <a:t>Windows OEM</a:t>
            </a:r>
            <a:r>
              <a:rPr lang="zh-TW" altLang="en-US" dirty="0" smtClean="0"/>
              <a:t>授權與大量授權皆有降級權利，但</a:t>
            </a:r>
            <a:r>
              <a:rPr lang="en-US" altLang="zh-TW" dirty="0" smtClean="0"/>
              <a:t>OEM</a:t>
            </a:r>
            <a:r>
              <a:rPr lang="zh-TW" altLang="en-US" dirty="0" smtClean="0"/>
              <a:t>授權僅提供降級至前兩個版本</a:t>
            </a:r>
            <a:endParaRPr lang="en-US" altLang="zh-TW" dirty="0" smtClean="0"/>
          </a:p>
          <a:p>
            <a:pPr marL="230566" indent="-230566">
              <a:buAutoNum type="arabicPeriod"/>
            </a:pPr>
            <a:r>
              <a:rPr lang="en-US" altLang="zh-TW" dirty="0" smtClean="0"/>
              <a:t>Windows OEM</a:t>
            </a:r>
            <a:r>
              <a:rPr lang="zh-TW" altLang="en-US" dirty="0" smtClean="0"/>
              <a:t>授權因與硬體一同出貨，所以授權不得移轉；大量授權升級版僅提供舊</a:t>
            </a:r>
            <a:r>
              <a:rPr lang="en-US" altLang="zh-TW" dirty="0" smtClean="0"/>
              <a:t>PC/NB</a:t>
            </a:r>
            <a:r>
              <a:rPr lang="zh-TW" altLang="en-US" dirty="0" smtClean="0"/>
              <a:t>升級亦不得移轉。</a:t>
            </a:r>
            <a:endParaRPr lang="zh-TW" altLang="en-US" dirty="0"/>
          </a:p>
        </p:txBody>
      </p:sp>
      <p:sp>
        <p:nvSpPr>
          <p:cNvPr id="4" name="頁首版面配置區 3"/>
          <p:cNvSpPr>
            <a:spLocks noGrp="1"/>
          </p:cNvSpPr>
          <p:nvPr>
            <p:ph type="hdr" sz="quarter" idx="10"/>
          </p:nvPr>
        </p:nvSpPr>
        <p:spPr/>
        <p:txBody>
          <a:bodyPr/>
          <a:lstStyle/>
          <a:p>
            <a:pPr>
              <a:defRPr/>
            </a:pPr>
            <a:endParaRPr lang="en-US" altLang="zh-TW"/>
          </a:p>
        </p:txBody>
      </p:sp>
      <p:sp>
        <p:nvSpPr>
          <p:cNvPr id="5" name="日期版面配置區 4"/>
          <p:cNvSpPr>
            <a:spLocks noGrp="1"/>
          </p:cNvSpPr>
          <p:nvPr>
            <p:ph type="dt" idx="11"/>
          </p:nvPr>
        </p:nvSpPr>
        <p:spPr/>
        <p:txBody>
          <a:bodyPr/>
          <a:lstStyle/>
          <a:p>
            <a:pPr>
              <a:defRPr/>
            </a:pPr>
            <a:fld id="{35B30829-E3CB-468E-B066-E42119C51062}" type="datetime1">
              <a:rPr lang="zh-TW" altLang="en-US" smtClean="0"/>
              <a:t>2015/8/5</a:t>
            </a:fld>
            <a:endParaRPr lang="en-US" altLang="zh-TW"/>
          </a:p>
        </p:txBody>
      </p:sp>
      <p:sp>
        <p:nvSpPr>
          <p:cNvPr id="6" name="頁尾版面配置區 5"/>
          <p:cNvSpPr>
            <a:spLocks noGrp="1"/>
          </p:cNvSpPr>
          <p:nvPr>
            <p:ph type="ftr" sz="quarter" idx="12"/>
          </p:nvPr>
        </p:nvSpPr>
        <p:spPr/>
        <p:txBody>
          <a:bodyPr/>
          <a:lstStyle/>
          <a:p>
            <a:pPr>
              <a:defRPr/>
            </a:pPr>
            <a:r>
              <a:rPr lang="en-US" altLang="zh-TW" smtClean="0"/>
              <a:t>© 2006 Microsoft Corporation. All rights reserved. This presentation is for informational purposes only. Microsoft makes no warranties, express or implied, in this summary.</a:t>
            </a:r>
            <a:endParaRPr lang="en-US" altLang="zh-TW" sz="1200"/>
          </a:p>
        </p:txBody>
      </p:sp>
      <p:sp>
        <p:nvSpPr>
          <p:cNvPr id="7" name="投影片編號版面配置區 6"/>
          <p:cNvSpPr>
            <a:spLocks noGrp="1"/>
          </p:cNvSpPr>
          <p:nvPr>
            <p:ph type="sldNum" sz="quarter" idx="13"/>
          </p:nvPr>
        </p:nvSpPr>
        <p:spPr/>
        <p:txBody>
          <a:bodyPr/>
          <a:lstStyle/>
          <a:p>
            <a:pPr>
              <a:defRPr/>
            </a:pPr>
            <a:fld id="{A9B5049F-741E-4493-BB84-83EA17494660}" type="slidenum">
              <a:rPr lang="zh-TW" altLang="en-US" smtClean="0"/>
              <a:pPr>
                <a:defRPr/>
              </a:pPr>
              <a:t>20</a:t>
            </a:fld>
            <a:endParaRPr lang="en-US" altLang="zh-TW"/>
          </a:p>
        </p:txBody>
      </p:sp>
    </p:spTree>
    <p:extLst>
      <p:ext uri="{BB962C8B-B14F-4D97-AF65-F5344CB8AC3E}">
        <p14:creationId xmlns:p14="http://schemas.microsoft.com/office/powerpoint/2010/main" val="34233221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24271030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324AEB-8867-406F-9CEF-ED58361B6137}"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372956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r>
              <a:rPr lang="en-US" sz="1200" kern="1200" dirty="0" smtClean="0">
                <a:solidFill>
                  <a:schemeClr val="tx1"/>
                </a:solidFill>
                <a:effectLst/>
                <a:latin typeface="+mn-lt"/>
                <a:ea typeface="+mn-ea"/>
                <a:cs typeface="+mn-cs"/>
              </a:rPr>
              <a:t>There are four editions of windows available for sale though three different channels</a:t>
            </a:r>
          </a:p>
          <a:p>
            <a:endParaRPr lang="en-US"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mn-lt"/>
                <a:ea typeface="+mn-ea"/>
                <a:cs typeface="+mn-cs"/>
              </a:rPr>
              <a:t>Windows 10 Home</a:t>
            </a:r>
            <a:r>
              <a:rPr lang="en-US" sz="1200" kern="1200" dirty="0" smtClean="0">
                <a:solidFill>
                  <a:schemeClr val="tx1"/>
                </a:solidFill>
                <a:effectLst/>
                <a:latin typeface="+mn-lt"/>
                <a:ea typeface="+mn-ea"/>
                <a:cs typeface="+mn-cs"/>
              </a:rPr>
              <a:t> is the mainstream consumer-focused edition of Windows 10, offering a familiar and personal experience that will be updated with the latest security features on an ongoing basis.  Windows 10 home will</a:t>
            </a:r>
            <a:r>
              <a:rPr lang="en-US" sz="1200" kern="1200" baseline="0" dirty="0" smtClean="0">
                <a:solidFill>
                  <a:schemeClr val="tx1"/>
                </a:solidFill>
                <a:effectLst/>
                <a:latin typeface="+mn-lt"/>
                <a:ea typeface="+mn-ea"/>
                <a:cs typeface="+mn-cs"/>
              </a:rPr>
              <a:t> come pre-installed on new devices as well as be available through retail channels.</a:t>
            </a:r>
            <a:endParaRPr lang="en-US" sz="1200" kern="1200" dirty="0" smtClean="0">
              <a:solidFill>
                <a:schemeClr val="tx1"/>
              </a:solidFill>
              <a:effectLst/>
              <a:latin typeface="+mn-lt"/>
              <a:ea typeface="+mn-ea"/>
              <a:cs typeface="+mn-cs"/>
            </a:endParaRPr>
          </a:p>
          <a:p>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mn-lt"/>
                <a:ea typeface="+mn-ea"/>
                <a:cs typeface="+mn-cs"/>
              </a:rPr>
              <a:t>Windows 10 Pro</a:t>
            </a:r>
            <a:r>
              <a:rPr lang="en-US" sz="1200" kern="1200" dirty="0" smtClean="0">
                <a:solidFill>
                  <a:schemeClr val="tx1"/>
                </a:solidFill>
                <a:effectLst/>
                <a:latin typeface="+mn-lt"/>
                <a:ea typeface="+mn-ea"/>
                <a:cs typeface="+mn-cs"/>
              </a:rPr>
              <a:t> is designed for small and medium businesses and enables organizations to manage their devices and apps, protect their business data, facilitate remote and mobile scenarios as well as take advantage of the cloud technologies for their organizations.  Windows 10 Pro devices are a good choice for organizations supporting CYOD programs and “prosumer” customers.  Customers with Windows 10 Pro devices will take advantage of the latest security and feature updates on an ongoing basis, while having an ability to install new feature updates after those have been validated in the broad market.  Windows</a:t>
            </a:r>
            <a:r>
              <a:rPr lang="en-US" sz="1200" kern="1200" baseline="0" dirty="0" smtClean="0">
                <a:solidFill>
                  <a:schemeClr val="tx1"/>
                </a:solidFill>
                <a:effectLst/>
                <a:latin typeface="+mn-lt"/>
                <a:ea typeface="+mn-ea"/>
                <a:cs typeface="+mn-cs"/>
              </a:rPr>
              <a:t> 10 Pro will come pre-installed on new devices, be available via retail channels, and is available in VL as an upgrade license.</a:t>
            </a:r>
            <a:r>
              <a:rPr lang="en-US" sz="1200" kern="1200" dirty="0" smtClean="0">
                <a:solidFill>
                  <a:schemeClr val="tx1"/>
                </a:solidFill>
                <a:effectLst/>
                <a:latin typeface="+mn-lt"/>
                <a:ea typeface="+mn-ea"/>
                <a:cs typeface="+mn-cs"/>
              </a:rPr>
              <a:t> </a:t>
            </a:r>
          </a:p>
          <a:p>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mn-lt"/>
                <a:ea typeface="+mn-ea"/>
                <a:cs typeface="+mn-cs"/>
              </a:rPr>
              <a:t>Windows 10 Enterprise</a:t>
            </a:r>
            <a:r>
              <a:rPr lang="en-US" sz="1200" kern="1200" dirty="0" smtClean="0">
                <a:solidFill>
                  <a:schemeClr val="tx1"/>
                </a:solidFill>
                <a:effectLst/>
                <a:latin typeface="+mn-lt"/>
                <a:ea typeface="+mn-ea"/>
                <a:cs typeface="+mn-cs"/>
              </a:rPr>
              <a:t> builds on Windows 10 Pro by adding more advanced features designed to address the needs of large and mid-size organizations.  Examples include advanced protection against modern security threats, broadest range of options for OS deployment, update and, as well as comprehensive device and app management.  Customers with Windows 10 Enterprise devices will be able to take advantage of the latest security and feature  updates on an ongoing basis, while having an ability to choose  the pace at which they adopt new technology.  Windows 10 Enterprise will be</a:t>
            </a:r>
            <a:r>
              <a:rPr lang="en-US" sz="1200" kern="1200" baseline="0" dirty="0" smtClean="0">
                <a:solidFill>
                  <a:schemeClr val="tx1"/>
                </a:solidFill>
                <a:effectLst/>
                <a:latin typeface="+mn-lt"/>
                <a:ea typeface="+mn-ea"/>
                <a:cs typeface="+mn-cs"/>
              </a:rPr>
              <a:t> available exclusively through Volume Licensing.</a:t>
            </a:r>
            <a:endParaRPr lang="en-US" sz="1200" kern="1200" dirty="0" smtClean="0">
              <a:solidFill>
                <a:schemeClr val="tx1"/>
              </a:solidFill>
              <a:effectLst/>
              <a:latin typeface="+mn-lt"/>
              <a:ea typeface="+mn-ea"/>
              <a:cs typeface="+mn-cs"/>
            </a:endParaRPr>
          </a:p>
          <a:p>
            <a:endParaRPr lang="en-US"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mn-lt"/>
                <a:ea typeface="+mn-ea"/>
                <a:cs typeface="+mn-cs"/>
              </a:rPr>
              <a:t>Windows 10 Education</a:t>
            </a:r>
            <a:r>
              <a:rPr lang="en-US" sz="1200" kern="1200" dirty="0" smtClean="0">
                <a:solidFill>
                  <a:schemeClr val="tx1"/>
                </a:solidFill>
                <a:effectLst/>
                <a:latin typeface="+mn-lt"/>
                <a:ea typeface="+mn-ea"/>
                <a:cs typeface="+mn-cs"/>
              </a:rPr>
              <a:t> builds on Windows 10 Pro, adding features designed to address advanced security and comprehensive device control &amp; management needs. Available to staff, administrators, and students through academic Volume Licensing, it is built to simplify deployment by providing a direct path for multiple devices to upgrade from Windows 10 Home or Windows 10 Pro to Windows 10 Education, without the need to wipe and reload the OS.  Windows 10 Education will be available exclusively through Volume Licensing.</a:t>
            </a:r>
          </a:p>
          <a:p>
            <a:endParaRPr lang="en-US" sz="12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36DAC288-28CF-40C3-A408-271E9A37F250}"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18943966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dirty="0" smtClean="0">
                <a:solidFill>
                  <a:schemeClr val="tx1"/>
                </a:solidFill>
                <a:effectLst/>
                <a:latin typeface="+mn-lt"/>
                <a:ea typeface="+mn-ea"/>
                <a:cs typeface="+mn-cs"/>
              </a:rPr>
              <a:t>As mentioned both Windows 10 Pro and Windows 10 Enterprise edition will be made available through Volume Licensing, but there are a few other key offerings to be aware of.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In addition to Software Assurance and VDA, Microsoft now offers the Windows 10 Education SKU in OVS-ES and EES programs.  Additionally, Windows 10 Mobile Enterprise upgrade is available under SA per User licensing, or through Open, Select and MPSA programs.</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e’ll go through these offerings in greater detail but I wanted to provide this as a backdrop for the rest of our discussion.</a:t>
            </a:r>
          </a:p>
          <a:p>
            <a:endParaRPr lang="en-US" dirty="0"/>
          </a:p>
        </p:txBody>
      </p:sp>
      <p:sp>
        <p:nvSpPr>
          <p:cNvPr id="4" name="Slide Number Placeholder 3"/>
          <p:cNvSpPr>
            <a:spLocks noGrp="1"/>
          </p:cNvSpPr>
          <p:nvPr>
            <p:ph type="sldNum" sz="quarter" idx="10"/>
          </p:nvPr>
        </p:nvSpPr>
        <p:spPr>
          <a:xfrm>
            <a:off x="2798191" y="12739987"/>
            <a:ext cx="2140667" cy="670648"/>
          </a:xfrm>
          <a:prstGeom prst="rect">
            <a:avLst/>
          </a:prstGeom>
        </p:spPr>
        <p:txBody>
          <a:bodyPr/>
          <a:lstStyle/>
          <a:p>
            <a:fld id="{8B263312-38AA-4E1E-B2B5-0F8F122B24FE}"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35186954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16" name="Rounded Rectangle 15"/>
          <p:cNvSpPr/>
          <p:nvPr/>
        </p:nvSpPr>
        <p:spPr>
          <a:xfrm>
            <a:off x="228600" y="228600"/>
            <a:ext cx="8695944" cy="6035040"/>
          </a:xfrm>
          <a:prstGeom prst="roundRect">
            <a:avLst>
              <a:gd name="adj" fmla="val 1272"/>
            </a:avLst>
          </a:prstGeom>
          <a:gradFill>
            <a:gsLst>
              <a:gs pos="0">
                <a:schemeClr val="accent1">
                  <a:lumMod val="75000"/>
                </a:schemeClr>
              </a:gs>
              <a:gs pos="10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9"/>
          <p:cNvGrpSpPr>
            <a:grpSpLocks noChangeAspect="1"/>
          </p:cNvGrpSpPr>
          <p:nvPr/>
        </p:nvGrpSpPr>
        <p:grpSpPr bwMode="hidden">
          <a:xfrm>
            <a:off x="211665" y="5353963"/>
            <a:ext cx="8723376" cy="1331580"/>
            <a:chOff x="-3905250" y="4294188"/>
            <a:chExt cx="13011150" cy="1892300"/>
          </a:xfrm>
        </p:grpSpPr>
        <p:sp>
          <p:nvSpPr>
            <p:cNvPr id="11"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15" name="Freeform 10"/>
            <p:cNvSpPr>
              <a:spLocks/>
            </p:cNvSpPr>
            <p:nvPr/>
          </p:nvSpPr>
          <p:spPr bwMode="hidden">
            <a:xfrm>
              <a:off x="-3905250" y="4294188"/>
              <a:ext cx="13011150"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ctrTitle"/>
          </p:nvPr>
        </p:nvSpPr>
        <p:spPr>
          <a:xfrm>
            <a:off x="685800" y="1600200"/>
            <a:ext cx="7772400" cy="1780108"/>
          </a:xfrm>
        </p:spPr>
        <p:txBody>
          <a:bodyPr anchor="b">
            <a:normAutofit/>
          </a:bodyPr>
          <a:lstStyle>
            <a:lvl1pPr>
              <a:defRPr sz="4400">
                <a:solidFill>
                  <a:srgbClr val="FFFFFF"/>
                </a:solidFill>
              </a:defRPr>
            </a:lvl1pPr>
          </a:lstStyle>
          <a:p>
            <a:r>
              <a:rPr lang="zh-TW" altLang="en-US" smtClean="0"/>
              <a:t>按一下以編輯母片標題樣式</a:t>
            </a:r>
            <a:endParaRPr lang="en-US" dirty="0"/>
          </a:p>
        </p:txBody>
      </p:sp>
      <p:sp>
        <p:nvSpPr>
          <p:cNvPr id="3" name="Subtitle 2"/>
          <p:cNvSpPr>
            <a:spLocks noGrp="1"/>
          </p:cNvSpPr>
          <p:nvPr>
            <p:ph type="subTitle" idx="1"/>
          </p:nvPr>
        </p:nvSpPr>
        <p:spPr>
          <a:xfrm>
            <a:off x="1371600" y="3556001"/>
            <a:ext cx="6400800" cy="1473200"/>
          </a:xfrm>
        </p:spPr>
        <p:txBody>
          <a:bodyPr>
            <a:normAutofit/>
          </a:bodyPr>
          <a:lstStyle>
            <a:lvl1pPr marL="0" indent="0" algn="ctr">
              <a:buNone/>
              <a:defRPr sz="20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TW" altLang="en-US" smtClean="0"/>
              <a:t>按一下以編輯母片副標題樣式</a:t>
            </a:r>
            <a:endParaRPr lang="en-US" dirty="0"/>
          </a:p>
        </p:txBody>
      </p:sp>
      <p:sp>
        <p:nvSpPr>
          <p:cNvPr id="4" name="Date Placeholder 3"/>
          <p:cNvSpPr>
            <a:spLocks noGrp="1"/>
          </p:cNvSpPr>
          <p:nvPr>
            <p:ph type="dt" sz="half" idx="10"/>
          </p:nvPr>
        </p:nvSpPr>
        <p:spPr/>
        <p:txBody>
          <a:bodyPr/>
          <a:lstStyle/>
          <a:p>
            <a:pPr>
              <a:defRPr/>
            </a:pPr>
            <a:fld id="{55968456-121C-483F-A41E-A902D5DF21D6}" type="datetime1">
              <a:rPr lang="en-US" altLang="zh-TW" smtClean="0"/>
              <a:t>8/5/2015</a:t>
            </a:fld>
            <a:endParaRPr lang="en-US"/>
          </a:p>
        </p:txBody>
      </p:sp>
      <p:sp>
        <p:nvSpPr>
          <p:cNvPr id="5" name="Footer Placeholder 4"/>
          <p:cNvSpPr>
            <a:spLocks noGrp="1"/>
          </p:cNvSpPr>
          <p:nvPr>
            <p:ph type="ftr" sz="quarter" idx="11"/>
          </p:nvPr>
        </p:nvSpPr>
        <p:spPr/>
        <p:txBody>
          <a:bodyPr/>
          <a:lstStyle/>
          <a:p>
            <a:pPr>
              <a:defRPr/>
            </a:pPr>
            <a:endParaRPr lang="zh-CN" altLang="en-US"/>
          </a:p>
        </p:txBody>
      </p:sp>
      <p:sp>
        <p:nvSpPr>
          <p:cNvPr id="6" name="Slide Number Placeholder 5"/>
          <p:cNvSpPr>
            <a:spLocks noGrp="1"/>
          </p:cNvSpPr>
          <p:nvPr>
            <p:ph type="sldNum" sz="quarter" idx="12"/>
          </p:nvPr>
        </p:nvSpPr>
        <p:spPr/>
        <p:txBody>
          <a:bodyPr/>
          <a:lstStyle/>
          <a:p>
            <a:pPr>
              <a:defRPr/>
            </a:pPr>
            <a:fld id="{FBBE6994-5DB0-4EFC-8C05-EC43D5440260}" type="slidenum">
              <a:rPr lang="en-US" smtClean="0"/>
              <a:pPr>
                <a:defRPr/>
              </a:pPr>
              <a:t>‹#›</a:t>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smtClean="0"/>
              <a:t>按一下以編輯母片標題樣式</a:t>
            </a:r>
            <a:endParaRPr lang="en-US"/>
          </a:p>
        </p:txBody>
      </p:sp>
      <p:sp>
        <p:nvSpPr>
          <p:cNvPr id="3" name="Vertical Text Placeholder 2"/>
          <p:cNvSpPr>
            <a:spLocks noGrp="1"/>
          </p:cNvSpPr>
          <p:nvPr>
            <p:ph type="body" orient="vert" idx="1"/>
          </p:nvPr>
        </p:nvSpPr>
        <p:spPr/>
        <p:txBody>
          <a:bodyPr vert="eaVert" anchor="ctr"/>
          <a:lstStyle>
            <a:lvl1pPr algn="l">
              <a:defRPr/>
            </a:lvl1pPr>
            <a:lvl2pPr algn="l">
              <a:defRPr/>
            </a:lvl2pPr>
            <a:lvl3pPr algn="l">
              <a:defRPr/>
            </a:lvl3pPr>
            <a:lvl4pPr algn="l">
              <a:defRPr/>
            </a:lvl4pPr>
            <a:lvl5pPr algn="l">
              <a:defRPr/>
            </a:lvl5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en-US"/>
          </a:p>
        </p:txBody>
      </p:sp>
      <p:sp>
        <p:nvSpPr>
          <p:cNvPr id="4" name="Date Placeholder 3"/>
          <p:cNvSpPr>
            <a:spLocks noGrp="1"/>
          </p:cNvSpPr>
          <p:nvPr>
            <p:ph type="dt" sz="half" idx="10"/>
          </p:nvPr>
        </p:nvSpPr>
        <p:spPr/>
        <p:txBody>
          <a:bodyPr/>
          <a:lstStyle/>
          <a:p>
            <a:pPr>
              <a:defRPr/>
            </a:pPr>
            <a:fld id="{03522C0C-E3B9-460B-851B-519DC04E5B41}" type="datetime1">
              <a:rPr lang="en-US" altLang="zh-TW" smtClean="0"/>
              <a:t>8/5/2015</a:t>
            </a:fld>
            <a:endParaRPr lang="en-US"/>
          </a:p>
        </p:txBody>
      </p:sp>
      <p:sp>
        <p:nvSpPr>
          <p:cNvPr id="5" name="Footer Placeholder 4"/>
          <p:cNvSpPr>
            <a:spLocks noGrp="1"/>
          </p:cNvSpPr>
          <p:nvPr>
            <p:ph type="ftr" sz="quarter" idx="11"/>
          </p:nvPr>
        </p:nvSpPr>
        <p:spPr/>
        <p:txBody>
          <a:bodyPr/>
          <a:lstStyle/>
          <a:p>
            <a:pPr>
              <a:defRPr/>
            </a:pPr>
            <a:endParaRPr lang="zh-CN" altLang="en-US"/>
          </a:p>
        </p:txBody>
      </p:sp>
      <p:sp>
        <p:nvSpPr>
          <p:cNvPr id="6" name="Slide Number Placeholder 5"/>
          <p:cNvSpPr>
            <a:spLocks noGrp="1"/>
          </p:cNvSpPr>
          <p:nvPr>
            <p:ph type="sldNum" sz="quarter" idx="12"/>
          </p:nvPr>
        </p:nvSpPr>
        <p:spPr/>
        <p:txBody>
          <a:bodyPr/>
          <a:lstStyle/>
          <a:p>
            <a:pPr>
              <a:defRPr/>
            </a:pPr>
            <a:fld id="{5BEE3C76-BA77-44C5-BA94-BDEB3E2050C1}" type="slidenum">
              <a:rPr lang="en-US" smtClean="0"/>
              <a:pPr>
                <a:defRPr/>
              </a:pPr>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1" name="Rounded Rectangle 20"/>
          <p:cNvSpPr/>
          <p:nvPr/>
        </p:nvSpPr>
        <p:spPr bwMode="hidden">
          <a:xfrm>
            <a:off x="228600" y="228600"/>
            <a:ext cx="8695944" cy="1426464"/>
          </a:xfrm>
          <a:prstGeom prst="roundRect">
            <a:avLst>
              <a:gd name="adj" fmla="val 7136"/>
            </a:avLst>
          </a:prstGeom>
          <a:gradFill>
            <a:gsLst>
              <a:gs pos="0">
                <a:schemeClr val="accent1">
                  <a:lumMod val="75000"/>
                </a:schemeClr>
              </a:gs>
              <a:gs pos="9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p:cNvSpPr>
            <a:spLocks noGrp="1"/>
          </p:cNvSpPr>
          <p:nvPr>
            <p:ph type="dt" sz="half" idx="10"/>
          </p:nvPr>
        </p:nvSpPr>
        <p:spPr/>
        <p:txBody>
          <a:bodyPr/>
          <a:lstStyle/>
          <a:p>
            <a:pPr>
              <a:defRPr/>
            </a:pPr>
            <a:fld id="{F38E8731-9732-408E-866B-1C334D0EDA3A}" type="datetime1">
              <a:rPr lang="en-US" altLang="zh-TW" smtClean="0"/>
              <a:t>8/5/2015</a:t>
            </a:fld>
            <a:endParaRPr lang="en-US"/>
          </a:p>
        </p:txBody>
      </p:sp>
      <p:sp>
        <p:nvSpPr>
          <p:cNvPr id="5" name="Footer Placeholder 4"/>
          <p:cNvSpPr>
            <a:spLocks noGrp="1"/>
          </p:cNvSpPr>
          <p:nvPr>
            <p:ph type="ftr" sz="quarter" idx="11"/>
          </p:nvPr>
        </p:nvSpPr>
        <p:spPr/>
        <p:txBody>
          <a:bodyPr/>
          <a:lstStyle/>
          <a:p>
            <a:pPr>
              <a:defRPr/>
            </a:pPr>
            <a:endParaRPr lang="zh-CN" altLang="en-US"/>
          </a:p>
        </p:txBody>
      </p:sp>
      <p:sp>
        <p:nvSpPr>
          <p:cNvPr id="6" name="Slide Number Placeholder 5"/>
          <p:cNvSpPr>
            <a:spLocks noGrp="1"/>
          </p:cNvSpPr>
          <p:nvPr>
            <p:ph type="sldNum" sz="quarter" idx="12"/>
          </p:nvPr>
        </p:nvSpPr>
        <p:spPr/>
        <p:txBody>
          <a:bodyPr/>
          <a:lstStyle/>
          <a:p>
            <a:pPr>
              <a:defRPr/>
            </a:pPr>
            <a:fld id="{9B8F4209-EE96-4113-BF8B-3BE82C16262A}" type="slidenum">
              <a:rPr lang="en-US" smtClean="0"/>
              <a:pPr>
                <a:defRPr/>
              </a:pPr>
              <a:t>‹#›</a:t>
            </a:fld>
            <a:endParaRPr lang="zh-CN" altLang="en-US"/>
          </a:p>
        </p:txBody>
      </p:sp>
      <p:grpSp>
        <p:nvGrpSpPr>
          <p:cNvPr id="15" name="Group 14"/>
          <p:cNvGrpSpPr>
            <a:grpSpLocks noChangeAspect="1"/>
          </p:cNvGrpSpPr>
          <p:nvPr/>
        </p:nvGrpSpPr>
        <p:grpSpPr bwMode="hidden">
          <a:xfrm>
            <a:off x="211665" y="714191"/>
            <a:ext cx="8723376" cy="1331580"/>
            <a:chOff x="-3905250" y="4294188"/>
            <a:chExt cx="13011150" cy="1892300"/>
          </a:xfrm>
        </p:grpSpPr>
        <p:sp>
          <p:nvSpPr>
            <p:cNvPr id="16"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20" name="Freeform 19"/>
            <p:cNvSpPr>
              <a:spLocks/>
            </p:cNvSpPr>
            <p:nvPr/>
          </p:nvSpPr>
          <p:spPr bwMode="hidden">
            <a:xfrm>
              <a:off x="-3905250" y="4294188"/>
              <a:ext cx="13011150"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Vertical Title 1"/>
          <p:cNvSpPr>
            <a:spLocks noGrp="1"/>
          </p:cNvSpPr>
          <p:nvPr>
            <p:ph type="title" orient="vert"/>
          </p:nvPr>
        </p:nvSpPr>
        <p:spPr>
          <a:xfrm>
            <a:off x="6629400" y="1447800"/>
            <a:ext cx="2057400" cy="4487333"/>
          </a:xfrm>
        </p:spPr>
        <p:txBody>
          <a:bodyPr vert="eaVert" anchor="ctr"/>
          <a:lstStyle>
            <a:lvl1pPr algn="l">
              <a:defRPr>
                <a:solidFill>
                  <a:schemeClr val="tx2"/>
                </a:solidFill>
              </a:defRPr>
            </a:lvl1pPr>
          </a:lstStyle>
          <a:p>
            <a:r>
              <a:rPr lang="zh-TW" altLang="en-US" smtClean="0"/>
              <a:t>按一下以編輯母片標題樣式</a:t>
            </a:r>
            <a:endParaRPr lang="en-US" dirty="0"/>
          </a:p>
        </p:txBody>
      </p:sp>
      <p:sp>
        <p:nvSpPr>
          <p:cNvPr id="3" name="Vertical Text Placeholder 2"/>
          <p:cNvSpPr>
            <a:spLocks noGrp="1"/>
          </p:cNvSpPr>
          <p:nvPr>
            <p:ph type="body" orient="vert" idx="1"/>
          </p:nvPr>
        </p:nvSpPr>
        <p:spPr>
          <a:xfrm>
            <a:off x="457200" y="1447800"/>
            <a:ext cx="6019800" cy="4487334"/>
          </a:xfrm>
        </p:spPr>
        <p:txBody>
          <a:bodyPr vert="eaVert"/>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Light" pitchFamily="34" charset="0"/>
              </a:defRPr>
            </a:lvl1pPr>
          </a:lstStyle>
          <a:p>
            <a:r>
              <a:rPr lang="en-US" smtClean="0"/>
              <a:t>Click to edit Master title style</a:t>
            </a:r>
            <a:endParaRPr lang="en-US" dirty="0"/>
          </a:p>
        </p:txBody>
      </p:sp>
      <p:pic>
        <p:nvPicPr>
          <p:cNvPr id="5" name="Picture 4"/>
          <p:cNvPicPr>
            <a:picLocks noChangeAspect="1" noChangeArrowheads="1"/>
          </p:cNvPicPr>
          <p:nvPr userDrawn="1"/>
        </p:nvPicPr>
        <p:blipFill>
          <a:blip r:embed="rId2">
            <a:lum bright="100000"/>
          </a:blip>
          <a:srcRect/>
          <a:stretch>
            <a:fillRect/>
          </a:stretch>
        </p:blipFill>
        <p:spPr bwMode="auto">
          <a:xfrm>
            <a:off x="144463" y="6510338"/>
            <a:ext cx="2371725" cy="285750"/>
          </a:xfrm>
          <a:prstGeom prst="rect">
            <a:avLst/>
          </a:prstGeom>
          <a:noFill/>
          <a:ln w="12700">
            <a:noFill/>
            <a:miter lim="800000"/>
            <a:headEnd/>
            <a:tailEnd/>
          </a:ln>
          <a:effectLst/>
        </p:spPr>
      </p:pic>
    </p:spTree>
    <p:extLst>
      <p:ext uri="{BB962C8B-B14F-4D97-AF65-F5344CB8AC3E}">
        <p14:creationId xmlns:p14="http://schemas.microsoft.com/office/powerpoint/2010/main" val="3648766578"/>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666387"/>
          </a:xfrm>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389436" y="1447800"/>
            <a:ext cx="8363938" cy="197356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7621988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7" y="228600"/>
            <a:ext cx="8363938" cy="560795"/>
          </a:xfrm>
        </p:spPr>
        <p:txBody>
          <a:body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389437" y="1447799"/>
            <a:ext cx="8363938" cy="1532727"/>
          </a:xfrm>
          <a:prstGeom prst="rect">
            <a:avLst/>
          </a:prstGeom>
        </p:spPr>
        <p:txBody>
          <a:bodyPr/>
          <a:lstStyle>
            <a:lvl1pPr marL="213041" indent="-213041">
              <a:buFont typeface="Wingdings" pitchFamily="2" charset="2"/>
              <a:buChar char=""/>
              <a:defRPr sz="3000"/>
            </a:lvl1pPr>
            <a:lvl2pPr marL="387996" indent="-174957">
              <a:buFont typeface="Wingdings" pitchFamily="2" charset="2"/>
              <a:buChar char=""/>
              <a:defRPr spc="-38" baseline="0">
                <a:latin typeface="+mn-lt"/>
              </a:defRPr>
            </a:lvl2pPr>
            <a:lvl3pPr marL="555811" indent="-167815">
              <a:buFont typeface="Wingdings" pitchFamily="2" charset="2"/>
              <a:buChar char=""/>
              <a:tabLst/>
              <a:defRPr spc="-38" baseline="0">
                <a:latin typeface="+mn-lt"/>
              </a:defRPr>
            </a:lvl3pPr>
            <a:lvl4pPr marL="685539" indent="-129729">
              <a:buFont typeface="Wingdings" pitchFamily="2" charset="2"/>
              <a:buChar char=""/>
              <a:defRPr spc="-38" baseline="0">
                <a:latin typeface="+mn-lt"/>
              </a:defRPr>
            </a:lvl4pPr>
            <a:lvl5pPr marL="815269" indent="-129729">
              <a:buFont typeface="Wingdings" pitchFamily="2" charset="2"/>
              <a:buChar char=""/>
              <a:tabLst/>
              <a:defRPr spc="-38"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lide Number Placeholder 1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54513434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itle &amp; Only">
    <p:spTree>
      <p:nvGrpSpPr>
        <p:cNvPr id="1" name=""/>
        <p:cNvGrpSpPr/>
        <p:nvPr/>
      </p:nvGrpSpPr>
      <p:grpSpPr>
        <a:xfrm>
          <a:off x="0" y="0"/>
          <a:ext cx="0" cy="0"/>
          <a:chOff x="0" y="0"/>
          <a:chExt cx="0" cy="0"/>
        </a:xfrm>
      </p:grpSpPr>
      <p:sp>
        <p:nvSpPr>
          <p:cNvPr id="9" name="Text Placeholder 8"/>
          <p:cNvSpPr>
            <a:spLocks noGrp="1"/>
          </p:cNvSpPr>
          <p:nvPr>
            <p:ph type="body" sz="quarter" idx="15"/>
          </p:nvPr>
        </p:nvSpPr>
        <p:spPr>
          <a:xfrm>
            <a:off x="199596" y="291070"/>
            <a:ext cx="8734363" cy="677270"/>
          </a:xfrm>
        </p:spPr>
        <p:txBody>
          <a:bodyPr vert="horz" wrap="square" lIns="149226" tIns="93266" rIns="149226" bIns="93266" rtlCol="0" anchor="t" anchorCtr="0">
            <a:spAutoFit/>
          </a:bodyPr>
          <a:lstStyle>
            <a:lvl1pPr>
              <a:lnSpc>
                <a:spcPct val="80000"/>
              </a:lnSpc>
              <a:spcAft>
                <a:spcPts val="0"/>
              </a:spcAft>
              <a:defRPr lang="en-US" sz="3530" spc="-75" dirty="0" smtClean="0">
                <a:solidFill>
                  <a:schemeClr val="tx1">
                    <a:lumMod val="65000"/>
                    <a:lumOff val="35000"/>
                  </a:schemeClr>
                </a:solidFill>
                <a:latin typeface="Segoe UI Light" pitchFamily="34" charset="0"/>
                <a:ea typeface="+mj-ea"/>
                <a:cs typeface="+mj-cs"/>
              </a:defRPr>
            </a:lvl1pPr>
          </a:lstStyle>
          <a:p>
            <a:pPr lvl="0" defTabSz="913595">
              <a:lnSpc>
                <a:spcPct val="90000"/>
              </a:lnSpc>
              <a:spcBef>
                <a:spcPct val="0"/>
              </a:spcBef>
            </a:pPr>
            <a:r>
              <a:rPr lang="en-US" smtClean="0"/>
              <a:t>Click to edit Master text styles</a:t>
            </a:r>
          </a:p>
        </p:txBody>
      </p:sp>
    </p:spTree>
    <p:extLst>
      <p:ext uri="{BB962C8B-B14F-4D97-AF65-F5344CB8AC3E}">
        <p14:creationId xmlns:p14="http://schemas.microsoft.com/office/powerpoint/2010/main" val="102938082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16791" y="436566"/>
            <a:ext cx="8550914" cy="450123"/>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16791" y="1198566"/>
            <a:ext cx="8550914" cy="133780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Picture 3"/>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6344945"/>
            <a:ext cx="1028968" cy="436856"/>
          </a:xfrm>
          <a:prstGeom prst="rect">
            <a:avLst/>
          </a:prstGeom>
        </p:spPr>
      </p:pic>
    </p:spTree>
    <p:extLst>
      <p:ext uri="{BB962C8B-B14F-4D97-AF65-F5344CB8AC3E}">
        <p14:creationId xmlns:p14="http://schemas.microsoft.com/office/powerpoint/2010/main" val="3741914496"/>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389436" y="1447799"/>
            <a:ext cx="8363938" cy="1975926"/>
          </a:xfrm>
          <a:prstGeom prst="rect">
            <a:avLst/>
          </a:prstGeom>
        </p:spPr>
        <p:txBody>
          <a:bodyPr/>
          <a:lstStyle>
            <a:lvl1pPr marL="0" indent="0">
              <a:spcBef>
                <a:spcPts val="1800"/>
              </a:spcBef>
              <a:buNone/>
              <a:defRPr sz="3001">
                <a:gradFill>
                  <a:gsLst>
                    <a:gs pos="100000">
                      <a:schemeClr val="tx2"/>
                    </a:gs>
                    <a:gs pos="0">
                      <a:schemeClr val="tx2"/>
                    </a:gs>
                  </a:gsLst>
                  <a:lin ang="5400000" scaled="0"/>
                </a:gradFill>
                <a:latin typeface="+mj-lt"/>
              </a:defRPr>
            </a:lvl1pPr>
            <a:lvl2pPr marL="0" indent="0">
              <a:buNone/>
              <a:defRPr sz="1500" spc="-38" baseline="0">
                <a:gradFill>
                  <a:gsLst>
                    <a:gs pos="100000">
                      <a:schemeClr val="tx1"/>
                    </a:gs>
                    <a:gs pos="6000">
                      <a:schemeClr val="tx1"/>
                    </a:gs>
                  </a:gsLst>
                  <a:lin ang="5400000" scaled="0"/>
                </a:gradFill>
              </a:defRPr>
            </a:lvl2pPr>
            <a:lvl3pPr marL="173878" indent="0">
              <a:buNone/>
              <a:defRPr sz="1500" spc="-38" baseline="0">
                <a:gradFill>
                  <a:gsLst>
                    <a:gs pos="100000">
                      <a:schemeClr val="tx1"/>
                    </a:gs>
                    <a:gs pos="6000">
                      <a:schemeClr val="tx1"/>
                    </a:gs>
                  </a:gsLst>
                  <a:lin ang="5400000" scaled="0"/>
                </a:gradFill>
              </a:defRPr>
            </a:lvl3pPr>
            <a:lvl4pPr marL="342991" indent="0">
              <a:buNone/>
              <a:defRPr sz="1500" spc="-38" baseline="0">
                <a:gradFill>
                  <a:gsLst>
                    <a:gs pos="100000">
                      <a:schemeClr val="tx1"/>
                    </a:gs>
                    <a:gs pos="6000">
                      <a:schemeClr val="tx1"/>
                    </a:gs>
                  </a:gsLst>
                  <a:lin ang="5400000" scaled="0"/>
                </a:gradFill>
              </a:defRPr>
            </a:lvl4pPr>
            <a:lvl5pPr marL="520442" indent="0">
              <a:buNone/>
              <a:defRPr sz="1500" spc="-38"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4" name="Slide Number Placeholder 3"/>
          <p:cNvSpPr>
            <a:spLocks noGrp="1"/>
          </p:cNvSpPr>
          <p:nvPr>
            <p:ph type="sldNum" sz="quarter" idx="12"/>
          </p:nvPr>
        </p:nvSpPr>
        <p:spPr>
          <a:xfrm>
            <a:off x="8585452" y="6446309"/>
            <a:ext cx="171495" cy="124650"/>
          </a:xfrm>
          <a:prstGeom prst="rect">
            <a:avLst/>
          </a:prstGeom>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48654165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01696" y="286381"/>
            <a:ext cx="8740142" cy="927940"/>
          </a:xfrm>
          <a:prstGeom prst="rect">
            <a:avLst/>
          </a:prstGeom>
        </p:spPr>
        <p:txBody>
          <a:bodyPr lIns="146304" tIns="91440" rIns="146304" bIns="91440"/>
          <a:lstStyle>
            <a:lvl1pPr algn="l">
              <a:defRPr sz="3824">
                <a:solidFill>
                  <a:schemeClr val="tx2"/>
                </a:solidFill>
                <a:latin typeface="+mj-lt"/>
              </a:defRPr>
            </a:lvl1pPr>
          </a:lstStyle>
          <a:p>
            <a:r>
              <a:rPr lang="en-US" dirty="0" smtClean="0"/>
              <a:t>Click to edit Master title style</a:t>
            </a:r>
            <a:endParaRPr lang="en-US" dirty="0"/>
          </a:p>
        </p:txBody>
      </p:sp>
      <p:grpSp>
        <p:nvGrpSpPr>
          <p:cNvPr id="4" name="Group 3"/>
          <p:cNvGrpSpPr/>
          <p:nvPr userDrawn="1"/>
        </p:nvGrpSpPr>
        <p:grpSpPr>
          <a:xfrm>
            <a:off x="7408441" y="6368202"/>
            <a:ext cx="1533397" cy="371246"/>
            <a:chOff x="10075994" y="6523798"/>
            <a:chExt cx="2085526" cy="378637"/>
          </a:xfrm>
        </p:grpSpPr>
        <p:sp>
          <p:nvSpPr>
            <p:cNvPr id="5" name="icon BULB"/>
            <p:cNvSpPr>
              <a:spLocks noEditPoints="1"/>
            </p:cNvSpPr>
            <p:nvPr/>
          </p:nvSpPr>
          <p:spPr bwMode="auto">
            <a:xfrm>
              <a:off x="10981759" y="6523798"/>
              <a:ext cx="217746" cy="34839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685845"/>
              <a:endParaRPr lang="en-US" sz="1324">
                <a:solidFill>
                  <a:srgbClr val="000000"/>
                </a:solidFill>
              </a:endParaRPr>
            </a:p>
          </p:txBody>
        </p:sp>
        <p:sp>
          <p:nvSpPr>
            <p:cNvPr id="6" name="icon  BINARY"/>
            <p:cNvSpPr>
              <a:spLocks noEditPoints="1"/>
            </p:cNvSpPr>
            <p:nvPr/>
          </p:nvSpPr>
          <p:spPr bwMode="auto">
            <a:xfrm>
              <a:off x="10075994" y="6534685"/>
              <a:ext cx="397992" cy="326620"/>
            </a:xfrm>
            <a:custGeom>
              <a:avLst/>
              <a:gdLst>
                <a:gd name="T0" fmla="*/ 64 w 275"/>
                <a:gd name="T1" fmla="*/ 55 h 226"/>
                <a:gd name="T2" fmla="*/ 65 w 275"/>
                <a:gd name="T3" fmla="*/ 0 h 226"/>
                <a:gd name="T4" fmla="*/ 64 w 275"/>
                <a:gd name="T5" fmla="*/ 9 h 226"/>
                <a:gd name="T6" fmla="*/ 72 w 275"/>
                <a:gd name="T7" fmla="*/ 28 h 226"/>
                <a:gd name="T8" fmla="*/ 96 w 275"/>
                <a:gd name="T9" fmla="*/ 45 h 226"/>
                <a:gd name="T10" fmla="*/ 96 w 275"/>
                <a:gd name="T11" fmla="*/ 15 h 226"/>
                <a:gd name="T12" fmla="*/ 119 w 275"/>
                <a:gd name="T13" fmla="*/ 45 h 226"/>
                <a:gd name="T14" fmla="*/ 178 w 275"/>
                <a:gd name="T15" fmla="*/ 54 h 226"/>
                <a:gd name="T16" fmla="*/ 155 w 275"/>
                <a:gd name="T17" fmla="*/ 45 h 226"/>
                <a:gd name="T18" fmla="*/ 144 w 275"/>
                <a:gd name="T19" fmla="*/ 5 h 226"/>
                <a:gd name="T20" fmla="*/ 178 w 275"/>
                <a:gd name="T21" fmla="*/ 45 h 226"/>
                <a:gd name="T22" fmla="*/ 222 w 275"/>
                <a:gd name="T23" fmla="*/ 48 h 226"/>
                <a:gd name="T24" fmla="*/ 194 w 275"/>
                <a:gd name="T25" fmla="*/ 7 h 226"/>
                <a:gd name="T26" fmla="*/ 215 w 275"/>
                <a:gd name="T27" fmla="*/ 28 h 226"/>
                <a:gd name="T28" fmla="*/ 208 w 275"/>
                <a:gd name="T29" fmla="*/ 46 h 226"/>
                <a:gd name="T30" fmla="*/ 269 w 275"/>
                <a:gd name="T31" fmla="*/ 48 h 226"/>
                <a:gd name="T32" fmla="*/ 242 w 275"/>
                <a:gd name="T33" fmla="*/ 7 h 226"/>
                <a:gd name="T34" fmla="*/ 263 w 275"/>
                <a:gd name="T35" fmla="*/ 28 h 226"/>
                <a:gd name="T36" fmla="*/ 256 w 275"/>
                <a:gd name="T37" fmla="*/ 46 h 226"/>
                <a:gd name="T38" fmla="*/ 0 w 275"/>
                <a:gd name="T39" fmla="*/ 140 h 226"/>
                <a:gd name="T40" fmla="*/ 11 w 275"/>
                <a:gd name="T41" fmla="*/ 98 h 226"/>
                <a:gd name="T42" fmla="*/ 23 w 275"/>
                <a:gd name="T43" fmla="*/ 85 h 226"/>
                <a:gd name="T44" fmla="*/ 34 w 275"/>
                <a:gd name="T45" fmla="*/ 140 h 226"/>
                <a:gd name="T46" fmla="*/ 64 w 275"/>
                <a:gd name="T47" fmla="*/ 141 h 226"/>
                <a:gd name="T48" fmla="*/ 65 w 275"/>
                <a:gd name="T49" fmla="*/ 85 h 226"/>
                <a:gd name="T50" fmla="*/ 64 w 275"/>
                <a:gd name="T51" fmla="*/ 94 h 226"/>
                <a:gd name="T52" fmla="*/ 71 w 275"/>
                <a:gd name="T53" fmla="*/ 113 h 226"/>
                <a:gd name="T54" fmla="*/ 111 w 275"/>
                <a:gd name="T55" fmla="*/ 141 h 226"/>
                <a:gd name="T56" fmla="*/ 112 w 275"/>
                <a:gd name="T57" fmla="*/ 85 h 226"/>
                <a:gd name="T58" fmla="*/ 112 w 275"/>
                <a:gd name="T59" fmla="*/ 94 h 226"/>
                <a:gd name="T60" fmla="*/ 119 w 275"/>
                <a:gd name="T61" fmla="*/ 113 h 226"/>
                <a:gd name="T62" fmla="*/ 145 w 275"/>
                <a:gd name="T63" fmla="*/ 130 h 226"/>
                <a:gd name="T64" fmla="*/ 144 w 275"/>
                <a:gd name="T65" fmla="*/ 100 h 226"/>
                <a:gd name="T66" fmla="*/ 167 w 275"/>
                <a:gd name="T67" fmla="*/ 130 h 226"/>
                <a:gd name="T68" fmla="*/ 227 w 275"/>
                <a:gd name="T69" fmla="*/ 113 h 226"/>
                <a:gd name="T70" fmla="*/ 188 w 275"/>
                <a:gd name="T71" fmla="*/ 115 h 226"/>
                <a:gd name="T72" fmla="*/ 227 w 275"/>
                <a:gd name="T73" fmla="*/ 113 h 226"/>
                <a:gd name="T74" fmla="*/ 200 w 275"/>
                <a:gd name="T75" fmla="*/ 113 h 226"/>
                <a:gd name="T76" fmla="*/ 83 w 275"/>
                <a:gd name="T77" fmla="*/ 199 h 226"/>
                <a:gd name="T78" fmla="*/ 45 w 275"/>
                <a:gd name="T79" fmla="*/ 200 h 226"/>
                <a:gd name="T80" fmla="*/ 83 w 275"/>
                <a:gd name="T81" fmla="*/ 199 h 226"/>
                <a:gd name="T82" fmla="*/ 56 w 275"/>
                <a:gd name="T83" fmla="*/ 200 h 226"/>
                <a:gd name="T84" fmla="*/ 132 w 275"/>
                <a:gd name="T85" fmla="*/ 199 h 226"/>
                <a:gd name="T86" fmla="*/ 93 w 275"/>
                <a:gd name="T87" fmla="*/ 200 h 226"/>
                <a:gd name="T88" fmla="*/ 132 w 275"/>
                <a:gd name="T89" fmla="*/ 199 h 226"/>
                <a:gd name="T90" fmla="*/ 105 w 275"/>
                <a:gd name="T91" fmla="*/ 200 h 226"/>
                <a:gd name="T92" fmla="*/ 178 w 275"/>
                <a:gd name="T93" fmla="*/ 225 h 226"/>
                <a:gd name="T94" fmla="*/ 155 w 275"/>
                <a:gd name="T95" fmla="*/ 216 h 226"/>
                <a:gd name="T96" fmla="*/ 144 w 275"/>
                <a:gd name="T97" fmla="*/ 176 h 226"/>
                <a:gd name="T98" fmla="*/ 178 w 275"/>
                <a:gd name="T99" fmla="*/ 216 h 226"/>
                <a:gd name="T100" fmla="*/ 222 w 275"/>
                <a:gd name="T101" fmla="*/ 220 h 226"/>
                <a:gd name="T102" fmla="*/ 194 w 275"/>
                <a:gd name="T103" fmla="*/ 178 h 226"/>
                <a:gd name="T104" fmla="*/ 215 w 275"/>
                <a:gd name="T105" fmla="*/ 199 h 226"/>
                <a:gd name="T106" fmla="*/ 208 w 275"/>
                <a:gd name="T107" fmla="*/ 218 h 226"/>
                <a:gd name="T108" fmla="*/ 240 w 275"/>
                <a:gd name="T109" fmla="*/ 225 h 226"/>
                <a:gd name="T110" fmla="*/ 252 w 275"/>
                <a:gd name="T111" fmla="*/ 183 h 226"/>
                <a:gd name="T112" fmla="*/ 263 w 275"/>
                <a:gd name="T113" fmla="*/ 172 h 226"/>
                <a:gd name="T114" fmla="*/ 274 w 275"/>
                <a:gd name="T115" fmla="*/ 2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defTabSz="685845"/>
              <a:endParaRPr lang="en-US" sz="1324">
                <a:solidFill>
                  <a:srgbClr val="000000"/>
                </a:solidFill>
              </a:endParaRPr>
            </a:p>
          </p:txBody>
        </p:sp>
        <p:sp>
          <p:nvSpPr>
            <p:cNvPr id="7" name="icon GEARS"/>
            <p:cNvSpPr>
              <a:spLocks noEditPoints="1"/>
            </p:cNvSpPr>
            <p:nvPr/>
          </p:nvSpPr>
          <p:spPr bwMode="auto">
            <a:xfrm>
              <a:off x="11707277" y="6523798"/>
              <a:ext cx="454243" cy="378637"/>
            </a:xfrm>
            <a:custGeom>
              <a:avLst/>
              <a:gdLst>
                <a:gd name="T0" fmla="*/ 114 w 315"/>
                <a:gd name="T1" fmla="*/ 169 h 262"/>
                <a:gd name="T2" fmla="*/ 114 w 315"/>
                <a:gd name="T3" fmla="*/ 132 h 262"/>
                <a:gd name="T4" fmla="*/ 227 w 315"/>
                <a:gd name="T5" fmla="*/ 139 h 262"/>
                <a:gd name="T6" fmla="*/ 195 w 315"/>
                <a:gd name="T7" fmla="*/ 159 h 262"/>
                <a:gd name="T8" fmla="*/ 216 w 315"/>
                <a:gd name="T9" fmla="*/ 187 h 262"/>
                <a:gd name="T10" fmla="*/ 208 w 315"/>
                <a:gd name="T11" fmla="*/ 214 h 262"/>
                <a:gd name="T12" fmla="*/ 170 w 315"/>
                <a:gd name="T13" fmla="*/ 209 h 262"/>
                <a:gd name="T14" fmla="*/ 172 w 315"/>
                <a:gd name="T15" fmla="*/ 242 h 262"/>
                <a:gd name="T16" fmla="*/ 149 w 315"/>
                <a:gd name="T17" fmla="*/ 258 h 262"/>
                <a:gd name="T18" fmla="*/ 123 w 315"/>
                <a:gd name="T19" fmla="*/ 231 h 262"/>
                <a:gd name="T20" fmla="*/ 113 w 315"/>
                <a:gd name="T21" fmla="*/ 232 h 262"/>
                <a:gd name="T22" fmla="*/ 90 w 315"/>
                <a:gd name="T23" fmla="*/ 261 h 262"/>
                <a:gd name="T24" fmla="*/ 65 w 315"/>
                <a:gd name="T25" fmla="*/ 247 h 262"/>
                <a:gd name="T26" fmla="*/ 60 w 315"/>
                <a:gd name="T27" fmla="*/ 212 h 262"/>
                <a:gd name="T28" fmla="*/ 23 w 315"/>
                <a:gd name="T29" fmla="*/ 219 h 262"/>
                <a:gd name="T30" fmla="*/ 14 w 315"/>
                <a:gd name="T31" fmla="*/ 192 h 262"/>
                <a:gd name="T32" fmla="*/ 33 w 315"/>
                <a:gd name="T33" fmla="*/ 159 h 262"/>
                <a:gd name="T34" fmla="*/ 1 w 315"/>
                <a:gd name="T35" fmla="*/ 140 h 262"/>
                <a:gd name="T36" fmla="*/ 12 w 315"/>
                <a:gd name="T37" fmla="*/ 113 h 262"/>
                <a:gd name="T38" fmla="*/ 45 w 315"/>
                <a:gd name="T39" fmla="*/ 106 h 262"/>
                <a:gd name="T40" fmla="*/ 33 w 315"/>
                <a:gd name="T41" fmla="*/ 70 h 262"/>
                <a:gd name="T42" fmla="*/ 58 w 315"/>
                <a:gd name="T43" fmla="*/ 57 h 262"/>
                <a:gd name="T44" fmla="*/ 90 w 315"/>
                <a:gd name="T45" fmla="*/ 72 h 262"/>
                <a:gd name="T46" fmla="*/ 103 w 315"/>
                <a:gd name="T47" fmla="*/ 37 h 262"/>
                <a:gd name="T48" fmla="*/ 131 w 315"/>
                <a:gd name="T49" fmla="*/ 43 h 262"/>
                <a:gd name="T50" fmla="*/ 146 w 315"/>
                <a:gd name="T51" fmla="*/ 75 h 262"/>
                <a:gd name="T52" fmla="*/ 179 w 315"/>
                <a:gd name="T53" fmla="*/ 57 h 262"/>
                <a:gd name="T54" fmla="*/ 196 w 315"/>
                <a:gd name="T55" fmla="*/ 80 h 262"/>
                <a:gd name="T56" fmla="*/ 186 w 315"/>
                <a:gd name="T57" fmla="*/ 113 h 262"/>
                <a:gd name="T58" fmla="*/ 223 w 315"/>
                <a:gd name="T59" fmla="*/ 120 h 262"/>
                <a:gd name="T60" fmla="*/ 157 w 315"/>
                <a:gd name="T61" fmla="*/ 150 h 262"/>
                <a:gd name="T62" fmla="*/ 70 w 315"/>
                <a:gd name="T63" fmla="*/ 150 h 262"/>
                <a:gd name="T64" fmla="*/ 157 w 315"/>
                <a:gd name="T65" fmla="*/ 150 h 262"/>
                <a:gd name="T66" fmla="*/ 312 w 315"/>
                <a:gd name="T67" fmla="*/ 93 h 262"/>
                <a:gd name="T68" fmla="*/ 300 w 315"/>
                <a:gd name="T69" fmla="*/ 98 h 262"/>
                <a:gd name="T70" fmla="*/ 273 w 315"/>
                <a:gd name="T71" fmla="*/ 102 h 262"/>
                <a:gd name="T72" fmla="*/ 263 w 315"/>
                <a:gd name="T73" fmla="*/ 120 h 262"/>
                <a:gd name="T74" fmla="*/ 252 w 315"/>
                <a:gd name="T75" fmla="*/ 114 h 262"/>
                <a:gd name="T76" fmla="*/ 233 w 315"/>
                <a:gd name="T77" fmla="*/ 93 h 262"/>
                <a:gd name="T78" fmla="*/ 213 w 315"/>
                <a:gd name="T79" fmla="*/ 96 h 262"/>
                <a:gd name="T80" fmla="*/ 211 w 315"/>
                <a:gd name="T81" fmla="*/ 83 h 262"/>
                <a:gd name="T82" fmla="*/ 218 w 315"/>
                <a:gd name="T83" fmla="*/ 61 h 262"/>
                <a:gd name="T84" fmla="*/ 220 w 315"/>
                <a:gd name="T85" fmla="*/ 48 h 262"/>
                <a:gd name="T86" fmla="*/ 210 w 315"/>
                <a:gd name="T87" fmla="*/ 29 h 262"/>
                <a:gd name="T88" fmla="*/ 221 w 315"/>
                <a:gd name="T89" fmla="*/ 23 h 262"/>
                <a:gd name="T90" fmla="*/ 233 w 315"/>
                <a:gd name="T91" fmla="*/ 28 h 262"/>
                <a:gd name="T92" fmla="*/ 252 w 315"/>
                <a:gd name="T93" fmla="*/ 7 h 262"/>
                <a:gd name="T94" fmla="*/ 263 w 315"/>
                <a:gd name="T95" fmla="*/ 0 h 262"/>
                <a:gd name="T96" fmla="*/ 273 w 315"/>
                <a:gd name="T97" fmla="*/ 19 h 262"/>
                <a:gd name="T98" fmla="*/ 301 w 315"/>
                <a:gd name="T99" fmla="*/ 23 h 262"/>
                <a:gd name="T100" fmla="*/ 313 w 315"/>
                <a:gd name="T101" fmla="*/ 29 h 262"/>
                <a:gd name="T102" fmla="*/ 303 w 315"/>
                <a:gd name="T103" fmla="*/ 48 h 262"/>
                <a:gd name="T104" fmla="*/ 302 w 315"/>
                <a:gd name="T105" fmla="*/ 74 h 262"/>
                <a:gd name="T106" fmla="*/ 276 w 315"/>
                <a:gd name="T107" fmla="*/ 61 h 262"/>
                <a:gd name="T108" fmla="*/ 246 w 315"/>
                <a:gd name="T109" fmla="*/ 61 h 262"/>
                <a:gd name="T110" fmla="*/ 276 w 315"/>
                <a:gd name="T111" fmla="*/ 6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685845"/>
              <a:endParaRPr lang="en-US" sz="1324">
                <a:solidFill>
                  <a:srgbClr val="000000"/>
                </a:solidFill>
              </a:endParaRPr>
            </a:p>
          </p:txBody>
        </p:sp>
        <p:sp>
          <p:nvSpPr>
            <p:cNvPr id="8" name="Freeform 72"/>
            <p:cNvSpPr>
              <a:spLocks noEditPoints="1"/>
            </p:cNvSpPr>
            <p:nvPr/>
          </p:nvSpPr>
          <p:spPr bwMode="auto">
            <a:xfrm>
              <a:off x="10649888" y="6630565"/>
              <a:ext cx="155969" cy="155969"/>
            </a:xfrm>
            <a:custGeom>
              <a:avLst/>
              <a:gdLst>
                <a:gd name="T0" fmla="*/ 78 w 155"/>
                <a:gd name="T1" fmla="*/ 0 h 155"/>
                <a:gd name="T2" fmla="*/ 0 w 155"/>
                <a:gd name="T3" fmla="*/ 78 h 155"/>
                <a:gd name="T4" fmla="*/ 78 w 155"/>
                <a:gd name="T5" fmla="*/ 155 h 155"/>
                <a:gd name="T6" fmla="*/ 155 w 155"/>
                <a:gd name="T7" fmla="*/ 78 h 155"/>
                <a:gd name="T8" fmla="*/ 78 w 155"/>
                <a:gd name="T9" fmla="*/ 0 h 155"/>
                <a:gd name="T10" fmla="*/ 86 w 155"/>
                <a:gd name="T11" fmla="*/ 120 h 155"/>
                <a:gd name="T12" fmla="*/ 58 w 155"/>
                <a:gd name="T13" fmla="*/ 120 h 155"/>
                <a:gd name="T14" fmla="*/ 90 w 155"/>
                <a:gd name="T15" fmla="*/ 88 h 155"/>
                <a:gd name="T16" fmla="*/ 27 w 155"/>
                <a:gd name="T17" fmla="*/ 88 h 155"/>
                <a:gd name="T18" fmla="*/ 27 w 155"/>
                <a:gd name="T19" fmla="*/ 67 h 155"/>
                <a:gd name="T20" fmla="*/ 90 w 155"/>
                <a:gd name="T21" fmla="*/ 67 h 155"/>
                <a:gd name="T22" fmla="*/ 58 w 155"/>
                <a:gd name="T23" fmla="*/ 36 h 155"/>
                <a:gd name="T24" fmla="*/ 86 w 155"/>
                <a:gd name="T25" fmla="*/ 36 h 155"/>
                <a:gd name="T26" fmla="*/ 128 w 155"/>
                <a:gd name="T27" fmla="*/ 78 h 155"/>
                <a:gd name="T28" fmla="*/ 86 w 155"/>
                <a:gd name="T29" fmla="*/ 1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155">
                  <a:moveTo>
                    <a:pt x="78" y="0"/>
                  </a:moveTo>
                  <a:cubicBezTo>
                    <a:pt x="35" y="0"/>
                    <a:pt x="0" y="35"/>
                    <a:pt x="0" y="78"/>
                  </a:cubicBezTo>
                  <a:cubicBezTo>
                    <a:pt x="0" y="121"/>
                    <a:pt x="35" y="155"/>
                    <a:pt x="78" y="155"/>
                  </a:cubicBezTo>
                  <a:cubicBezTo>
                    <a:pt x="121" y="155"/>
                    <a:pt x="155" y="121"/>
                    <a:pt x="155" y="78"/>
                  </a:cubicBezTo>
                  <a:cubicBezTo>
                    <a:pt x="155" y="35"/>
                    <a:pt x="121" y="0"/>
                    <a:pt x="78" y="0"/>
                  </a:cubicBezTo>
                  <a:close/>
                  <a:moveTo>
                    <a:pt x="86" y="120"/>
                  </a:moveTo>
                  <a:cubicBezTo>
                    <a:pt x="58" y="120"/>
                    <a:pt x="58" y="120"/>
                    <a:pt x="58" y="120"/>
                  </a:cubicBezTo>
                  <a:cubicBezTo>
                    <a:pt x="90" y="88"/>
                    <a:pt x="90" y="88"/>
                    <a:pt x="90" y="88"/>
                  </a:cubicBezTo>
                  <a:cubicBezTo>
                    <a:pt x="27" y="88"/>
                    <a:pt x="27" y="88"/>
                    <a:pt x="27" y="88"/>
                  </a:cubicBezTo>
                  <a:cubicBezTo>
                    <a:pt x="27" y="67"/>
                    <a:pt x="27" y="67"/>
                    <a:pt x="27" y="67"/>
                  </a:cubicBezTo>
                  <a:cubicBezTo>
                    <a:pt x="90" y="67"/>
                    <a:pt x="90" y="67"/>
                    <a:pt x="90" y="67"/>
                  </a:cubicBezTo>
                  <a:cubicBezTo>
                    <a:pt x="58" y="36"/>
                    <a:pt x="58" y="36"/>
                    <a:pt x="58" y="36"/>
                  </a:cubicBezTo>
                  <a:cubicBezTo>
                    <a:pt x="86" y="36"/>
                    <a:pt x="86" y="36"/>
                    <a:pt x="86" y="36"/>
                  </a:cubicBezTo>
                  <a:cubicBezTo>
                    <a:pt x="128" y="78"/>
                    <a:pt x="128" y="78"/>
                    <a:pt x="128" y="78"/>
                  </a:cubicBezTo>
                  <a:lnTo>
                    <a:pt x="86" y="120"/>
                  </a:lnTo>
                  <a:close/>
                </a:path>
              </a:pathLst>
            </a:custGeom>
            <a:solidFill>
              <a:srgbClr val="D2D2D2"/>
            </a:solidFill>
            <a:ln>
              <a:noFill/>
            </a:ln>
          </p:spPr>
          <p:txBody>
            <a:bodyPr vert="horz" wrap="square" lIns="91440" tIns="45720" rIns="91440" bIns="45720" numCol="1" anchor="t" anchorCtr="0" compatLnSpc="1">
              <a:prstTxWarp prst="textNoShape">
                <a:avLst/>
              </a:prstTxWarp>
            </a:bodyPr>
            <a:lstStyle/>
            <a:p>
              <a:pPr defTabSz="672199"/>
              <a:endParaRPr lang="en-US" sz="1250">
                <a:solidFill>
                  <a:srgbClr val="000000"/>
                </a:solidFill>
              </a:endParaRPr>
            </a:p>
          </p:txBody>
        </p:sp>
        <p:sp>
          <p:nvSpPr>
            <p:cNvPr id="9" name="Freeform 72"/>
            <p:cNvSpPr>
              <a:spLocks noEditPoints="1"/>
            </p:cNvSpPr>
            <p:nvPr/>
          </p:nvSpPr>
          <p:spPr bwMode="auto">
            <a:xfrm>
              <a:off x="11375407" y="6630565"/>
              <a:ext cx="155969" cy="155969"/>
            </a:xfrm>
            <a:custGeom>
              <a:avLst/>
              <a:gdLst>
                <a:gd name="T0" fmla="*/ 78 w 155"/>
                <a:gd name="T1" fmla="*/ 0 h 155"/>
                <a:gd name="T2" fmla="*/ 0 w 155"/>
                <a:gd name="T3" fmla="*/ 78 h 155"/>
                <a:gd name="T4" fmla="*/ 78 w 155"/>
                <a:gd name="T5" fmla="*/ 155 h 155"/>
                <a:gd name="T6" fmla="*/ 155 w 155"/>
                <a:gd name="T7" fmla="*/ 78 h 155"/>
                <a:gd name="T8" fmla="*/ 78 w 155"/>
                <a:gd name="T9" fmla="*/ 0 h 155"/>
                <a:gd name="T10" fmla="*/ 86 w 155"/>
                <a:gd name="T11" fmla="*/ 120 h 155"/>
                <a:gd name="T12" fmla="*/ 58 w 155"/>
                <a:gd name="T13" fmla="*/ 120 h 155"/>
                <a:gd name="T14" fmla="*/ 90 w 155"/>
                <a:gd name="T15" fmla="*/ 88 h 155"/>
                <a:gd name="T16" fmla="*/ 27 w 155"/>
                <a:gd name="T17" fmla="*/ 88 h 155"/>
                <a:gd name="T18" fmla="*/ 27 w 155"/>
                <a:gd name="T19" fmla="*/ 67 h 155"/>
                <a:gd name="T20" fmla="*/ 90 w 155"/>
                <a:gd name="T21" fmla="*/ 67 h 155"/>
                <a:gd name="T22" fmla="*/ 58 w 155"/>
                <a:gd name="T23" fmla="*/ 36 h 155"/>
                <a:gd name="T24" fmla="*/ 86 w 155"/>
                <a:gd name="T25" fmla="*/ 36 h 155"/>
                <a:gd name="T26" fmla="*/ 128 w 155"/>
                <a:gd name="T27" fmla="*/ 78 h 155"/>
                <a:gd name="T28" fmla="*/ 86 w 155"/>
                <a:gd name="T29" fmla="*/ 1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155">
                  <a:moveTo>
                    <a:pt x="78" y="0"/>
                  </a:moveTo>
                  <a:cubicBezTo>
                    <a:pt x="35" y="0"/>
                    <a:pt x="0" y="35"/>
                    <a:pt x="0" y="78"/>
                  </a:cubicBezTo>
                  <a:cubicBezTo>
                    <a:pt x="0" y="121"/>
                    <a:pt x="35" y="155"/>
                    <a:pt x="78" y="155"/>
                  </a:cubicBezTo>
                  <a:cubicBezTo>
                    <a:pt x="121" y="155"/>
                    <a:pt x="155" y="121"/>
                    <a:pt x="155" y="78"/>
                  </a:cubicBezTo>
                  <a:cubicBezTo>
                    <a:pt x="155" y="35"/>
                    <a:pt x="121" y="0"/>
                    <a:pt x="78" y="0"/>
                  </a:cubicBezTo>
                  <a:close/>
                  <a:moveTo>
                    <a:pt x="86" y="120"/>
                  </a:moveTo>
                  <a:cubicBezTo>
                    <a:pt x="58" y="120"/>
                    <a:pt x="58" y="120"/>
                    <a:pt x="58" y="120"/>
                  </a:cubicBezTo>
                  <a:cubicBezTo>
                    <a:pt x="90" y="88"/>
                    <a:pt x="90" y="88"/>
                    <a:pt x="90" y="88"/>
                  </a:cubicBezTo>
                  <a:cubicBezTo>
                    <a:pt x="27" y="88"/>
                    <a:pt x="27" y="88"/>
                    <a:pt x="27" y="88"/>
                  </a:cubicBezTo>
                  <a:cubicBezTo>
                    <a:pt x="27" y="67"/>
                    <a:pt x="27" y="67"/>
                    <a:pt x="27" y="67"/>
                  </a:cubicBezTo>
                  <a:cubicBezTo>
                    <a:pt x="90" y="67"/>
                    <a:pt x="90" y="67"/>
                    <a:pt x="90" y="67"/>
                  </a:cubicBezTo>
                  <a:cubicBezTo>
                    <a:pt x="58" y="36"/>
                    <a:pt x="58" y="36"/>
                    <a:pt x="58" y="36"/>
                  </a:cubicBezTo>
                  <a:cubicBezTo>
                    <a:pt x="86" y="36"/>
                    <a:pt x="86" y="36"/>
                    <a:pt x="86" y="36"/>
                  </a:cubicBezTo>
                  <a:cubicBezTo>
                    <a:pt x="128" y="78"/>
                    <a:pt x="128" y="78"/>
                    <a:pt x="128" y="78"/>
                  </a:cubicBezTo>
                  <a:lnTo>
                    <a:pt x="86" y="120"/>
                  </a:lnTo>
                  <a:close/>
                </a:path>
              </a:pathLst>
            </a:custGeom>
            <a:solidFill>
              <a:srgbClr val="D2D2D2"/>
            </a:solidFill>
            <a:ln>
              <a:noFill/>
            </a:ln>
          </p:spPr>
          <p:txBody>
            <a:bodyPr vert="horz" wrap="square" lIns="91440" tIns="45720" rIns="91440" bIns="45720" numCol="1" anchor="t" anchorCtr="0" compatLnSpc="1">
              <a:prstTxWarp prst="textNoShape">
                <a:avLst/>
              </a:prstTxWarp>
            </a:bodyPr>
            <a:lstStyle/>
            <a:p>
              <a:pPr defTabSz="672199"/>
              <a:endParaRPr lang="en-US" sz="1250">
                <a:solidFill>
                  <a:srgbClr val="000000"/>
                </a:solidFill>
              </a:endParaRPr>
            </a:p>
          </p:txBody>
        </p:sp>
      </p:grpSp>
    </p:spTree>
    <p:extLst>
      <p:ext uri="{BB962C8B-B14F-4D97-AF65-F5344CB8AC3E}">
        <p14:creationId xmlns:p14="http://schemas.microsoft.com/office/powerpoint/2010/main" val="277048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3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01696" y="286381"/>
            <a:ext cx="8740142" cy="927940"/>
          </a:xfrm>
          <a:prstGeom prst="rect">
            <a:avLst/>
          </a:prstGeom>
        </p:spPr>
        <p:txBody>
          <a:bodyPr lIns="146304" tIns="91440" rIns="146304" bIns="91440"/>
          <a:lstStyle>
            <a:lvl1pPr algn="l">
              <a:defRPr sz="3824">
                <a:solidFill>
                  <a:schemeClr val="tx2"/>
                </a:solidFill>
                <a:latin typeface="+mj-lt"/>
              </a:defRPr>
            </a:lvl1pPr>
          </a:lstStyle>
          <a:p>
            <a:r>
              <a:rPr lang="en-US" dirty="0" smtClean="0"/>
              <a:t>Click to edit Master title style</a:t>
            </a:r>
            <a:endParaRPr lang="en-US" dirty="0"/>
          </a:p>
        </p:txBody>
      </p:sp>
      <p:grpSp>
        <p:nvGrpSpPr>
          <p:cNvPr id="4" name="Group 3"/>
          <p:cNvGrpSpPr/>
          <p:nvPr userDrawn="1"/>
        </p:nvGrpSpPr>
        <p:grpSpPr>
          <a:xfrm>
            <a:off x="7408441" y="6368202"/>
            <a:ext cx="1533397" cy="371246"/>
            <a:chOff x="10075994" y="6523798"/>
            <a:chExt cx="2085526" cy="378637"/>
          </a:xfrm>
        </p:grpSpPr>
        <p:sp>
          <p:nvSpPr>
            <p:cNvPr id="5" name="icon BULB"/>
            <p:cNvSpPr>
              <a:spLocks noEditPoints="1"/>
            </p:cNvSpPr>
            <p:nvPr/>
          </p:nvSpPr>
          <p:spPr bwMode="auto">
            <a:xfrm>
              <a:off x="10981759" y="6523798"/>
              <a:ext cx="217746" cy="34839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685845"/>
              <a:endParaRPr lang="en-US" sz="1324">
                <a:solidFill>
                  <a:srgbClr val="000000"/>
                </a:solidFill>
              </a:endParaRPr>
            </a:p>
          </p:txBody>
        </p:sp>
        <p:sp>
          <p:nvSpPr>
            <p:cNvPr id="6" name="icon  BINARY"/>
            <p:cNvSpPr>
              <a:spLocks noEditPoints="1"/>
            </p:cNvSpPr>
            <p:nvPr/>
          </p:nvSpPr>
          <p:spPr bwMode="auto">
            <a:xfrm>
              <a:off x="10075994" y="6534685"/>
              <a:ext cx="397992" cy="326620"/>
            </a:xfrm>
            <a:custGeom>
              <a:avLst/>
              <a:gdLst>
                <a:gd name="T0" fmla="*/ 64 w 275"/>
                <a:gd name="T1" fmla="*/ 55 h 226"/>
                <a:gd name="T2" fmla="*/ 65 w 275"/>
                <a:gd name="T3" fmla="*/ 0 h 226"/>
                <a:gd name="T4" fmla="*/ 64 w 275"/>
                <a:gd name="T5" fmla="*/ 9 h 226"/>
                <a:gd name="T6" fmla="*/ 72 w 275"/>
                <a:gd name="T7" fmla="*/ 28 h 226"/>
                <a:gd name="T8" fmla="*/ 96 w 275"/>
                <a:gd name="T9" fmla="*/ 45 h 226"/>
                <a:gd name="T10" fmla="*/ 96 w 275"/>
                <a:gd name="T11" fmla="*/ 15 h 226"/>
                <a:gd name="T12" fmla="*/ 119 w 275"/>
                <a:gd name="T13" fmla="*/ 45 h 226"/>
                <a:gd name="T14" fmla="*/ 178 w 275"/>
                <a:gd name="T15" fmla="*/ 54 h 226"/>
                <a:gd name="T16" fmla="*/ 155 w 275"/>
                <a:gd name="T17" fmla="*/ 45 h 226"/>
                <a:gd name="T18" fmla="*/ 144 w 275"/>
                <a:gd name="T19" fmla="*/ 5 h 226"/>
                <a:gd name="T20" fmla="*/ 178 w 275"/>
                <a:gd name="T21" fmla="*/ 45 h 226"/>
                <a:gd name="T22" fmla="*/ 222 w 275"/>
                <a:gd name="T23" fmla="*/ 48 h 226"/>
                <a:gd name="T24" fmla="*/ 194 w 275"/>
                <a:gd name="T25" fmla="*/ 7 h 226"/>
                <a:gd name="T26" fmla="*/ 215 w 275"/>
                <a:gd name="T27" fmla="*/ 28 h 226"/>
                <a:gd name="T28" fmla="*/ 208 w 275"/>
                <a:gd name="T29" fmla="*/ 46 h 226"/>
                <a:gd name="T30" fmla="*/ 269 w 275"/>
                <a:gd name="T31" fmla="*/ 48 h 226"/>
                <a:gd name="T32" fmla="*/ 242 w 275"/>
                <a:gd name="T33" fmla="*/ 7 h 226"/>
                <a:gd name="T34" fmla="*/ 263 w 275"/>
                <a:gd name="T35" fmla="*/ 28 h 226"/>
                <a:gd name="T36" fmla="*/ 256 w 275"/>
                <a:gd name="T37" fmla="*/ 46 h 226"/>
                <a:gd name="T38" fmla="*/ 0 w 275"/>
                <a:gd name="T39" fmla="*/ 140 h 226"/>
                <a:gd name="T40" fmla="*/ 11 w 275"/>
                <a:gd name="T41" fmla="*/ 98 h 226"/>
                <a:gd name="T42" fmla="*/ 23 w 275"/>
                <a:gd name="T43" fmla="*/ 85 h 226"/>
                <a:gd name="T44" fmla="*/ 34 w 275"/>
                <a:gd name="T45" fmla="*/ 140 h 226"/>
                <a:gd name="T46" fmla="*/ 64 w 275"/>
                <a:gd name="T47" fmla="*/ 141 h 226"/>
                <a:gd name="T48" fmla="*/ 65 w 275"/>
                <a:gd name="T49" fmla="*/ 85 h 226"/>
                <a:gd name="T50" fmla="*/ 64 w 275"/>
                <a:gd name="T51" fmla="*/ 94 h 226"/>
                <a:gd name="T52" fmla="*/ 71 w 275"/>
                <a:gd name="T53" fmla="*/ 113 h 226"/>
                <a:gd name="T54" fmla="*/ 111 w 275"/>
                <a:gd name="T55" fmla="*/ 141 h 226"/>
                <a:gd name="T56" fmla="*/ 112 w 275"/>
                <a:gd name="T57" fmla="*/ 85 h 226"/>
                <a:gd name="T58" fmla="*/ 112 w 275"/>
                <a:gd name="T59" fmla="*/ 94 h 226"/>
                <a:gd name="T60" fmla="*/ 119 w 275"/>
                <a:gd name="T61" fmla="*/ 113 h 226"/>
                <a:gd name="T62" fmla="*/ 145 w 275"/>
                <a:gd name="T63" fmla="*/ 130 h 226"/>
                <a:gd name="T64" fmla="*/ 144 w 275"/>
                <a:gd name="T65" fmla="*/ 100 h 226"/>
                <a:gd name="T66" fmla="*/ 167 w 275"/>
                <a:gd name="T67" fmla="*/ 130 h 226"/>
                <a:gd name="T68" fmla="*/ 227 w 275"/>
                <a:gd name="T69" fmla="*/ 113 h 226"/>
                <a:gd name="T70" fmla="*/ 188 w 275"/>
                <a:gd name="T71" fmla="*/ 115 h 226"/>
                <a:gd name="T72" fmla="*/ 227 w 275"/>
                <a:gd name="T73" fmla="*/ 113 h 226"/>
                <a:gd name="T74" fmla="*/ 200 w 275"/>
                <a:gd name="T75" fmla="*/ 113 h 226"/>
                <a:gd name="T76" fmla="*/ 83 w 275"/>
                <a:gd name="T77" fmla="*/ 199 h 226"/>
                <a:gd name="T78" fmla="*/ 45 w 275"/>
                <a:gd name="T79" fmla="*/ 200 h 226"/>
                <a:gd name="T80" fmla="*/ 83 w 275"/>
                <a:gd name="T81" fmla="*/ 199 h 226"/>
                <a:gd name="T82" fmla="*/ 56 w 275"/>
                <a:gd name="T83" fmla="*/ 200 h 226"/>
                <a:gd name="T84" fmla="*/ 132 w 275"/>
                <a:gd name="T85" fmla="*/ 199 h 226"/>
                <a:gd name="T86" fmla="*/ 93 w 275"/>
                <a:gd name="T87" fmla="*/ 200 h 226"/>
                <a:gd name="T88" fmla="*/ 132 w 275"/>
                <a:gd name="T89" fmla="*/ 199 h 226"/>
                <a:gd name="T90" fmla="*/ 105 w 275"/>
                <a:gd name="T91" fmla="*/ 200 h 226"/>
                <a:gd name="T92" fmla="*/ 178 w 275"/>
                <a:gd name="T93" fmla="*/ 225 h 226"/>
                <a:gd name="T94" fmla="*/ 155 w 275"/>
                <a:gd name="T95" fmla="*/ 216 h 226"/>
                <a:gd name="T96" fmla="*/ 144 w 275"/>
                <a:gd name="T97" fmla="*/ 176 h 226"/>
                <a:gd name="T98" fmla="*/ 178 w 275"/>
                <a:gd name="T99" fmla="*/ 216 h 226"/>
                <a:gd name="T100" fmla="*/ 222 w 275"/>
                <a:gd name="T101" fmla="*/ 220 h 226"/>
                <a:gd name="T102" fmla="*/ 194 w 275"/>
                <a:gd name="T103" fmla="*/ 178 h 226"/>
                <a:gd name="T104" fmla="*/ 215 w 275"/>
                <a:gd name="T105" fmla="*/ 199 h 226"/>
                <a:gd name="T106" fmla="*/ 208 w 275"/>
                <a:gd name="T107" fmla="*/ 218 h 226"/>
                <a:gd name="T108" fmla="*/ 240 w 275"/>
                <a:gd name="T109" fmla="*/ 225 h 226"/>
                <a:gd name="T110" fmla="*/ 252 w 275"/>
                <a:gd name="T111" fmla="*/ 183 h 226"/>
                <a:gd name="T112" fmla="*/ 263 w 275"/>
                <a:gd name="T113" fmla="*/ 172 h 226"/>
                <a:gd name="T114" fmla="*/ 274 w 275"/>
                <a:gd name="T115" fmla="*/ 2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defTabSz="685845"/>
              <a:endParaRPr lang="en-US" sz="1324">
                <a:solidFill>
                  <a:srgbClr val="000000"/>
                </a:solidFill>
              </a:endParaRPr>
            </a:p>
          </p:txBody>
        </p:sp>
        <p:sp>
          <p:nvSpPr>
            <p:cNvPr id="7" name="icon GEARS"/>
            <p:cNvSpPr>
              <a:spLocks noEditPoints="1"/>
            </p:cNvSpPr>
            <p:nvPr/>
          </p:nvSpPr>
          <p:spPr bwMode="auto">
            <a:xfrm>
              <a:off x="11707277" y="6523798"/>
              <a:ext cx="454243" cy="378637"/>
            </a:xfrm>
            <a:custGeom>
              <a:avLst/>
              <a:gdLst>
                <a:gd name="T0" fmla="*/ 114 w 315"/>
                <a:gd name="T1" fmla="*/ 169 h 262"/>
                <a:gd name="T2" fmla="*/ 114 w 315"/>
                <a:gd name="T3" fmla="*/ 132 h 262"/>
                <a:gd name="T4" fmla="*/ 227 w 315"/>
                <a:gd name="T5" fmla="*/ 139 h 262"/>
                <a:gd name="T6" fmla="*/ 195 w 315"/>
                <a:gd name="T7" fmla="*/ 159 h 262"/>
                <a:gd name="T8" fmla="*/ 216 w 315"/>
                <a:gd name="T9" fmla="*/ 187 h 262"/>
                <a:gd name="T10" fmla="*/ 208 w 315"/>
                <a:gd name="T11" fmla="*/ 214 h 262"/>
                <a:gd name="T12" fmla="*/ 170 w 315"/>
                <a:gd name="T13" fmla="*/ 209 h 262"/>
                <a:gd name="T14" fmla="*/ 172 w 315"/>
                <a:gd name="T15" fmla="*/ 242 h 262"/>
                <a:gd name="T16" fmla="*/ 149 w 315"/>
                <a:gd name="T17" fmla="*/ 258 h 262"/>
                <a:gd name="T18" fmla="*/ 123 w 315"/>
                <a:gd name="T19" fmla="*/ 231 h 262"/>
                <a:gd name="T20" fmla="*/ 113 w 315"/>
                <a:gd name="T21" fmla="*/ 232 h 262"/>
                <a:gd name="T22" fmla="*/ 90 w 315"/>
                <a:gd name="T23" fmla="*/ 261 h 262"/>
                <a:gd name="T24" fmla="*/ 65 w 315"/>
                <a:gd name="T25" fmla="*/ 247 h 262"/>
                <a:gd name="T26" fmla="*/ 60 w 315"/>
                <a:gd name="T27" fmla="*/ 212 h 262"/>
                <a:gd name="T28" fmla="*/ 23 w 315"/>
                <a:gd name="T29" fmla="*/ 219 h 262"/>
                <a:gd name="T30" fmla="*/ 14 w 315"/>
                <a:gd name="T31" fmla="*/ 192 h 262"/>
                <a:gd name="T32" fmla="*/ 33 w 315"/>
                <a:gd name="T33" fmla="*/ 159 h 262"/>
                <a:gd name="T34" fmla="*/ 1 w 315"/>
                <a:gd name="T35" fmla="*/ 140 h 262"/>
                <a:gd name="T36" fmla="*/ 12 w 315"/>
                <a:gd name="T37" fmla="*/ 113 h 262"/>
                <a:gd name="T38" fmla="*/ 45 w 315"/>
                <a:gd name="T39" fmla="*/ 106 h 262"/>
                <a:gd name="T40" fmla="*/ 33 w 315"/>
                <a:gd name="T41" fmla="*/ 70 h 262"/>
                <a:gd name="T42" fmla="*/ 58 w 315"/>
                <a:gd name="T43" fmla="*/ 57 h 262"/>
                <a:gd name="T44" fmla="*/ 90 w 315"/>
                <a:gd name="T45" fmla="*/ 72 h 262"/>
                <a:gd name="T46" fmla="*/ 103 w 315"/>
                <a:gd name="T47" fmla="*/ 37 h 262"/>
                <a:gd name="T48" fmla="*/ 131 w 315"/>
                <a:gd name="T49" fmla="*/ 43 h 262"/>
                <a:gd name="T50" fmla="*/ 146 w 315"/>
                <a:gd name="T51" fmla="*/ 75 h 262"/>
                <a:gd name="T52" fmla="*/ 179 w 315"/>
                <a:gd name="T53" fmla="*/ 57 h 262"/>
                <a:gd name="T54" fmla="*/ 196 w 315"/>
                <a:gd name="T55" fmla="*/ 80 h 262"/>
                <a:gd name="T56" fmla="*/ 186 w 315"/>
                <a:gd name="T57" fmla="*/ 113 h 262"/>
                <a:gd name="T58" fmla="*/ 223 w 315"/>
                <a:gd name="T59" fmla="*/ 120 h 262"/>
                <a:gd name="T60" fmla="*/ 157 w 315"/>
                <a:gd name="T61" fmla="*/ 150 h 262"/>
                <a:gd name="T62" fmla="*/ 70 w 315"/>
                <a:gd name="T63" fmla="*/ 150 h 262"/>
                <a:gd name="T64" fmla="*/ 157 w 315"/>
                <a:gd name="T65" fmla="*/ 150 h 262"/>
                <a:gd name="T66" fmla="*/ 312 w 315"/>
                <a:gd name="T67" fmla="*/ 93 h 262"/>
                <a:gd name="T68" fmla="*/ 300 w 315"/>
                <a:gd name="T69" fmla="*/ 98 h 262"/>
                <a:gd name="T70" fmla="*/ 273 w 315"/>
                <a:gd name="T71" fmla="*/ 102 h 262"/>
                <a:gd name="T72" fmla="*/ 263 w 315"/>
                <a:gd name="T73" fmla="*/ 120 h 262"/>
                <a:gd name="T74" fmla="*/ 252 w 315"/>
                <a:gd name="T75" fmla="*/ 114 h 262"/>
                <a:gd name="T76" fmla="*/ 233 w 315"/>
                <a:gd name="T77" fmla="*/ 93 h 262"/>
                <a:gd name="T78" fmla="*/ 213 w 315"/>
                <a:gd name="T79" fmla="*/ 96 h 262"/>
                <a:gd name="T80" fmla="*/ 211 w 315"/>
                <a:gd name="T81" fmla="*/ 83 h 262"/>
                <a:gd name="T82" fmla="*/ 218 w 315"/>
                <a:gd name="T83" fmla="*/ 61 h 262"/>
                <a:gd name="T84" fmla="*/ 220 w 315"/>
                <a:gd name="T85" fmla="*/ 48 h 262"/>
                <a:gd name="T86" fmla="*/ 210 w 315"/>
                <a:gd name="T87" fmla="*/ 29 h 262"/>
                <a:gd name="T88" fmla="*/ 221 w 315"/>
                <a:gd name="T89" fmla="*/ 23 h 262"/>
                <a:gd name="T90" fmla="*/ 233 w 315"/>
                <a:gd name="T91" fmla="*/ 28 h 262"/>
                <a:gd name="T92" fmla="*/ 252 w 315"/>
                <a:gd name="T93" fmla="*/ 7 h 262"/>
                <a:gd name="T94" fmla="*/ 263 w 315"/>
                <a:gd name="T95" fmla="*/ 0 h 262"/>
                <a:gd name="T96" fmla="*/ 273 w 315"/>
                <a:gd name="T97" fmla="*/ 19 h 262"/>
                <a:gd name="T98" fmla="*/ 301 w 315"/>
                <a:gd name="T99" fmla="*/ 23 h 262"/>
                <a:gd name="T100" fmla="*/ 313 w 315"/>
                <a:gd name="T101" fmla="*/ 29 h 262"/>
                <a:gd name="T102" fmla="*/ 303 w 315"/>
                <a:gd name="T103" fmla="*/ 48 h 262"/>
                <a:gd name="T104" fmla="*/ 302 w 315"/>
                <a:gd name="T105" fmla="*/ 74 h 262"/>
                <a:gd name="T106" fmla="*/ 276 w 315"/>
                <a:gd name="T107" fmla="*/ 61 h 262"/>
                <a:gd name="T108" fmla="*/ 246 w 315"/>
                <a:gd name="T109" fmla="*/ 61 h 262"/>
                <a:gd name="T110" fmla="*/ 276 w 315"/>
                <a:gd name="T111" fmla="*/ 6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685845"/>
              <a:endParaRPr lang="en-US" sz="1324">
                <a:solidFill>
                  <a:srgbClr val="000000"/>
                </a:solidFill>
              </a:endParaRPr>
            </a:p>
          </p:txBody>
        </p:sp>
        <p:sp>
          <p:nvSpPr>
            <p:cNvPr id="8" name="Freeform 72"/>
            <p:cNvSpPr>
              <a:spLocks noEditPoints="1"/>
            </p:cNvSpPr>
            <p:nvPr/>
          </p:nvSpPr>
          <p:spPr bwMode="auto">
            <a:xfrm>
              <a:off x="10649888" y="6630565"/>
              <a:ext cx="155969" cy="155969"/>
            </a:xfrm>
            <a:custGeom>
              <a:avLst/>
              <a:gdLst>
                <a:gd name="T0" fmla="*/ 78 w 155"/>
                <a:gd name="T1" fmla="*/ 0 h 155"/>
                <a:gd name="T2" fmla="*/ 0 w 155"/>
                <a:gd name="T3" fmla="*/ 78 h 155"/>
                <a:gd name="T4" fmla="*/ 78 w 155"/>
                <a:gd name="T5" fmla="*/ 155 h 155"/>
                <a:gd name="T6" fmla="*/ 155 w 155"/>
                <a:gd name="T7" fmla="*/ 78 h 155"/>
                <a:gd name="T8" fmla="*/ 78 w 155"/>
                <a:gd name="T9" fmla="*/ 0 h 155"/>
                <a:gd name="T10" fmla="*/ 86 w 155"/>
                <a:gd name="T11" fmla="*/ 120 h 155"/>
                <a:gd name="T12" fmla="*/ 58 w 155"/>
                <a:gd name="T13" fmla="*/ 120 h 155"/>
                <a:gd name="T14" fmla="*/ 90 w 155"/>
                <a:gd name="T15" fmla="*/ 88 h 155"/>
                <a:gd name="T16" fmla="*/ 27 w 155"/>
                <a:gd name="T17" fmla="*/ 88 h 155"/>
                <a:gd name="T18" fmla="*/ 27 w 155"/>
                <a:gd name="T19" fmla="*/ 67 h 155"/>
                <a:gd name="T20" fmla="*/ 90 w 155"/>
                <a:gd name="T21" fmla="*/ 67 h 155"/>
                <a:gd name="T22" fmla="*/ 58 w 155"/>
                <a:gd name="T23" fmla="*/ 36 h 155"/>
                <a:gd name="T24" fmla="*/ 86 w 155"/>
                <a:gd name="T25" fmla="*/ 36 h 155"/>
                <a:gd name="T26" fmla="*/ 128 w 155"/>
                <a:gd name="T27" fmla="*/ 78 h 155"/>
                <a:gd name="T28" fmla="*/ 86 w 155"/>
                <a:gd name="T29" fmla="*/ 1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155">
                  <a:moveTo>
                    <a:pt x="78" y="0"/>
                  </a:moveTo>
                  <a:cubicBezTo>
                    <a:pt x="35" y="0"/>
                    <a:pt x="0" y="35"/>
                    <a:pt x="0" y="78"/>
                  </a:cubicBezTo>
                  <a:cubicBezTo>
                    <a:pt x="0" y="121"/>
                    <a:pt x="35" y="155"/>
                    <a:pt x="78" y="155"/>
                  </a:cubicBezTo>
                  <a:cubicBezTo>
                    <a:pt x="121" y="155"/>
                    <a:pt x="155" y="121"/>
                    <a:pt x="155" y="78"/>
                  </a:cubicBezTo>
                  <a:cubicBezTo>
                    <a:pt x="155" y="35"/>
                    <a:pt x="121" y="0"/>
                    <a:pt x="78" y="0"/>
                  </a:cubicBezTo>
                  <a:close/>
                  <a:moveTo>
                    <a:pt x="86" y="120"/>
                  </a:moveTo>
                  <a:cubicBezTo>
                    <a:pt x="58" y="120"/>
                    <a:pt x="58" y="120"/>
                    <a:pt x="58" y="120"/>
                  </a:cubicBezTo>
                  <a:cubicBezTo>
                    <a:pt x="90" y="88"/>
                    <a:pt x="90" y="88"/>
                    <a:pt x="90" y="88"/>
                  </a:cubicBezTo>
                  <a:cubicBezTo>
                    <a:pt x="27" y="88"/>
                    <a:pt x="27" y="88"/>
                    <a:pt x="27" y="88"/>
                  </a:cubicBezTo>
                  <a:cubicBezTo>
                    <a:pt x="27" y="67"/>
                    <a:pt x="27" y="67"/>
                    <a:pt x="27" y="67"/>
                  </a:cubicBezTo>
                  <a:cubicBezTo>
                    <a:pt x="90" y="67"/>
                    <a:pt x="90" y="67"/>
                    <a:pt x="90" y="67"/>
                  </a:cubicBezTo>
                  <a:cubicBezTo>
                    <a:pt x="58" y="36"/>
                    <a:pt x="58" y="36"/>
                    <a:pt x="58" y="36"/>
                  </a:cubicBezTo>
                  <a:cubicBezTo>
                    <a:pt x="86" y="36"/>
                    <a:pt x="86" y="36"/>
                    <a:pt x="86" y="36"/>
                  </a:cubicBezTo>
                  <a:cubicBezTo>
                    <a:pt x="128" y="78"/>
                    <a:pt x="128" y="78"/>
                    <a:pt x="128" y="78"/>
                  </a:cubicBezTo>
                  <a:lnTo>
                    <a:pt x="86" y="120"/>
                  </a:lnTo>
                  <a:close/>
                </a:path>
              </a:pathLst>
            </a:custGeom>
            <a:solidFill>
              <a:srgbClr val="D2D2D2"/>
            </a:solidFill>
            <a:ln>
              <a:noFill/>
            </a:ln>
          </p:spPr>
          <p:txBody>
            <a:bodyPr vert="horz" wrap="square" lIns="91440" tIns="45720" rIns="91440" bIns="45720" numCol="1" anchor="t" anchorCtr="0" compatLnSpc="1">
              <a:prstTxWarp prst="textNoShape">
                <a:avLst/>
              </a:prstTxWarp>
            </a:bodyPr>
            <a:lstStyle/>
            <a:p>
              <a:pPr defTabSz="672199"/>
              <a:endParaRPr lang="en-US" sz="1250">
                <a:solidFill>
                  <a:srgbClr val="000000"/>
                </a:solidFill>
              </a:endParaRPr>
            </a:p>
          </p:txBody>
        </p:sp>
        <p:sp>
          <p:nvSpPr>
            <p:cNvPr id="9" name="Freeform 72"/>
            <p:cNvSpPr>
              <a:spLocks noEditPoints="1"/>
            </p:cNvSpPr>
            <p:nvPr/>
          </p:nvSpPr>
          <p:spPr bwMode="auto">
            <a:xfrm>
              <a:off x="11375407" y="6630565"/>
              <a:ext cx="155969" cy="155969"/>
            </a:xfrm>
            <a:custGeom>
              <a:avLst/>
              <a:gdLst>
                <a:gd name="T0" fmla="*/ 78 w 155"/>
                <a:gd name="T1" fmla="*/ 0 h 155"/>
                <a:gd name="T2" fmla="*/ 0 w 155"/>
                <a:gd name="T3" fmla="*/ 78 h 155"/>
                <a:gd name="T4" fmla="*/ 78 w 155"/>
                <a:gd name="T5" fmla="*/ 155 h 155"/>
                <a:gd name="T6" fmla="*/ 155 w 155"/>
                <a:gd name="T7" fmla="*/ 78 h 155"/>
                <a:gd name="T8" fmla="*/ 78 w 155"/>
                <a:gd name="T9" fmla="*/ 0 h 155"/>
                <a:gd name="T10" fmla="*/ 86 w 155"/>
                <a:gd name="T11" fmla="*/ 120 h 155"/>
                <a:gd name="T12" fmla="*/ 58 w 155"/>
                <a:gd name="T13" fmla="*/ 120 h 155"/>
                <a:gd name="T14" fmla="*/ 90 w 155"/>
                <a:gd name="T15" fmla="*/ 88 h 155"/>
                <a:gd name="T16" fmla="*/ 27 w 155"/>
                <a:gd name="T17" fmla="*/ 88 h 155"/>
                <a:gd name="T18" fmla="*/ 27 w 155"/>
                <a:gd name="T19" fmla="*/ 67 h 155"/>
                <a:gd name="T20" fmla="*/ 90 w 155"/>
                <a:gd name="T21" fmla="*/ 67 h 155"/>
                <a:gd name="T22" fmla="*/ 58 w 155"/>
                <a:gd name="T23" fmla="*/ 36 h 155"/>
                <a:gd name="T24" fmla="*/ 86 w 155"/>
                <a:gd name="T25" fmla="*/ 36 h 155"/>
                <a:gd name="T26" fmla="*/ 128 w 155"/>
                <a:gd name="T27" fmla="*/ 78 h 155"/>
                <a:gd name="T28" fmla="*/ 86 w 155"/>
                <a:gd name="T29" fmla="*/ 1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155">
                  <a:moveTo>
                    <a:pt x="78" y="0"/>
                  </a:moveTo>
                  <a:cubicBezTo>
                    <a:pt x="35" y="0"/>
                    <a:pt x="0" y="35"/>
                    <a:pt x="0" y="78"/>
                  </a:cubicBezTo>
                  <a:cubicBezTo>
                    <a:pt x="0" y="121"/>
                    <a:pt x="35" y="155"/>
                    <a:pt x="78" y="155"/>
                  </a:cubicBezTo>
                  <a:cubicBezTo>
                    <a:pt x="121" y="155"/>
                    <a:pt x="155" y="121"/>
                    <a:pt x="155" y="78"/>
                  </a:cubicBezTo>
                  <a:cubicBezTo>
                    <a:pt x="155" y="35"/>
                    <a:pt x="121" y="0"/>
                    <a:pt x="78" y="0"/>
                  </a:cubicBezTo>
                  <a:close/>
                  <a:moveTo>
                    <a:pt x="86" y="120"/>
                  </a:moveTo>
                  <a:cubicBezTo>
                    <a:pt x="58" y="120"/>
                    <a:pt x="58" y="120"/>
                    <a:pt x="58" y="120"/>
                  </a:cubicBezTo>
                  <a:cubicBezTo>
                    <a:pt x="90" y="88"/>
                    <a:pt x="90" y="88"/>
                    <a:pt x="90" y="88"/>
                  </a:cubicBezTo>
                  <a:cubicBezTo>
                    <a:pt x="27" y="88"/>
                    <a:pt x="27" y="88"/>
                    <a:pt x="27" y="88"/>
                  </a:cubicBezTo>
                  <a:cubicBezTo>
                    <a:pt x="27" y="67"/>
                    <a:pt x="27" y="67"/>
                    <a:pt x="27" y="67"/>
                  </a:cubicBezTo>
                  <a:cubicBezTo>
                    <a:pt x="90" y="67"/>
                    <a:pt x="90" y="67"/>
                    <a:pt x="90" y="67"/>
                  </a:cubicBezTo>
                  <a:cubicBezTo>
                    <a:pt x="58" y="36"/>
                    <a:pt x="58" y="36"/>
                    <a:pt x="58" y="36"/>
                  </a:cubicBezTo>
                  <a:cubicBezTo>
                    <a:pt x="86" y="36"/>
                    <a:pt x="86" y="36"/>
                    <a:pt x="86" y="36"/>
                  </a:cubicBezTo>
                  <a:cubicBezTo>
                    <a:pt x="128" y="78"/>
                    <a:pt x="128" y="78"/>
                    <a:pt x="128" y="78"/>
                  </a:cubicBezTo>
                  <a:lnTo>
                    <a:pt x="86" y="120"/>
                  </a:lnTo>
                  <a:close/>
                </a:path>
              </a:pathLst>
            </a:custGeom>
            <a:solidFill>
              <a:srgbClr val="D2D2D2"/>
            </a:solidFill>
            <a:ln>
              <a:noFill/>
            </a:ln>
          </p:spPr>
          <p:txBody>
            <a:bodyPr vert="horz" wrap="square" lIns="91440" tIns="45720" rIns="91440" bIns="45720" numCol="1" anchor="t" anchorCtr="0" compatLnSpc="1">
              <a:prstTxWarp prst="textNoShape">
                <a:avLst/>
              </a:prstTxWarp>
            </a:bodyPr>
            <a:lstStyle/>
            <a:p>
              <a:pPr defTabSz="672199"/>
              <a:endParaRPr lang="en-US" sz="1250">
                <a:solidFill>
                  <a:srgbClr val="000000"/>
                </a:solidFill>
              </a:endParaRPr>
            </a:p>
          </p:txBody>
        </p:sp>
      </p:grpSp>
    </p:spTree>
    <p:extLst>
      <p:ext uri="{BB962C8B-B14F-4D97-AF65-F5344CB8AC3E}">
        <p14:creationId xmlns:p14="http://schemas.microsoft.com/office/powerpoint/2010/main" val="1731592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en-US"/>
          </a:p>
        </p:txBody>
      </p:sp>
      <p:sp>
        <p:nvSpPr>
          <p:cNvPr id="4" name="Date Placeholder 3"/>
          <p:cNvSpPr>
            <a:spLocks noGrp="1"/>
          </p:cNvSpPr>
          <p:nvPr>
            <p:ph type="dt" sz="half" idx="10"/>
          </p:nvPr>
        </p:nvSpPr>
        <p:spPr/>
        <p:txBody>
          <a:bodyPr/>
          <a:lstStyle/>
          <a:p>
            <a:pPr>
              <a:defRPr/>
            </a:pPr>
            <a:fld id="{564AAA12-A3C3-4638-BF22-3780D84D689F}" type="datetime1">
              <a:rPr lang="en-US" altLang="zh-TW" smtClean="0"/>
              <a:t>8/5/2015</a:t>
            </a:fld>
            <a:endParaRPr lang="en-US"/>
          </a:p>
        </p:txBody>
      </p:sp>
      <p:sp>
        <p:nvSpPr>
          <p:cNvPr id="5" name="Footer Placeholder 4"/>
          <p:cNvSpPr>
            <a:spLocks noGrp="1"/>
          </p:cNvSpPr>
          <p:nvPr>
            <p:ph type="ftr" sz="quarter" idx="11"/>
          </p:nvPr>
        </p:nvSpPr>
        <p:spPr/>
        <p:txBody>
          <a:bodyPr/>
          <a:lstStyle/>
          <a:p>
            <a:pPr>
              <a:defRPr/>
            </a:pPr>
            <a:endParaRPr lang="zh-CN" altLang="en-US"/>
          </a:p>
        </p:txBody>
      </p:sp>
      <p:sp>
        <p:nvSpPr>
          <p:cNvPr id="6" name="Slide Number Placeholder 5"/>
          <p:cNvSpPr>
            <a:spLocks noGrp="1"/>
          </p:cNvSpPr>
          <p:nvPr>
            <p:ph type="sldNum" sz="quarter" idx="12"/>
          </p:nvPr>
        </p:nvSpPr>
        <p:spPr/>
        <p:txBody>
          <a:bodyPr/>
          <a:lstStyle/>
          <a:p>
            <a:pPr>
              <a:defRPr/>
            </a:pPr>
            <a:fld id="{1D9970BA-2F58-4996-9806-696110DA0FEA}" type="slidenum">
              <a:rPr lang="en-US" smtClean="0"/>
              <a:pPr>
                <a:defRPr/>
              </a:pPr>
              <a:t>‹#›</a:t>
            </a:fld>
            <a:endParaRPr lang="zh-CN" altLang="en-US"/>
          </a:p>
        </p:txBody>
      </p:sp>
      <p:sp>
        <p:nvSpPr>
          <p:cNvPr id="7" name="Title 6"/>
          <p:cNvSpPr>
            <a:spLocks noGrp="1"/>
          </p:cNvSpPr>
          <p:nvPr>
            <p:ph type="title"/>
          </p:nvPr>
        </p:nvSpPr>
        <p:spPr/>
        <p:txBody>
          <a:bodyPr/>
          <a:lstStyle/>
          <a:p>
            <a:r>
              <a:rPr lang="zh-TW" altLang="en-US" smtClean="0"/>
              <a:t>按一下以編輯母片標題樣式</a:t>
            </a:r>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4" name="Text Placeholder 2"/>
          <p:cNvSpPr>
            <a:spLocks noGrp="1"/>
          </p:cNvSpPr>
          <p:nvPr>
            <p:ph type="body" sz="quarter" idx="13" hasCustomPrompt="1"/>
          </p:nvPr>
        </p:nvSpPr>
        <p:spPr>
          <a:xfrm>
            <a:off x="201615" y="6383097"/>
            <a:ext cx="8740775" cy="182807"/>
          </a:xfrm>
        </p:spPr>
        <p:txBody>
          <a:bodyPr anchor="b" anchorCtr="0">
            <a:spAutoFit/>
          </a:bodyPr>
          <a:lstStyle>
            <a:lvl1pPr>
              <a:spcBef>
                <a:spcPts val="0"/>
              </a:spcBef>
              <a:defRPr sz="588" b="0">
                <a:solidFill>
                  <a:schemeClr val="tx1"/>
                </a:solidFill>
                <a:latin typeface="+mn-lt"/>
              </a:defRPr>
            </a:lvl1pPr>
            <a:lvl2pPr>
              <a:defRPr sz="588" b="0">
                <a:solidFill>
                  <a:schemeClr val="tx1"/>
                </a:solidFill>
              </a:defRPr>
            </a:lvl2pPr>
            <a:lvl3pPr>
              <a:defRPr sz="588" b="0">
                <a:solidFill>
                  <a:schemeClr val="tx1"/>
                </a:solidFill>
              </a:defRPr>
            </a:lvl3pPr>
            <a:lvl4pPr>
              <a:defRPr sz="588" b="0">
                <a:solidFill>
                  <a:schemeClr val="tx1"/>
                </a:solidFill>
              </a:defRPr>
            </a:lvl4pPr>
            <a:lvl5pPr>
              <a:defRPr sz="588" b="0">
                <a:solidFill>
                  <a:schemeClr val="tx1"/>
                </a:solidFill>
              </a:defRPr>
            </a:lvl5pPr>
          </a:lstStyle>
          <a:p>
            <a:pPr lvl="0"/>
            <a:r>
              <a:rPr lang="en-US" dirty="0" smtClean="0"/>
              <a:t>Footnote</a:t>
            </a:r>
          </a:p>
        </p:txBody>
      </p:sp>
    </p:spTree>
    <p:extLst>
      <p:ext uri="{BB962C8B-B14F-4D97-AF65-F5344CB8AC3E}">
        <p14:creationId xmlns:p14="http://schemas.microsoft.com/office/powerpoint/2010/main" val="302992176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ay Content Area">
    <p:spTree>
      <p:nvGrpSpPr>
        <p:cNvPr id="1" name=""/>
        <p:cNvGrpSpPr/>
        <p:nvPr/>
      </p:nvGrpSpPr>
      <p:grpSpPr>
        <a:xfrm>
          <a:off x="0" y="0"/>
          <a:ext cx="0" cy="0"/>
          <a:chOff x="0" y="0"/>
          <a:chExt cx="0" cy="0"/>
        </a:xfrm>
      </p:grpSpPr>
      <p:sp>
        <p:nvSpPr>
          <p:cNvPr id="7" name="Rectangle 5"/>
          <p:cNvSpPr>
            <a:spLocks noChangeArrowheads="1"/>
          </p:cNvSpPr>
          <p:nvPr userDrawn="1"/>
        </p:nvSpPr>
        <p:spPr bwMode="auto">
          <a:xfrm>
            <a:off x="0" y="1"/>
            <a:ext cx="9144000" cy="6477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800" b="0">
              <a:solidFill>
                <a:srgbClr val="FFFFFF"/>
              </a:solidFill>
              <a:ea typeface="ＭＳ Ｐゴシック" pitchFamily="-111" charset="-128"/>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4" name="Date Placeholder 3"/>
          <p:cNvSpPr>
            <a:spLocks noGrp="1"/>
          </p:cNvSpPr>
          <p:nvPr>
            <p:ph type="dt" sz="half" idx="10"/>
          </p:nvPr>
        </p:nvSpPr>
        <p:spPr/>
        <p:txBody>
          <a:bodyPr/>
          <a:lstStyle/>
          <a:p>
            <a:fld id="{781B85E9-1403-4890-8D44-9F14F91B6CA1}" type="datetime1">
              <a:rPr lang="en-US" altLang="zh-TW" smtClean="0">
                <a:solidFill>
                  <a:prstClr val="white"/>
                </a:solidFill>
              </a:rPr>
              <a:t>8/5/2015</a:t>
            </a:fld>
            <a:endParaRPr lang="en-US" dirty="0">
              <a:solidFill>
                <a:prstClr val="white"/>
              </a:solidFill>
            </a:endParaRPr>
          </a:p>
        </p:txBody>
      </p:sp>
      <p:sp>
        <p:nvSpPr>
          <p:cNvPr id="5" name="Footer Placeholder 4"/>
          <p:cNvSpPr>
            <a:spLocks noGrp="1"/>
          </p:cNvSpPr>
          <p:nvPr>
            <p:ph type="ftr" sz="quarter" idx="11"/>
          </p:nvPr>
        </p:nvSpPr>
        <p:spPr/>
        <p:txBody>
          <a:bodyPr/>
          <a:lstStyle/>
          <a:p>
            <a:endParaRPr lang="en-US">
              <a:solidFill>
                <a:prstClr val="white"/>
              </a:solidFill>
            </a:endParaRPr>
          </a:p>
        </p:txBody>
      </p:sp>
      <p:sp>
        <p:nvSpPr>
          <p:cNvPr id="6" name="Slide Number Placeholder 5"/>
          <p:cNvSpPr>
            <a:spLocks noGrp="1"/>
          </p:cNvSpPr>
          <p:nvPr>
            <p:ph type="sldNum" sz="quarter" idx="12"/>
          </p:nvPr>
        </p:nvSpPr>
        <p:spPr/>
        <p:txBody>
          <a:bodyPr/>
          <a:lstStyle/>
          <a:p>
            <a:pPr algn="ctr"/>
            <a:fld id="{90156F56-D5AE-4C6F-B826-C69D1BC521BB}" type="slidenum">
              <a:rPr lang="en-US" smtClean="0">
                <a:solidFill>
                  <a:prstClr val="white"/>
                </a:solidFill>
              </a:rPr>
              <a:pPr algn="ctr"/>
              <a:t>‹#›</a:t>
            </a:fld>
            <a:endParaRPr lang="en-US" dirty="0">
              <a:solidFill>
                <a:prstClr val="white"/>
              </a:solidFill>
            </a:endParaRPr>
          </a:p>
        </p:txBody>
      </p:sp>
    </p:spTree>
    <p:extLst>
      <p:ext uri="{BB962C8B-B14F-4D97-AF65-F5344CB8AC3E}">
        <p14:creationId xmlns:p14="http://schemas.microsoft.com/office/powerpoint/2010/main" val="2534674235"/>
      </p:ext>
    </p:extLst>
  </p:cSld>
  <p:clrMapOvr>
    <a:masterClrMapping/>
  </p:clrMapOvr>
  <p:transition spd="slow">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13" name="Picture 2" descr="C:\Users\apacanza\Downloads\TW_Background_Cloud.jp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r="17386"/>
          <a:stretch/>
        </p:blipFill>
        <p:spPr bwMode="auto">
          <a:xfrm flipH="1">
            <a:off x="0" y="12701"/>
            <a:ext cx="9144000" cy="6862652"/>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userDrawn="1"/>
        </p:nvSpPr>
        <p:spPr>
          <a:xfrm>
            <a:off x="2" y="3693052"/>
            <a:ext cx="7055893" cy="1044222"/>
          </a:xfrm>
          <a:prstGeom prst="rect">
            <a:avLst/>
          </a:prstGeom>
          <a:solidFill>
            <a:schemeClr val="bg2">
              <a:lumMod val="25000"/>
              <a:alpha val="33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800" b="0">
              <a:solidFill>
                <a:prstClr val="white"/>
              </a:solidFill>
            </a:endParaRPr>
          </a:p>
        </p:txBody>
      </p:sp>
      <p:sp>
        <p:nvSpPr>
          <p:cNvPr id="2" name="Title 1"/>
          <p:cNvSpPr>
            <a:spLocks noGrp="1"/>
          </p:cNvSpPr>
          <p:nvPr>
            <p:ph type="ctrTitle"/>
          </p:nvPr>
        </p:nvSpPr>
        <p:spPr>
          <a:xfrm>
            <a:off x="126173" y="3858288"/>
            <a:ext cx="6779597" cy="430887"/>
          </a:xfrm>
        </p:spPr>
        <p:txBody>
          <a:bodyPr wrap="square" lIns="0" tIns="0" rIns="0" bIns="0">
            <a:spAutoFit/>
          </a:bodyPr>
          <a:lstStyle>
            <a:lvl1pPr>
              <a:defRPr sz="28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26170" y="4324353"/>
            <a:ext cx="6806893" cy="307777"/>
          </a:xfrm>
        </p:spPr>
        <p:txBody>
          <a:bodyPr wrap="square" lIns="0" tIns="0" rIns="0" bIns="0">
            <a:spAutoFit/>
          </a:bodyPr>
          <a:lstStyle>
            <a:lvl1pPr marL="0" indent="0" algn="l">
              <a:buNone/>
              <a:defRPr sz="2000">
                <a:solidFill>
                  <a:schemeClr val="tx1">
                    <a:tint val="75000"/>
                  </a:schemeClr>
                </a:solidFill>
                <a:latin typeface="Adobe Clean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6" name="Picture 15" descr="adobe_logo_tab_top_78.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190312" y="1"/>
            <a:ext cx="485522" cy="802978"/>
          </a:xfrm>
          <a:prstGeom prst="rect">
            <a:avLst/>
          </a:prstGeom>
          <a:effectLst>
            <a:glow rad="228600">
              <a:schemeClr val="tx1">
                <a:alpha val="40000"/>
              </a:schemeClr>
            </a:glow>
          </a:effectLst>
        </p:spPr>
      </p:pic>
    </p:spTree>
    <p:extLst>
      <p:ext uri="{BB962C8B-B14F-4D97-AF65-F5344CB8AC3E}">
        <p14:creationId xmlns:p14="http://schemas.microsoft.com/office/powerpoint/2010/main" val="1872705317"/>
      </p:ext>
    </p:extLst>
  </p:cSld>
  <p:clrMapOvr>
    <a:masterClrMapping/>
  </p:clrMapOvr>
  <p:transition spd="slow">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2_White -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Date Placeholder 3"/>
          <p:cNvSpPr>
            <a:spLocks noGrp="1"/>
          </p:cNvSpPr>
          <p:nvPr>
            <p:ph type="dt" sz="half" idx="10"/>
          </p:nvPr>
        </p:nvSpPr>
        <p:spPr/>
        <p:txBody>
          <a:bodyPr/>
          <a:lstStyle/>
          <a:p>
            <a:fld id="{2CD5D541-CF73-4DE9-9836-F6D29AD3F108}" type="datetime1">
              <a:rPr lang="en-US" altLang="zh-TW" smtClean="0">
                <a:solidFill>
                  <a:prstClr val="white"/>
                </a:solidFill>
              </a:rPr>
              <a:t>8/5/2015</a:t>
            </a:fld>
            <a:endParaRPr lang="en-US" dirty="0">
              <a:solidFill>
                <a:prstClr val="white"/>
              </a:solidFill>
            </a:endParaRPr>
          </a:p>
        </p:txBody>
      </p:sp>
      <p:sp>
        <p:nvSpPr>
          <p:cNvPr id="5" name="Footer Placeholder 4"/>
          <p:cNvSpPr>
            <a:spLocks noGrp="1"/>
          </p:cNvSpPr>
          <p:nvPr>
            <p:ph type="ftr" sz="quarter" idx="11"/>
          </p:nvPr>
        </p:nvSpPr>
        <p:spPr/>
        <p:txBody>
          <a:bodyPr/>
          <a:lstStyle/>
          <a:p>
            <a:endParaRPr lang="en-US">
              <a:solidFill>
                <a:prstClr val="white"/>
              </a:solidFill>
            </a:endParaRPr>
          </a:p>
        </p:txBody>
      </p:sp>
      <p:sp>
        <p:nvSpPr>
          <p:cNvPr id="6" name="Slide Number Placeholder 5"/>
          <p:cNvSpPr>
            <a:spLocks noGrp="1"/>
          </p:cNvSpPr>
          <p:nvPr>
            <p:ph type="sldNum" sz="quarter" idx="12"/>
          </p:nvPr>
        </p:nvSpPr>
        <p:spPr/>
        <p:txBody>
          <a:bodyPr/>
          <a:lstStyle/>
          <a:p>
            <a:pPr algn="ctr"/>
            <a:fld id="{90156F56-D5AE-4C6F-B826-C69D1BC521BB}" type="slidenum">
              <a:rPr lang="en-US" smtClean="0">
                <a:solidFill>
                  <a:prstClr val="white"/>
                </a:solidFill>
              </a:rPr>
              <a:pPr algn="ctr"/>
              <a:t>‹#›</a:t>
            </a:fld>
            <a:endParaRPr lang="en-US" dirty="0">
              <a:solidFill>
                <a:prstClr val="white"/>
              </a:solidFill>
            </a:endParaRPr>
          </a:p>
        </p:txBody>
      </p:sp>
      <p:pic>
        <p:nvPicPr>
          <p:cNvPr id="10" name="Picture 2" descr="C:\Users\apacanza\Downloads\TW_Background_Cloud.jp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flipH="1">
            <a:off x="0" y="778104"/>
            <a:ext cx="9144000" cy="5669516"/>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flipH="1">
            <a:off x="0" y="765410"/>
            <a:ext cx="9144000" cy="5669515"/>
          </a:xfrm>
          <a:prstGeom prst="rect">
            <a:avLst/>
          </a:prstGeom>
          <a:solidFill>
            <a:srgbClr val="0000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a:solidFill>
                <a:prstClr val="white"/>
              </a:solidFill>
            </a:endParaRPr>
          </a:p>
        </p:txBody>
      </p:sp>
    </p:spTree>
    <p:extLst>
      <p:ext uri="{BB962C8B-B14F-4D97-AF65-F5344CB8AC3E}">
        <p14:creationId xmlns:p14="http://schemas.microsoft.com/office/powerpoint/2010/main" val="4267668507"/>
      </p:ext>
    </p:extLst>
  </p:cSld>
  <p:clrMapOvr>
    <a:masterClrMapping/>
  </p:clrMapOvr>
  <p:transition spd="slow">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Black Content Are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Date Placeholder 3"/>
          <p:cNvSpPr>
            <a:spLocks noGrp="1"/>
          </p:cNvSpPr>
          <p:nvPr>
            <p:ph type="dt" sz="half" idx="10"/>
          </p:nvPr>
        </p:nvSpPr>
        <p:spPr/>
        <p:txBody>
          <a:bodyPr/>
          <a:lstStyle/>
          <a:p>
            <a:fld id="{2DB75175-29B9-422F-B666-F82A3A2587EE}" type="datetime1">
              <a:rPr lang="en-US" altLang="zh-TW" smtClean="0">
                <a:solidFill>
                  <a:prstClr val="white"/>
                </a:solidFill>
                <a:latin typeface="Adobe Clean"/>
              </a:rPr>
              <a:t>8/5/2015</a:t>
            </a:fld>
            <a:endParaRPr lang="en-US" dirty="0">
              <a:solidFill>
                <a:prstClr val="white"/>
              </a:solidFill>
              <a:latin typeface="Adobe Clean"/>
            </a:endParaRPr>
          </a:p>
        </p:txBody>
      </p:sp>
      <p:sp>
        <p:nvSpPr>
          <p:cNvPr id="5" name="Footer Placeholder 4"/>
          <p:cNvSpPr>
            <a:spLocks noGrp="1"/>
          </p:cNvSpPr>
          <p:nvPr>
            <p:ph type="ftr" sz="quarter" idx="11"/>
          </p:nvPr>
        </p:nvSpPr>
        <p:spPr/>
        <p:txBody>
          <a:bodyPr/>
          <a:lstStyle/>
          <a:p>
            <a:endParaRPr lang="en-US">
              <a:solidFill>
                <a:prstClr val="white"/>
              </a:solidFill>
              <a:latin typeface="Adobe Clean"/>
            </a:endParaRPr>
          </a:p>
        </p:txBody>
      </p:sp>
      <p:sp>
        <p:nvSpPr>
          <p:cNvPr id="6" name="Slide Number Placeholder 5"/>
          <p:cNvSpPr>
            <a:spLocks noGrp="1"/>
          </p:cNvSpPr>
          <p:nvPr>
            <p:ph type="sldNum" sz="quarter" idx="12"/>
          </p:nvPr>
        </p:nvSpPr>
        <p:spPr/>
        <p:txBody>
          <a:bodyPr/>
          <a:lstStyle/>
          <a:p>
            <a:pPr algn="ctr"/>
            <a:fld id="{90156F56-D5AE-4C6F-B826-C69D1BC521BB}" type="slidenum">
              <a:rPr lang="en-US" smtClean="0">
                <a:solidFill>
                  <a:prstClr val="white"/>
                </a:solidFill>
                <a:latin typeface="Adobe Clean"/>
              </a:rPr>
              <a:pPr algn="ctr"/>
              <a:t>‹#›</a:t>
            </a:fld>
            <a:endParaRPr lang="en-US" dirty="0">
              <a:solidFill>
                <a:prstClr val="white"/>
              </a:solidFill>
              <a:latin typeface="Adobe Clean"/>
            </a:endParaRPr>
          </a:p>
        </p:txBody>
      </p:sp>
      <p:sp>
        <p:nvSpPr>
          <p:cNvPr id="7" name="Rectangle 5"/>
          <p:cNvSpPr>
            <a:spLocks noChangeArrowheads="1"/>
          </p:cNvSpPr>
          <p:nvPr userDrawn="1"/>
        </p:nvSpPr>
        <p:spPr bwMode="auto">
          <a:xfrm>
            <a:off x="0" y="781051"/>
            <a:ext cx="9144000" cy="5661025"/>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800" b="0">
              <a:solidFill>
                <a:srgbClr val="FFFFFF"/>
              </a:solidFill>
              <a:ea typeface="ＭＳ Ｐゴシック" pitchFamily="-111" charset="-128"/>
            </a:endParaRPr>
          </a:p>
        </p:txBody>
      </p:sp>
    </p:spTree>
    <p:extLst>
      <p:ext uri="{BB962C8B-B14F-4D97-AF65-F5344CB8AC3E}">
        <p14:creationId xmlns:p14="http://schemas.microsoft.com/office/powerpoint/2010/main" val="1389160311"/>
      </p:ext>
    </p:extLst>
  </p:cSld>
  <p:clrMapOvr>
    <a:masterClrMapping/>
  </p:clrMapOvr>
  <p:transition spd="slow">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cSld name="White_end_slide">
    <p:spTree>
      <p:nvGrpSpPr>
        <p:cNvPr id="1" name=""/>
        <p:cNvGrpSpPr/>
        <p:nvPr/>
      </p:nvGrpSpPr>
      <p:grpSpPr>
        <a:xfrm>
          <a:off x="0" y="0"/>
          <a:ext cx="0" cy="0"/>
          <a:chOff x="0" y="0"/>
          <a:chExt cx="0" cy="0"/>
        </a:xfrm>
      </p:grpSpPr>
      <p:sp>
        <p:nvSpPr>
          <p:cNvPr id="4" name="Rectangle 5"/>
          <p:cNvSpPr>
            <a:spLocks noChangeArrowheads="1"/>
          </p:cNvSpPr>
          <p:nvPr/>
        </p:nvSpPr>
        <p:spPr bwMode="auto">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9" tIns="45720" rIns="91439" bIns="45720" anchor="ctr"/>
          <a:lstStyle/>
          <a:p>
            <a:pPr algn="ctr"/>
            <a:endParaRPr lang="en-US" sz="1800" b="0">
              <a:solidFill>
                <a:srgbClr val="FFFFFF"/>
              </a:solidFill>
              <a:ea typeface="ＭＳ Ｐゴシック" pitchFamily="-111" charset="-128"/>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0944" y="2447346"/>
            <a:ext cx="1061128" cy="1947672"/>
          </a:xfrm>
          <a:prstGeom prst="rect">
            <a:avLst/>
          </a:prstGeom>
        </p:spPr>
      </p:pic>
    </p:spTree>
    <p:extLst>
      <p:ext uri="{BB962C8B-B14F-4D97-AF65-F5344CB8AC3E}">
        <p14:creationId xmlns:p14="http://schemas.microsoft.com/office/powerpoint/2010/main" val="3838276590"/>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0626" y="3356293"/>
            <a:ext cx="8366320" cy="747641"/>
          </a:xfrm>
        </p:spPr>
        <p:txBody>
          <a:bodyPr anchor="b" anchorCtr="0"/>
          <a:lstStyle>
            <a:lvl1pPr>
              <a:defRPr sz="5398" spc="-113" baseline="0">
                <a:gradFill>
                  <a:gsLst>
                    <a:gs pos="1250">
                      <a:schemeClr val="bg1"/>
                    </a:gs>
                    <a:gs pos="100000">
                      <a:schemeClr val="bg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390626" y="4656433"/>
            <a:ext cx="8366320" cy="498598"/>
          </a:xfrm>
        </p:spPr>
        <p:txBody>
          <a:bodyPr>
            <a:noAutofit/>
          </a:bodyPr>
          <a:lstStyle>
            <a:lvl1pPr marL="0" indent="0">
              <a:spcBef>
                <a:spcPts val="0"/>
              </a:spcBef>
              <a:buNone/>
              <a:defRPr spc="-52" baseline="0">
                <a:gradFill>
                  <a:gsLst>
                    <a:gs pos="0">
                      <a:schemeClr val="bg1"/>
                    </a:gs>
                    <a:gs pos="100000">
                      <a:schemeClr val="bg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3494399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Pr>
        <a:solidFill>
          <a:schemeClr val="accent1"/>
        </a:solidFill>
        <a:effectLst/>
      </p:bgPr>
    </p:bg>
    <p:spTree>
      <p:nvGrpSpPr>
        <p:cNvPr id="1" name=""/>
        <p:cNvGrpSpPr/>
        <p:nvPr/>
      </p:nvGrpSpPr>
      <p:grpSpPr>
        <a:xfrm>
          <a:off x="0" y="0"/>
          <a:ext cx="0" cy="0"/>
          <a:chOff x="0" y="0"/>
          <a:chExt cx="0" cy="0"/>
        </a:xfrm>
      </p:grpSpPr>
      <p:pic>
        <p:nvPicPr>
          <p:cNvPr id="6" name="Picture 2"/>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r="-305"/>
          <a:stretch/>
        </p:blipFill>
        <p:spPr bwMode="ltGray">
          <a:xfrm>
            <a:off x="288143" y="749644"/>
            <a:ext cx="3864810" cy="53556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useBgFill="1">
        <p:nvSpPr>
          <p:cNvPr id="4" name="Rectangle 1"/>
          <p:cNvSpPr/>
          <p:nvPr userDrawn="1"/>
        </p:nvSpPr>
        <p:spPr bwMode="auto">
          <a:xfrm>
            <a:off x="-95" y="0"/>
            <a:ext cx="9144096" cy="6858000"/>
          </a:xfrm>
          <a:custGeom>
            <a:avLst/>
            <a:gdLst/>
            <a:ahLst/>
            <a:cxnLst/>
            <a:rect l="l" t="t" r="r" b="b"/>
            <a:pathLst>
              <a:path w="12188952" h="6858000">
                <a:moveTo>
                  <a:pt x="514344" y="919950"/>
                </a:moveTo>
                <a:cubicBezTo>
                  <a:pt x="508127" y="2575229"/>
                  <a:pt x="516335" y="4288195"/>
                  <a:pt x="510118" y="5943474"/>
                </a:cubicBezTo>
                <a:lnTo>
                  <a:pt x="5537327" y="5218261"/>
                </a:lnTo>
                <a:cubicBezTo>
                  <a:pt x="5531110" y="4020361"/>
                  <a:pt x="5530863" y="2808040"/>
                  <a:pt x="5524646" y="1610140"/>
                </a:cubicBezTo>
                <a:close/>
                <a:moveTo>
                  <a:pt x="0" y="0"/>
                </a:moveTo>
                <a:lnTo>
                  <a:pt x="12188952" y="0"/>
                </a:lnTo>
                <a:lnTo>
                  <a:pt x="12188952" y="6858000"/>
                </a:lnTo>
                <a:lnTo>
                  <a:pt x="0" y="6858000"/>
                </a:ln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51" tIns="34275" rIns="68551" bIns="34275" numCol="1" rtlCol="0" anchor="ctr" anchorCtr="0" compatLnSpc="1">
            <a:prstTxWarp prst="textNoShape">
              <a:avLst/>
            </a:prstTxWarp>
          </a:bodyPr>
          <a:lstStyle/>
          <a:p>
            <a:pPr algn="ctr" defTabSz="685314">
              <a:lnSpc>
                <a:spcPct val="90000"/>
              </a:lnSpc>
            </a:pPr>
            <a:endParaRPr lang="en-US" sz="1500" b="0" spc="-38" dirty="0" smtClean="0">
              <a:gradFill>
                <a:gsLst>
                  <a:gs pos="0">
                    <a:srgbClr val="EFEFEF"/>
                  </a:gs>
                  <a:gs pos="100000">
                    <a:srgbClr val="EFEFEF"/>
                  </a:gs>
                </a:gsLst>
                <a:lin ang="5400000" scaled="0"/>
              </a:gradFill>
            </a:endParaRPr>
          </a:p>
        </p:txBody>
      </p:sp>
      <p:sp>
        <p:nvSpPr>
          <p:cNvPr id="2" name="Title 1"/>
          <p:cNvSpPr>
            <a:spLocks noGrp="1"/>
          </p:cNvSpPr>
          <p:nvPr>
            <p:ph type="title" hasCustomPrompt="1"/>
          </p:nvPr>
        </p:nvSpPr>
        <p:spPr>
          <a:xfrm>
            <a:off x="4569619" y="2608656"/>
            <a:ext cx="4187328" cy="1495281"/>
          </a:xfrm>
        </p:spPr>
        <p:txBody>
          <a:bodyPr anchor="b" anchorCtr="0"/>
          <a:lstStyle>
            <a:lvl1pPr>
              <a:defRPr sz="5398" spc="-113" baseline="0">
                <a:gradFill>
                  <a:gsLst>
                    <a:gs pos="1250">
                      <a:schemeClr val="bg1"/>
                    </a:gs>
                    <a:gs pos="100000">
                      <a:schemeClr val="bg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4569619" y="4419600"/>
            <a:ext cx="4187328" cy="498598"/>
          </a:xfrm>
        </p:spPr>
        <p:txBody>
          <a:bodyPr>
            <a:noAutofit/>
          </a:bodyPr>
          <a:lstStyle>
            <a:lvl1pPr marL="0" indent="0">
              <a:spcBef>
                <a:spcPts val="0"/>
              </a:spcBef>
              <a:buNone/>
              <a:defRPr sz="2100" spc="-52" baseline="0">
                <a:gradFill>
                  <a:gsLst>
                    <a:gs pos="1250">
                      <a:schemeClr val="bg1"/>
                    </a:gs>
                    <a:gs pos="100000">
                      <a:schemeClr val="bg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3480854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0626" y="3356293"/>
            <a:ext cx="8366320" cy="747641"/>
          </a:xfrm>
        </p:spPr>
        <p:txBody>
          <a:bodyPr anchor="b" anchorCtr="0"/>
          <a:lstStyle>
            <a:lvl1pPr>
              <a:defRPr sz="5398" spc="-113" baseline="0">
                <a:gradFill>
                  <a:gsLst>
                    <a:gs pos="1250">
                      <a:schemeClr val="accent1"/>
                    </a:gs>
                    <a:gs pos="100000">
                      <a:schemeClr val="accent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390626" y="4656433"/>
            <a:ext cx="8366320" cy="498598"/>
          </a:xfrm>
        </p:spPr>
        <p:txBody>
          <a:bodyPr>
            <a:noAutofit/>
          </a:bodyPr>
          <a:lstStyle>
            <a:lvl1pPr marL="0" indent="0">
              <a:spcBef>
                <a:spcPts val="0"/>
              </a:spcBef>
              <a:buNone/>
              <a:defRPr spc="-52" baseline="0">
                <a:gradFill>
                  <a:gsLst>
                    <a:gs pos="1250">
                      <a:schemeClr val="accent1"/>
                    </a:gs>
                    <a:gs pos="100000">
                      <a:schemeClr val="accent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3636307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Title Slide_Option 4">
    <p:bg>
      <p:bgPr>
        <a:solidFill>
          <a:srgbClr val="FFFFFF"/>
        </a:solidFill>
        <a:effectLst/>
      </p:bgPr>
    </p:bg>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r="-305"/>
          <a:stretch/>
        </p:blipFill>
        <p:spPr bwMode="ltGray">
          <a:xfrm>
            <a:off x="288143" y="749644"/>
            <a:ext cx="3864810" cy="53556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useBgFill="1">
        <p:nvSpPr>
          <p:cNvPr id="4" name="Rectangle 1"/>
          <p:cNvSpPr/>
          <p:nvPr userDrawn="1"/>
        </p:nvSpPr>
        <p:spPr bwMode="auto">
          <a:xfrm>
            <a:off x="-95" y="0"/>
            <a:ext cx="9144096" cy="6858000"/>
          </a:xfrm>
          <a:custGeom>
            <a:avLst/>
            <a:gdLst/>
            <a:ahLst/>
            <a:cxnLst/>
            <a:rect l="l" t="t" r="r" b="b"/>
            <a:pathLst>
              <a:path w="12188952" h="6858000">
                <a:moveTo>
                  <a:pt x="514344" y="919950"/>
                </a:moveTo>
                <a:cubicBezTo>
                  <a:pt x="508127" y="2575229"/>
                  <a:pt x="516335" y="4288195"/>
                  <a:pt x="510118" y="5943474"/>
                </a:cubicBezTo>
                <a:lnTo>
                  <a:pt x="5537327" y="5218261"/>
                </a:lnTo>
                <a:cubicBezTo>
                  <a:pt x="5531110" y="4020361"/>
                  <a:pt x="5530863" y="2808040"/>
                  <a:pt x="5524646" y="1610140"/>
                </a:cubicBezTo>
                <a:close/>
                <a:moveTo>
                  <a:pt x="0" y="0"/>
                </a:moveTo>
                <a:lnTo>
                  <a:pt x="12188952" y="0"/>
                </a:lnTo>
                <a:lnTo>
                  <a:pt x="12188952" y="6858000"/>
                </a:lnTo>
                <a:lnTo>
                  <a:pt x="0" y="6858000"/>
                </a:ln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51" tIns="34275" rIns="68551" bIns="34275" numCol="1" rtlCol="0" anchor="ctr" anchorCtr="0" compatLnSpc="1">
            <a:prstTxWarp prst="textNoShape">
              <a:avLst/>
            </a:prstTxWarp>
          </a:bodyPr>
          <a:lstStyle/>
          <a:p>
            <a:pPr algn="ctr" defTabSz="685314">
              <a:lnSpc>
                <a:spcPct val="90000"/>
              </a:lnSpc>
            </a:pPr>
            <a:endParaRPr lang="en-US" sz="1500" b="0" spc="-38" dirty="0" smtClean="0">
              <a:gradFill>
                <a:gsLst>
                  <a:gs pos="0">
                    <a:srgbClr val="EFEFEF"/>
                  </a:gs>
                  <a:gs pos="100000">
                    <a:srgbClr val="EFEFEF"/>
                  </a:gs>
                </a:gsLst>
                <a:lin ang="5400000" scaled="0"/>
              </a:gradFill>
            </a:endParaRPr>
          </a:p>
        </p:txBody>
      </p:sp>
      <p:sp>
        <p:nvSpPr>
          <p:cNvPr id="2" name="Title 1"/>
          <p:cNvSpPr>
            <a:spLocks noGrp="1"/>
          </p:cNvSpPr>
          <p:nvPr>
            <p:ph type="title" hasCustomPrompt="1"/>
          </p:nvPr>
        </p:nvSpPr>
        <p:spPr>
          <a:xfrm>
            <a:off x="4569619" y="2608656"/>
            <a:ext cx="4187328" cy="1495281"/>
          </a:xfrm>
        </p:spPr>
        <p:txBody>
          <a:bodyPr anchor="b" anchorCtr="0"/>
          <a:lstStyle>
            <a:lvl1pPr>
              <a:defRPr sz="5398" spc="-113" baseline="0">
                <a:gradFill>
                  <a:gsLst>
                    <a:gs pos="1250">
                      <a:schemeClr val="accent1"/>
                    </a:gs>
                    <a:gs pos="100000">
                      <a:schemeClr val="accent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4569619" y="4419600"/>
            <a:ext cx="4187328" cy="498598"/>
          </a:xfrm>
        </p:spPr>
        <p:txBody>
          <a:bodyPr>
            <a:noAutofit/>
          </a:bodyPr>
          <a:lstStyle>
            <a:lvl1pPr marL="0" indent="0">
              <a:spcBef>
                <a:spcPts val="0"/>
              </a:spcBef>
              <a:buNone/>
              <a:defRPr sz="2100" spc="-52" baseline="0">
                <a:gradFill>
                  <a:gsLst>
                    <a:gs pos="1250">
                      <a:schemeClr val="accent1"/>
                    </a:gs>
                    <a:gs pos="100000">
                      <a:schemeClr val="accent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5943703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14" name="Rounded Rectangle 13"/>
          <p:cNvSpPr/>
          <p:nvPr/>
        </p:nvSpPr>
        <p:spPr>
          <a:xfrm>
            <a:off x="228600" y="228600"/>
            <a:ext cx="8695944" cy="4736592"/>
          </a:xfrm>
          <a:prstGeom prst="roundRect">
            <a:avLst>
              <a:gd name="adj" fmla="val 1272"/>
            </a:avLst>
          </a:prstGeom>
          <a:gradFill>
            <a:gsLst>
              <a:gs pos="0">
                <a:schemeClr val="accent1">
                  <a:lumMod val="75000"/>
                </a:schemeClr>
              </a:gs>
              <a:gs pos="10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14"/>
          <p:cNvSpPr>
            <a:spLocks/>
          </p:cNvSpPr>
          <p:nvPr/>
        </p:nvSpPr>
        <p:spPr bwMode="hidden">
          <a:xfrm>
            <a:off x="6047438" y="4203592"/>
            <a:ext cx="2876429" cy="714026"/>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18"/>
          <p:cNvSpPr>
            <a:spLocks/>
          </p:cNvSpPr>
          <p:nvPr/>
        </p:nvSpPr>
        <p:spPr bwMode="hidden">
          <a:xfrm>
            <a:off x="2619320" y="4075290"/>
            <a:ext cx="5544515" cy="850138"/>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22"/>
          <p:cNvSpPr>
            <a:spLocks/>
          </p:cNvSpPr>
          <p:nvPr/>
        </p:nvSpPr>
        <p:spPr bwMode="hidden">
          <a:xfrm>
            <a:off x="2828728" y="4087562"/>
            <a:ext cx="5467980" cy="774272"/>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26"/>
          <p:cNvSpPr>
            <a:spLocks/>
          </p:cNvSpPr>
          <p:nvPr/>
        </p:nvSpPr>
        <p:spPr bwMode="hidden">
          <a:xfrm>
            <a:off x="5609489" y="4074174"/>
            <a:ext cx="3308000" cy="651549"/>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13" name="Freeform 10"/>
          <p:cNvSpPr>
            <a:spLocks/>
          </p:cNvSpPr>
          <p:nvPr/>
        </p:nvSpPr>
        <p:spPr bwMode="hidden">
          <a:xfrm>
            <a:off x="211665" y="4058555"/>
            <a:ext cx="8723376" cy="1329874"/>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Title 1"/>
          <p:cNvSpPr>
            <a:spLocks noGrp="1"/>
          </p:cNvSpPr>
          <p:nvPr>
            <p:ph type="title"/>
          </p:nvPr>
        </p:nvSpPr>
        <p:spPr>
          <a:xfrm>
            <a:off x="690032" y="2463560"/>
            <a:ext cx="7772400" cy="1524000"/>
          </a:xfrm>
        </p:spPr>
        <p:txBody>
          <a:bodyPr anchor="t">
            <a:normAutofit/>
          </a:bodyPr>
          <a:lstStyle>
            <a:lvl1pPr algn="ctr">
              <a:defRPr sz="4400" b="0" cap="none"/>
            </a:lvl1pPr>
          </a:lstStyle>
          <a:p>
            <a:r>
              <a:rPr lang="zh-TW" altLang="en-US" smtClean="0"/>
              <a:t>按一下以編輯母片標題樣式</a:t>
            </a:r>
            <a:endParaRPr lang="en-US" dirty="0"/>
          </a:p>
        </p:txBody>
      </p:sp>
      <p:sp>
        <p:nvSpPr>
          <p:cNvPr id="3" name="Text Placeholder 2"/>
          <p:cNvSpPr>
            <a:spLocks noGrp="1"/>
          </p:cNvSpPr>
          <p:nvPr>
            <p:ph type="body" idx="1"/>
          </p:nvPr>
        </p:nvSpPr>
        <p:spPr>
          <a:xfrm>
            <a:off x="1367365" y="1437448"/>
            <a:ext cx="6417734" cy="939801"/>
          </a:xfrm>
        </p:spPr>
        <p:txBody>
          <a:bodyPr anchor="b">
            <a:normAutofit/>
          </a:bodyPr>
          <a:lstStyle>
            <a:lvl1pPr marL="0" indent="0" algn="ctr">
              <a:buNone/>
              <a:defRPr sz="2000">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TW" altLang="en-US" smtClean="0"/>
              <a:t>按一下以編輯母片文字樣式</a:t>
            </a:r>
          </a:p>
        </p:txBody>
      </p:sp>
      <p:sp>
        <p:nvSpPr>
          <p:cNvPr id="4" name="Date Placeholder 3"/>
          <p:cNvSpPr>
            <a:spLocks noGrp="1"/>
          </p:cNvSpPr>
          <p:nvPr>
            <p:ph type="dt" sz="half" idx="10"/>
          </p:nvPr>
        </p:nvSpPr>
        <p:spPr/>
        <p:txBody>
          <a:bodyPr/>
          <a:lstStyle/>
          <a:p>
            <a:pPr>
              <a:defRPr/>
            </a:pPr>
            <a:fld id="{E5E25006-5A69-4689-9235-6F0D04F2E91F}" type="datetime1">
              <a:rPr lang="en-US" altLang="zh-TW" smtClean="0"/>
              <a:t>8/5/2015</a:t>
            </a:fld>
            <a:endParaRPr lang="en-US"/>
          </a:p>
        </p:txBody>
      </p:sp>
      <p:sp>
        <p:nvSpPr>
          <p:cNvPr id="5" name="Footer Placeholder 4"/>
          <p:cNvSpPr>
            <a:spLocks noGrp="1"/>
          </p:cNvSpPr>
          <p:nvPr>
            <p:ph type="ftr" sz="quarter" idx="11"/>
          </p:nvPr>
        </p:nvSpPr>
        <p:spPr/>
        <p:txBody>
          <a:bodyPr/>
          <a:lstStyle/>
          <a:p>
            <a:pPr>
              <a:defRPr/>
            </a:pPr>
            <a:endParaRPr lang="zh-CN" altLang="en-US"/>
          </a:p>
        </p:txBody>
      </p:sp>
      <p:sp>
        <p:nvSpPr>
          <p:cNvPr id="6" name="Slide Number Placeholder 5"/>
          <p:cNvSpPr>
            <a:spLocks noGrp="1"/>
          </p:cNvSpPr>
          <p:nvPr>
            <p:ph type="sldNum" sz="quarter" idx="12"/>
          </p:nvPr>
        </p:nvSpPr>
        <p:spPr/>
        <p:txBody>
          <a:bodyPr/>
          <a:lstStyle/>
          <a:p>
            <a:pPr>
              <a:defRPr/>
            </a:pPr>
            <a:fld id="{24C6579D-D8A0-414D-A023-3E30D95D7F6B}" type="slidenum">
              <a:rPr lang="en-US" smtClean="0"/>
              <a:pPr>
                <a:defRPr/>
              </a:pPr>
              <a:t>‹#›</a:t>
            </a:fld>
            <a:endParaRPr lang="zh-CN" alt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rgbClr val="FFFFFF"/>
        </a:solidFill>
        <a:effectLst/>
      </p:bgPr>
    </p:bg>
    <p:spTree>
      <p:nvGrpSpPr>
        <p:cNvPr id="1" name=""/>
        <p:cNvGrpSpPr/>
        <p:nvPr/>
      </p:nvGrpSpPr>
      <p:grpSpPr>
        <a:xfrm>
          <a:off x="0" y="0"/>
          <a:ext cx="0" cy="0"/>
          <a:chOff x="0" y="0"/>
          <a:chExt cx="0" cy="0"/>
        </a:xfrm>
      </p:grpSpPr>
      <p:sp>
        <p:nvSpPr>
          <p:cNvPr id="11" name="Picture Placeholder 9"/>
          <p:cNvSpPr>
            <a:spLocks noGrp="1"/>
          </p:cNvSpPr>
          <p:nvPr>
            <p:ph type="pic" sz="quarter" idx="10" hasCustomPrompt="1"/>
          </p:nvPr>
        </p:nvSpPr>
        <p:spPr bwMode="hidden">
          <a:xfrm>
            <a:off x="1" y="0"/>
            <a:ext cx="9144000" cy="6858000"/>
          </a:xfrm>
          <a:prstGeom prst="rect">
            <a:avLst/>
          </a:prstGeom>
          <a:noFill/>
        </p:spPr>
        <p:txBody>
          <a:bodyPr lIns="274293" tIns="274293" rIns="274293">
            <a:noAutofit/>
          </a:bodyPr>
          <a:lstStyle>
            <a:lvl1pPr marL="0" indent="0">
              <a:buNone/>
              <a:defRPr sz="1800" baseline="0">
                <a:gradFill>
                  <a:gsLst>
                    <a:gs pos="1250">
                      <a:schemeClr val="accent1"/>
                    </a:gs>
                    <a:gs pos="100000">
                      <a:schemeClr val="accent1"/>
                    </a:gs>
                  </a:gsLst>
                  <a:lin ang="5400000" scaled="0"/>
                </a:gradFill>
              </a:defRPr>
            </a:lvl1pPr>
          </a:lstStyle>
          <a:p>
            <a:r>
              <a:rPr lang="en-US" dirty="0" smtClean="0"/>
              <a:t>Picture placeholder</a:t>
            </a:r>
            <a:endParaRPr lang="en-US" dirty="0"/>
          </a:p>
        </p:txBody>
      </p:sp>
      <p:sp>
        <p:nvSpPr>
          <p:cNvPr id="10" name="Title 1"/>
          <p:cNvSpPr>
            <a:spLocks noGrp="1"/>
          </p:cNvSpPr>
          <p:nvPr>
            <p:ph type="ctrTitle"/>
          </p:nvPr>
        </p:nvSpPr>
        <p:spPr bwMode="ltGray">
          <a:xfrm>
            <a:off x="384449" y="919956"/>
            <a:ext cx="3768799" cy="501808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alpha val="92000"/>
            </a:schemeClr>
          </a:solidFill>
          <a:ln>
            <a:noFill/>
          </a:ln>
          <a:extLst/>
        </p:spPr>
        <p:txBody>
          <a:bodyPr vert="horz" wrap="square" lIns="320009" tIns="868594" rIns="1234319" bIns="868594" numCol="1" anchor="ctr" anchorCtr="0" compatLnSpc="1">
            <a:prstTxWarp prst="textNoShape">
              <a:avLst/>
            </a:prstTxWarp>
            <a:noAutofit/>
          </a:bodyPr>
          <a:lstStyle>
            <a:lvl1pPr algn="l">
              <a:defRPr lang="en-US" sz="4498" b="0" kern="1200" cap="none" spc="-150" baseline="0" dirty="0">
                <a:ln w="3175">
                  <a:noFill/>
                </a:ln>
                <a:gradFill>
                  <a:gsLst>
                    <a:gs pos="100000">
                      <a:schemeClr val="bg1"/>
                    </a:gs>
                    <a:gs pos="0">
                      <a:schemeClr val="bg1"/>
                    </a:gs>
                  </a:gsLst>
                  <a:lin ang="5400000" scaled="0"/>
                </a:gradFill>
                <a:effectLst/>
                <a:latin typeface="+mj-lt"/>
                <a:ea typeface="+mn-ea"/>
                <a:cs typeface="Arial" charset="0"/>
              </a:defRPr>
            </a:lvl1pPr>
          </a:lstStyle>
          <a:p>
            <a:pPr marL="0" lvl="0" indent="0" algn="l" defTabSz="685539"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31569153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emo, Video etc. &quot;special&quot; slide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Title 1"/>
          <p:cNvSpPr>
            <a:spLocks noGrp="1"/>
          </p:cNvSpPr>
          <p:nvPr>
            <p:ph type="ctrTitle"/>
          </p:nvPr>
        </p:nvSpPr>
        <p:spPr>
          <a:xfrm>
            <a:off x="384449" y="922641"/>
            <a:ext cx="3768799" cy="5015405"/>
          </a:xfrm>
          <a:prstGeom prst="rect">
            <a:avLst/>
          </a:prstGeom>
          <a:noFill/>
          <a:ln>
            <a:noFill/>
          </a:ln>
          <a:extLst/>
        </p:spPr>
        <p:txBody>
          <a:bodyPr vert="horz" wrap="square" lIns="320009" tIns="868594" rIns="1234319" bIns="868594" numCol="1" rtlCol="0" anchor="ctr" anchorCtr="0" compatLnSpc="1">
            <a:prstTxWarp prst="textNoShape">
              <a:avLst/>
            </a:prstTxWarp>
            <a:noAutofit/>
          </a:bodyPr>
          <a:lstStyle>
            <a:lvl1pPr>
              <a:defRPr lang="en-US" sz="4498" spc="-150" dirty="0">
                <a:gradFill>
                  <a:gsLst>
                    <a:gs pos="100000">
                      <a:schemeClr val="accent1"/>
                    </a:gs>
                    <a:gs pos="0">
                      <a:schemeClr val="accent1"/>
                    </a:gs>
                  </a:gsLst>
                  <a:lin ang="5400000" scaled="0"/>
                </a:gradFill>
              </a:defRPr>
            </a:lvl1pPr>
          </a:lstStyle>
          <a:p>
            <a:pPr marL="0" lvl="0" indent="0" defTabSz="685539" fontAlgn="base">
              <a:lnSpc>
                <a:spcPct val="100000"/>
              </a:lnSpc>
              <a:spcAft>
                <a:spcPct val="0"/>
              </a:spcAft>
              <a:buFontTx/>
            </a:pPr>
            <a:r>
              <a:rPr lang="en-US" smtClean="0"/>
              <a:t>Click to edit Master title style</a:t>
            </a:r>
            <a:endParaRPr lang="en-US" dirty="0"/>
          </a:p>
        </p:txBody>
      </p:sp>
      <p:sp>
        <p:nvSpPr>
          <p:cNvPr id="3" name="Subtitle 2"/>
          <p:cNvSpPr>
            <a:spLocks noGrp="1"/>
          </p:cNvSpPr>
          <p:nvPr>
            <p:ph type="subTitle" idx="1" hasCustomPrompt="1"/>
          </p:nvPr>
        </p:nvSpPr>
        <p:spPr>
          <a:xfrm>
            <a:off x="4569619" y="4261018"/>
            <a:ext cx="4187328" cy="747897"/>
          </a:xfrm>
        </p:spPr>
        <p:txBody>
          <a:bodyPr>
            <a:spAutoFit/>
          </a:bodyPr>
          <a:lstStyle>
            <a:lvl1pPr marL="0" indent="0" algn="l">
              <a:lnSpc>
                <a:spcPct val="90000"/>
              </a:lnSpc>
              <a:spcBef>
                <a:spcPts val="0"/>
              </a:spcBef>
              <a:buNone/>
              <a:defRPr lang="en-US" sz="2700" kern="1200" spc="-52" baseline="0" dirty="0">
                <a:gradFill>
                  <a:gsLst>
                    <a:gs pos="100000">
                      <a:schemeClr val="bg1"/>
                    </a:gs>
                    <a:gs pos="0">
                      <a:schemeClr val="bg1"/>
                    </a:gs>
                  </a:gsLst>
                  <a:lin ang="5400000" scaled="0"/>
                </a:gradFill>
                <a:latin typeface="+mj-lt"/>
                <a:ea typeface="+mn-ea"/>
                <a:cs typeface="+mn-cs"/>
              </a:defRPr>
            </a:lvl1pPr>
            <a:lvl2pPr marL="342756" indent="0" algn="ctr">
              <a:buNone/>
              <a:defRPr>
                <a:solidFill>
                  <a:schemeClr val="tx1">
                    <a:tint val="75000"/>
                  </a:schemeClr>
                </a:solidFill>
              </a:defRPr>
            </a:lvl2pPr>
            <a:lvl3pPr marL="685512" indent="0" algn="ctr">
              <a:buNone/>
              <a:defRPr>
                <a:solidFill>
                  <a:schemeClr val="tx1">
                    <a:tint val="75000"/>
                  </a:schemeClr>
                </a:solidFill>
              </a:defRPr>
            </a:lvl3pPr>
            <a:lvl4pPr marL="1028269" indent="0" algn="ctr">
              <a:buNone/>
              <a:defRPr>
                <a:solidFill>
                  <a:schemeClr val="tx1">
                    <a:tint val="75000"/>
                  </a:schemeClr>
                </a:solidFill>
              </a:defRPr>
            </a:lvl4pPr>
            <a:lvl5pPr marL="1371023" indent="0" algn="ctr">
              <a:buNone/>
              <a:defRPr>
                <a:solidFill>
                  <a:schemeClr val="tx1">
                    <a:tint val="75000"/>
                  </a:schemeClr>
                </a:solidFill>
              </a:defRPr>
            </a:lvl5pPr>
            <a:lvl6pPr marL="1713780" indent="0" algn="ctr">
              <a:buNone/>
              <a:defRPr>
                <a:solidFill>
                  <a:schemeClr val="tx1">
                    <a:tint val="75000"/>
                  </a:schemeClr>
                </a:solidFill>
              </a:defRPr>
            </a:lvl6pPr>
            <a:lvl7pPr marL="2056536" indent="0" algn="ctr">
              <a:buNone/>
              <a:defRPr>
                <a:solidFill>
                  <a:schemeClr val="tx1">
                    <a:tint val="75000"/>
                  </a:schemeClr>
                </a:solidFill>
              </a:defRPr>
            </a:lvl7pPr>
            <a:lvl8pPr marL="2399291" indent="0" algn="ctr">
              <a:buNone/>
              <a:defRPr>
                <a:solidFill>
                  <a:schemeClr val="tx1">
                    <a:tint val="75000"/>
                  </a:schemeClr>
                </a:solidFill>
              </a:defRPr>
            </a:lvl8pPr>
            <a:lvl9pPr marL="2742048" indent="0" algn="ctr">
              <a:buNone/>
              <a:defRPr>
                <a:solidFill>
                  <a:schemeClr val="tx1">
                    <a:tint val="75000"/>
                  </a:schemeClr>
                </a:solidFill>
              </a:defRPr>
            </a:lvl9pPr>
          </a:lstStyle>
          <a:p>
            <a:pPr marL="0" marR="0" lvl="0" indent="0" algn="l" defTabSz="685512"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5" name="Text Placeholder 4"/>
          <p:cNvSpPr>
            <a:spLocks noGrp="1"/>
          </p:cNvSpPr>
          <p:nvPr>
            <p:ph type="body" sz="quarter" idx="11" hasCustomPrompt="1"/>
          </p:nvPr>
        </p:nvSpPr>
        <p:spPr>
          <a:xfrm>
            <a:off x="4569619" y="1801424"/>
            <a:ext cx="4187328" cy="2055947"/>
          </a:xfrm>
        </p:spPr>
        <p:txBody>
          <a:bodyPr wrap="square" anchor="b">
            <a:spAutoFit/>
          </a:bodyPr>
          <a:lstStyle>
            <a:lvl1pPr marL="0" indent="0">
              <a:buNone/>
              <a:defRPr sz="4948" spc="-113">
                <a:gradFill>
                  <a:gsLst>
                    <a:gs pos="100000">
                      <a:schemeClr val="bg1"/>
                    </a:gs>
                    <a:gs pos="0">
                      <a:schemeClr val="bg1"/>
                    </a:gs>
                  </a:gsLst>
                  <a:lin ang="5400000" scaled="0"/>
                </a:gradFill>
              </a:defRPr>
            </a:lvl1pPr>
          </a:lstStyle>
          <a:p>
            <a:pPr lvl="0"/>
            <a:r>
              <a:rPr lang="en-US" dirty="0" smtClean="0"/>
              <a:t>Click to edit master text styles</a:t>
            </a:r>
          </a:p>
        </p:txBody>
      </p:sp>
    </p:spTree>
    <p:extLst>
      <p:ext uri="{BB962C8B-B14F-4D97-AF65-F5344CB8AC3E}">
        <p14:creationId xmlns:p14="http://schemas.microsoft.com/office/powerpoint/2010/main" val="2039664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7" y="228600"/>
            <a:ext cx="8363938" cy="560795"/>
          </a:xfrm>
        </p:spPr>
        <p:txBody>
          <a:body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389437" y="1447799"/>
            <a:ext cx="8363938" cy="1532727"/>
          </a:xfrm>
          <a:prstGeom prst="rect">
            <a:avLst/>
          </a:prstGeom>
        </p:spPr>
        <p:txBody>
          <a:bodyPr/>
          <a:lstStyle>
            <a:lvl1pPr marL="213041" indent="-213041">
              <a:buFont typeface="Wingdings" pitchFamily="2" charset="2"/>
              <a:buChar char=""/>
              <a:defRPr sz="3000"/>
            </a:lvl1pPr>
            <a:lvl2pPr marL="387996" indent="-174957">
              <a:buFont typeface="Wingdings" pitchFamily="2" charset="2"/>
              <a:buChar char=""/>
              <a:defRPr spc="-38" baseline="0">
                <a:latin typeface="+mn-lt"/>
              </a:defRPr>
            </a:lvl2pPr>
            <a:lvl3pPr marL="555811" indent="-167815">
              <a:buFont typeface="Wingdings" pitchFamily="2" charset="2"/>
              <a:buChar char=""/>
              <a:tabLst/>
              <a:defRPr spc="-38" baseline="0">
                <a:latin typeface="+mn-lt"/>
              </a:defRPr>
            </a:lvl3pPr>
            <a:lvl4pPr marL="685539" indent="-129729">
              <a:buFont typeface="Wingdings" pitchFamily="2" charset="2"/>
              <a:buChar char=""/>
              <a:defRPr spc="-38" baseline="0">
                <a:latin typeface="+mn-lt"/>
              </a:defRPr>
            </a:lvl4pPr>
            <a:lvl5pPr marL="815269" indent="-129729">
              <a:buFont typeface="Wingdings" pitchFamily="2" charset="2"/>
              <a:buChar char=""/>
              <a:tabLst/>
              <a:defRPr spc="-38"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lide Number Placeholder 1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089005465"/>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389437" y="1447801"/>
            <a:ext cx="8363938" cy="1431161"/>
          </a:xfrm>
          <a:prstGeom prst="rect">
            <a:avLst/>
          </a:prstGeom>
        </p:spPr>
        <p:txBody>
          <a:bodyPr/>
          <a:lstStyle>
            <a:lvl1pPr marL="0" indent="0">
              <a:spcBef>
                <a:spcPts val="1800"/>
              </a:spcBef>
              <a:buNone/>
              <a:defRPr sz="3000">
                <a:gradFill>
                  <a:gsLst>
                    <a:gs pos="100000">
                      <a:schemeClr val="tx2"/>
                    </a:gs>
                    <a:gs pos="0">
                      <a:schemeClr val="tx2"/>
                    </a:gs>
                  </a:gsLst>
                  <a:lin ang="5400000" scaled="0"/>
                </a:gradFill>
                <a:latin typeface="+mj-lt"/>
              </a:defRPr>
            </a:lvl1pPr>
            <a:lvl2pPr marL="0" indent="0">
              <a:buNone/>
              <a:defRPr sz="1500" spc="-38" baseline="0">
                <a:gradFill>
                  <a:gsLst>
                    <a:gs pos="100000">
                      <a:schemeClr val="tx1"/>
                    </a:gs>
                    <a:gs pos="6000">
                      <a:schemeClr val="tx1"/>
                    </a:gs>
                  </a:gsLst>
                  <a:lin ang="5400000" scaled="0"/>
                </a:gradFill>
              </a:defRPr>
            </a:lvl2pPr>
            <a:lvl3pPr marL="173766" indent="0">
              <a:buNone/>
              <a:defRPr sz="1500" spc="-38" baseline="0">
                <a:gradFill>
                  <a:gsLst>
                    <a:gs pos="100000">
                      <a:schemeClr val="tx1"/>
                    </a:gs>
                    <a:gs pos="6000">
                      <a:schemeClr val="tx1"/>
                    </a:gs>
                  </a:gsLst>
                  <a:lin ang="5400000" scaled="0"/>
                </a:gradFill>
              </a:defRPr>
            </a:lvl3pPr>
            <a:lvl4pPr marL="342770" indent="0">
              <a:buNone/>
              <a:defRPr sz="1500" spc="-38" baseline="0">
                <a:gradFill>
                  <a:gsLst>
                    <a:gs pos="100000">
                      <a:schemeClr val="tx1"/>
                    </a:gs>
                    <a:gs pos="6000">
                      <a:schemeClr val="tx1"/>
                    </a:gs>
                  </a:gsLst>
                  <a:lin ang="5400000" scaled="0"/>
                </a:gradFill>
              </a:defRPr>
            </a:lvl4pPr>
            <a:lvl5pPr marL="520106" indent="0">
              <a:buNone/>
              <a:defRPr sz="1500" spc="-38"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76988953"/>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389437" y="1447801"/>
            <a:ext cx="8363938" cy="1431161"/>
          </a:xfrm>
          <a:prstGeom prst="rect">
            <a:avLst/>
          </a:prstGeom>
        </p:spPr>
        <p:txBody>
          <a:bodyPr/>
          <a:lstStyle>
            <a:lvl1pPr marL="0" indent="0">
              <a:spcBef>
                <a:spcPts val="1800"/>
              </a:spcBef>
              <a:buNone/>
              <a:defRPr sz="3000">
                <a:gradFill>
                  <a:gsLst>
                    <a:gs pos="100000">
                      <a:schemeClr val="tx1"/>
                    </a:gs>
                    <a:gs pos="0">
                      <a:schemeClr val="tx1"/>
                    </a:gs>
                  </a:gsLst>
                  <a:lin ang="5400000" scaled="0"/>
                </a:gradFill>
                <a:latin typeface="+mj-lt"/>
              </a:defRPr>
            </a:lvl1pPr>
            <a:lvl2pPr marL="0" indent="0">
              <a:buNone/>
              <a:defRPr sz="1500" spc="-38" baseline="0">
                <a:gradFill>
                  <a:gsLst>
                    <a:gs pos="100000">
                      <a:schemeClr val="tx1"/>
                    </a:gs>
                    <a:gs pos="0">
                      <a:schemeClr val="tx1"/>
                    </a:gs>
                  </a:gsLst>
                  <a:lin ang="5400000" scaled="0"/>
                </a:gradFill>
              </a:defRPr>
            </a:lvl2pPr>
            <a:lvl3pPr marL="173766" indent="0">
              <a:buNone/>
              <a:defRPr sz="1500" spc="-38" baseline="0">
                <a:gradFill>
                  <a:gsLst>
                    <a:gs pos="100000">
                      <a:schemeClr val="tx1"/>
                    </a:gs>
                    <a:gs pos="0">
                      <a:schemeClr val="tx1"/>
                    </a:gs>
                  </a:gsLst>
                  <a:lin ang="5400000" scaled="0"/>
                </a:gradFill>
              </a:defRPr>
            </a:lvl3pPr>
            <a:lvl4pPr marL="342770" indent="0">
              <a:buNone/>
              <a:defRPr sz="1500" spc="-38" baseline="0">
                <a:gradFill>
                  <a:gsLst>
                    <a:gs pos="100000">
                      <a:schemeClr val="tx1"/>
                    </a:gs>
                    <a:gs pos="0">
                      <a:schemeClr val="tx1"/>
                    </a:gs>
                  </a:gsLst>
                  <a:lin ang="5400000" scaled="0"/>
                </a:gradFill>
              </a:defRPr>
            </a:lvl4pPr>
            <a:lvl5pPr marL="520106" indent="0">
              <a:buNone/>
              <a:defRPr sz="1500" spc="-38" baseline="0">
                <a:gradFill>
                  <a:gsLst>
                    <a:gs pos="100000">
                      <a:schemeClr val="tx1"/>
                    </a:gs>
                    <a:gs pos="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030351068"/>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390626" y="1447800"/>
            <a:ext cx="4047274" cy="1763560"/>
          </a:xfrm>
        </p:spPr>
        <p:txBody>
          <a:bodyPr>
            <a:spAutoFit/>
          </a:bodyPr>
          <a:lstStyle>
            <a:lvl1pPr marL="218991" indent="-218991">
              <a:spcBef>
                <a:spcPts val="900"/>
              </a:spcBef>
              <a:buClr>
                <a:schemeClr val="tx1"/>
              </a:buClr>
              <a:buFont typeface="Wingdings" pitchFamily="2" charset="2"/>
              <a:buChar char=""/>
              <a:defRPr/>
            </a:lvl1pPr>
            <a:lvl2pPr marL="390377" indent="-171385">
              <a:defRPr sz="1500" spc="-38" baseline="0"/>
            </a:lvl2pPr>
            <a:lvl3pPr marL="514154" indent="-123778">
              <a:tabLst/>
              <a:defRPr sz="1500" spc="-38" baseline="0"/>
            </a:lvl3pPr>
            <a:lvl4pPr marL="647454" indent="-133300">
              <a:defRPr spc="-38" baseline="0"/>
            </a:lvl4pPr>
            <a:lvl5pPr marL="771231" indent="-123778">
              <a:tabLst/>
              <a:defRPr spc="-38"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hasCustomPrompt="1"/>
          </p:nvPr>
        </p:nvSpPr>
        <p:spPr>
          <a:xfrm>
            <a:off x="4709671" y="1447802"/>
            <a:ext cx="4047274" cy="1763560"/>
          </a:xfrm>
        </p:spPr>
        <p:txBody>
          <a:bodyPr>
            <a:spAutoFit/>
          </a:bodyPr>
          <a:lstStyle>
            <a:lvl1pPr marL="254697" indent="-254697">
              <a:spcBef>
                <a:spcPts val="900"/>
              </a:spcBef>
              <a:buFont typeface="Wingdings" pitchFamily="2" charset="2"/>
              <a:buChar char=""/>
              <a:defRPr lang="en-US" sz="2700" kern="1200" spc="-52" baseline="0" dirty="0" smtClean="0">
                <a:gradFill>
                  <a:gsLst>
                    <a:gs pos="1250">
                      <a:schemeClr val="tx1"/>
                    </a:gs>
                    <a:gs pos="100000">
                      <a:schemeClr val="tx1"/>
                    </a:gs>
                  </a:gsLst>
                  <a:lin ang="5400000" scaled="0"/>
                </a:gradFill>
                <a:latin typeface="+mj-lt"/>
                <a:ea typeface="+mn-ea"/>
                <a:cs typeface="+mn-cs"/>
              </a:defRPr>
            </a:lvl1pPr>
            <a:lvl2pPr marL="476069" indent="-257077">
              <a:defRPr lang="en-US" sz="1500" kern="1200" spc="-38" baseline="0" dirty="0" smtClean="0">
                <a:gradFill>
                  <a:gsLst>
                    <a:gs pos="1250">
                      <a:schemeClr val="tx1"/>
                    </a:gs>
                    <a:gs pos="100000">
                      <a:schemeClr val="tx1"/>
                    </a:gs>
                  </a:gsLst>
                  <a:lin ang="5400000" scaled="0"/>
                </a:gradFill>
                <a:latin typeface="+mn-lt"/>
                <a:ea typeface="+mn-ea"/>
                <a:cs typeface="+mn-cs"/>
              </a:defRPr>
            </a:lvl2pPr>
            <a:lvl3pPr marL="647454" indent="-257077">
              <a:defRPr lang="en-US" sz="1500" kern="1200" spc="-38" baseline="0" dirty="0" smtClean="0">
                <a:gradFill>
                  <a:gsLst>
                    <a:gs pos="1250">
                      <a:schemeClr val="tx1"/>
                    </a:gs>
                    <a:gs pos="100000">
                      <a:schemeClr val="tx1"/>
                    </a:gs>
                  </a:gsLst>
                  <a:lin ang="5400000" scaled="0"/>
                </a:gradFill>
                <a:latin typeface="+mn-lt"/>
                <a:ea typeface="+mn-ea"/>
                <a:cs typeface="+mn-cs"/>
              </a:defRPr>
            </a:lvl3pPr>
            <a:lvl4pPr marL="771231" indent="-257077">
              <a:defRPr lang="en-US" sz="1500" kern="1200" spc="-38" baseline="0" dirty="0" smtClean="0">
                <a:gradFill>
                  <a:gsLst>
                    <a:gs pos="1250">
                      <a:schemeClr val="tx1"/>
                    </a:gs>
                    <a:gs pos="100000">
                      <a:schemeClr val="tx1"/>
                    </a:gs>
                  </a:gsLst>
                  <a:lin ang="5400000" scaled="0"/>
                </a:gradFill>
                <a:latin typeface="+mn-lt"/>
                <a:ea typeface="+mn-ea"/>
                <a:cs typeface="+mn-cs"/>
              </a:defRPr>
            </a:lvl4pPr>
            <a:lvl5pPr marL="904531" indent="-257077">
              <a:defRPr lang="en-US" sz="1500" kern="1200" spc="-38" baseline="0" dirty="0">
                <a:gradFill>
                  <a:gsLst>
                    <a:gs pos="1250">
                      <a:schemeClr val="tx1"/>
                    </a:gs>
                    <a:gs pos="100000">
                      <a:schemeClr val="tx1"/>
                    </a:gs>
                  </a:gsLst>
                  <a:lin ang="5400000" scaled="0"/>
                </a:gradFill>
                <a:latin typeface="+mn-lt"/>
                <a:ea typeface="+mn-ea"/>
                <a:cs typeface="+mn-cs"/>
              </a:defRPr>
            </a:lvl5pPr>
          </a:lstStyle>
          <a:p>
            <a:pPr marL="218991" marR="0" lvl="0" indent="-218991" algn="l" defTabSz="68551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smtClean="0"/>
              <a:t>Click to edit master text styles</a:t>
            </a:r>
          </a:p>
          <a:p>
            <a:pPr marL="390377" marR="0" lvl="1" indent="-171385" algn="l" defTabSz="68551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Second level</a:t>
            </a:r>
          </a:p>
          <a:p>
            <a:pPr marL="514154" marR="0" lvl="2" indent="-123778" algn="l" defTabSz="68551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Third level</a:t>
            </a:r>
          </a:p>
          <a:p>
            <a:pPr marL="647454" marR="0" lvl="3" indent="-133300" algn="l" defTabSz="68551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ourth level</a:t>
            </a:r>
          </a:p>
          <a:p>
            <a:pPr marL="771231" marR="0" lvl="4" indent="-123778" algn="l" defTabSz="68551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ifth level</a:t>
            </a:r>
            <a:endParaRPr lang="en-US" dirty="0"/>
          </a:p>
        </p:txBody>
      </p:sp>
      <p:sp>
        <p:nvSpPr>
          <p:cNvPr id="5" name="Slide Number Placeholder 4"/>
          <p:cNvSpPr>
            <a:spLocks noGrp="1"/>
          </p:cNvSpPr>
          <p:nvPr>
            <p:ph type="sldNum" sz="quarter" idx="13"/>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056164271"/>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390626" y="1447803"/>
            <a:ext cx="4047274" cy="1846659"/>
          </a:xfrm>
        </p:spPr>
        <p:txBody>
          <a:bodyPr/>
          <a:lstStyle>
            <a:lvl1pPr marL="0" indent="0">
              <a:spcBef>
                <a:spcPts val="900"/>
              </a:spcBef>
              <a:buNone/>
              <a:defRPr sz="3000">
                <a:gradFill>
                  <a:gsLst>
                    <a:gs pos="100000">
                      <a:schemeClr val="tx2"/>
                    </a:gs>
                    <a:gs pos="0">
                      <a:schemeClr val="tx2"/>
                    </a:gs>
                  </a:gsLst>
                  <a:lin ang="5400000" scaled="0"/>
                </a:gradFill>
                <a:latin typeface="+mj-lt"/>
              </a:defRPr>
            </a:lvl1pPr>
            <a:lvl2pPr marL="0" indent="0">
              <a:buNone/>
              <a:defRPr sz="1500" spc="-38" baseline="0"/>
            </a:lvl2pPr>
            <a:lvl3pPr marL="174957" indent="0">
              <a:buNone/>
              <a:defRPr sz="1500" spc="-38" baseline="0"/>
            </a:lvl3pPr>
            <a:lvl4pPr marL="342770" indent="0">
              <a:buNone/>
              <a:defRPr sz="1500" spc="-38" baseline="0"/>
            </a:lvl4pPr>
            <a:lvl5pPr marL="520106" indent="0">
              <a:buNone/>
              <a:defRPr sz="1500" spc="-38"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4709671" y="1447804"/>
            <a:ext cx="4047274" cy="1846659"/>
          </a:xfrm>
        </p:spPr>
        <p:txBody>
          <a:bodyPr/>
          <a:lstStyle>
            <a:lvl1pPr marL="0" indent="0">
              <a:spcBef>
                <a:spcPts val="900"/>
              </a:spcBef>
              <a:buNone/>
              <a:defRPr lang="en-US" sz="3000" kern="1200" spc="-52" baseline="0" dirty="0" smtClean="0">
                <a:gradFill>
                  <a:gsLst>
                    <a:gs pos="100000">
                      <a:schemeClr val="tx2"/>
                    </a:gs>
                    <a:gs pos="0">
                      <a:schemeClr val="tx2"/>
                    </a:gs>
                  </a:gsLst>
                  <a:lin ang="5400000" scaled="0"/>
                </a:gradFill>
                <a:latin typeface="+mj-lt"/>
                <a:ea typeface="+mn-ea"/>
                <a:cs typeface="+mn-cs"/>
              </a:defRPr>
            </a:lvl1pPr>
            <a:lvl2pPr marL="2380" marR="0" indent="0" algn="l" defTabSz="685512" rtl="0" eaLnBrk="1" fontAlgn="auto" latinLnBrk="0" hangingPunct="1">
              <a:lnSpc>
                <a:spcPct val="90000"/>
              </a:lnSpc>
              <a:spcBef>
                <a:spcPct val="20000"/>
              </a:spcBef>
              <a:spcAft>
                <a:spcPts val="0"/>
              </a:spcAft>
              <a:buClrTx/>
              <a:buSzPct val="90000"/>
              <a:buFont typeface="Arial" pitchFamily="34" charset="0"/>
              <a:buNone/>
              <a:tabLst/>
              <a:defRPr lang="en-US" sz="1500" kern="1200" spc="-38" baseline="0" dirty="0" smtClean="0">
                <a:gradFill>
                  <a:gsLst>
                    <a:gs pos="1250">
                      <a:schemeClr val="tx1"/>
                    </a:gs>
                    <a:gs pos="100000">
                      <a:schemeClr val="tx1"/>
                    </a:gs>
                  </a:gsLst>
                  <a:lin ang="5400000" scaled="0"/>
                </a:gradFill>
                <a:latin typeface="+mn-lt"/>
                <a:ea typeface="+mn-ea"/>
                <a:cs typeface="+mn-cs"/>
              </a:defRPr>
            </a:lvl2pPr>
            <a:lvl3pPr marL="174957" marR="0" indent="0" algn="l" defTabSz="685512" rtl="0" eaLnBrk="1" fontAlgn="auto" latinLnBrk="0" hangingPunct="1">
              <a:lnSpc>
                <a:spcPct val="90000"/>
              </a:lnSpc>
              <a:spcBef>
                <a:spcPct val="20000"/>
              </a:spcBef>
              <a:spcAft>
                <a:spcPts val="0"/>
              </a:spcAft>
              <a:buClrTx/>
              <a:buSzPct val="90000"/>
              <a:buFont typeface="Arial" pitchFamily="34" charset="0"/>
              <a:buNone/>
              <a:tabLst/>
              <a:defRPr lang="en-US" sz="1500" kern="1200" spc="-38" baseline="0" dirty="0" smtClean="0">
                <a:gradFill>
                  <a:gsLst>
                    <a:gs pos="1250">
                      <a:schemeClr val="tx1"/>
                    </a:gs>
                    <a:gs pos="100000">
                      <a:schemeClr val="tx1"/>
                    </a:gs>
                  </a:gsLst>
                  <a:lin ang="5400000" scaled="0"/>
                </a:gradFill>
                <a:latin typeface="+mn-lt"/>
                <a:ea typeface="+mn-ea"/>
                <a:cs typeface="+mn-cs"/>
              </a:defRPr>
            </a:lvl3pPr>
            <a:lvl4pPr marL="345151" marR="0" indent="0" algn="l" defTabSz="685512" rtl="0" eaLnBrk="1" fontAlgn="auto" latinLnBrk="0" hangingPunct="1">
              <a:lnSpc>
                <a:spcPct val="90000"/>
              </a:lnSpc>
              <a:spcBef>
                <a:spcPct val="20000"/>
              </a:spcBef>
              <a:spcAft>
                <a:spcPts val="0"/>
              </a:spcAft>
              <a:buClrTx/>
              <a:buSzPct val="90000"/>
              <a:buFont typeface="Arial" pitchFamily="34" charset="0"/>
              <a:buNone/>
              <a:tabLst/>
              <a:defRPr lang="en-US" sz="1500" kern="1200" spc="-38" baseline="0" dirty="0" smtClean="0">
                <a:gradFill>
                  <a:gsLst>
                    <a:gs pos="1250">
                      <a:schemeClr val="tx1"/>
                    </a:gs>
                    <a:gs pos="100000">
                      <a:schemeClr val="tx1"/>
                    </a:gs>
                  </a:gsLst>
                  <a:lin ang="5400000" scaled="0"/>
                </a:gradFill>
                <a:latin typeface="+mn-lt"/>
                <a:ea typeface="+mn-ea"/>
                <a:cs typeface="+mn-cs"/>
              </a:defRPr>
            </a:lvl4pPr>
            <a:lvl5pPr marL="515345" marR="0" indent="0" algn="l" defTabSz="685512" rtl="0" eaLnBrk="1" fontAlgn="auto" latinLnBrk="0" hangingPunct="1">
              <a:lnSpc>
                <a:spcPct val="90000"/>
              </a:lnSpc>
              <a:spcBef>
                <a:spcPct val="20000"/>
              </a:spcBef>
              <a:spcAft>
                <a:spcPts val="0"/>
              </a:spcAft>
              <a:buClrTx/>
              <a:buSzPct val="90000"/>
              <a:buFont typeface="Arial" pitchFamily="34" charset="0"/>
              <a:buNone/>
              <a:tabLst/>
              <a:defRPr lang="en-US" sz="1500" kern="1200" spc="-38" baseline="0" dirty="0">
                <a:gradFill>
                  <a:gsLst>
                    <a:gs pos="1250">
                      <a:schemeClr val="tx1"/>
                    </a:gs>
                    <a:gs pos="100000">
                      <a:schemeClr val="tx1"/>
                    </a:gs>
                  </a:gsLst>
                  <a:lin ang="5400000" scaled="0"/>
                </a:gradFill>
                <a:latin typeface="+mn-lt"/>
                <a:ea typeface="+mn-ea"/>
                <a:cs typeface="+mn-cs"/>
              </a:defRPr>
            </a:lvl5pPr>
          </a:lstStyle>
          <a:p>
            <a:pPr marL="0" marR="0" lvl="0" indent="0" algn="l" defTabSz="68551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229681469"/>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390626" y="1447803"/>
            <a:ext cx="4047274" cy="1846659"/>
          </a:xfrm>
        </p:spPr>
        <p:txBody>
          <a:bodyPr/>
          <a:lstStyle>
            <a:lvl1pPr marL="0" indent="0">
              <a:spcBef>
                <a:spcPts val="900"/>
              </a:spcBef>
              <a:buNone/>
              <a:defRPr sz="3000">
                <a:gradFill>
                  <a:gsLst>
                    <a:gs pos="1000">
                      <a:schemeClr val="tx1"/>
                    </a:gs>
                    <a:gs pos="98000">
                      <a:schemeClr val="tx1"/>
                    </a:gs>
                  </a:gsLst>
                  <a:lin ang="5400000" scaled="0"/>
                </a:gradFill>
                <a:latin typeface="+mj-lt"/>
              </a:defRPr>
            </a:lvl1pPr>
            <a:lvl2pPr marL="0" indent="0">
              <a:buNone/>
              <a:defRPr sz="1500" spc="-38" baseline="0">
                <a:gradFill>
                  <a:gsLst>
                    <a:gs pos="1000">
                      <a:schemeClr val="tx1"/>
                    </a:gs>
                    <a:gs pos="98000">
                      <a:schemeClr val="tx1"/>
                    </a:gs>
                  </a:gsLst>
                  <a:lin ang="5400000" scaled="0"/>
                </a:gradFill>
              </a:defRPr>
            </a:lvl2pPr>
            <a:lvl3pPr marL="174957" indent="0">
              <a:buNone/>
              <a:defRPr sz="1500" spc="-38" baseline="0">
                <a:gradFill>
                  <a:gsLst>
                    <a:gs pos="1000">
                      <a:schemeClr val="tx1"/>
                    </a:gs>
                    <a:gs pos="98000">
                      <a:schemeClr val="tx1"/>
                    </a:gs>
                  </a:gsLst>
                  <a:lin ang="5400000" scaled="0"/>
                </a:gradFill>
              </a:defRPr>
            </a:lvl3pPr>
            <a:lvl4pPr marL="342770" indent="0">
              <a:buNone/>
              <a:defRPr sz="1500" spc="-38" baseline="0">
                <a:gradFill>
                  <a:gsLst>
                    <a:gs pos="1000">
                      <a:schemeClr val="tx1"/>
                    </a:gs>
                    <a:gs pos="98000">
                      <a:schemeClr val="tx1"/>
                    </a:gs>
                  </a:gsLst>
                  <a:lin ang="5400000" scaled="0"/>
                </a:gradFill>
              </a:defRPr>
            </a:lvl4pPr>
            <a:lvl5pPr marL="520106" indent="0">
              <a:buNone/>
              <a:defRPr sz="1500" spc="-38" baseline="0">
                <a:gradFill>
                  <a:gsLst>
                    <a:gs pos="1000">
                      <a:schemeClr val="tx1"/>
                    </a:gs>
                    <a:gs pos="98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4709671" y="1447804"/>
            <a:ext cx="4047274" cy="1846659"/>
          </a:xfrm>
        </p:spPr>
        <p:txBody>
          <a:bodyPr/>
          <a:lstStyle>
            <a:lvl1pPr marL="0" indent="0">
              <a:spcBef>
                <a:spcPts val="900"/>
              </a:spcBef>
              <a:buNone/>
              <a:defRPr lang="en-US" sz="3000" kern="1200" spc="-52" baseline="0" dirty="0" smtClean="0">
                <a:gradFill>
                  <a:gsLst>
                    <a:gs pos="1000">
                      <a:schemeClr val="tx1"/>
                    </a:gs>
                    <a:gs pos="98000">
                      <a:schemeClr val="tx1"/>
                    </a:gs>
                  </a:gsLst>
                  <a:lin ang="5400000" scaled="0"/>
                </a:gradFill>
                <a:latin typeface="+mj-lt"/>
                <a:ea typeface="+mn-ea"/>
                <a:cs typeface="+mn-cs"/>
              </a:defRPr>
            </a:lvl1pPr>
            <a:lvl2pPr marL="2380" marR="0" indent="0" algn="l" defTabSz="685512" rtl="0" eaLnBrk="1" fontAlgn="auto" latinLnBrk="0" hangingPunct="1">
              <a:lnSpc>
                <a:spcPct val="90000"/>
              </a:lnSpc>
              <a:spcBef>
                <a:spcPct val="20000"/>
              </a:spcBef>
              <a:spcAft>
                <a:spcPts val="0"/>
              </a:spcAft>
              <a:buClrTx/>
              <a:buSzPct val="90000"/>
              <a:buFont typeface="Arial" pitchFamily="34" charset="0"/>
              <a:buNone/>
              <a:tabLst/>
              <a:defRPr lang="en-US" sz="1500" kern="1200" spc="-38" baseline="0" dirty="0" smtClean="0">
                <a:gradFill>
                  <a:gsLst>
                    <a:gs pos="1000">
                      <a:schemeClr val="tx1"/>
                    </a:gs>
                    <a:gs pos="98000">
                      <a:schemeClr val="tx1"/>
                    </a:gs>
                  </a:gsLst>
                  <a:lin ang="5400000" scaled="0"/>
                </a:gradFill>
                <a:latin typeface="+mn-lt"/>
                <a:ea typeface="+mn-ea"/>
                <a:cs typeface="+mn-cs"/>
              </a:defRPr>
            </a:lvl2pPr>
            <a:lvl3pPr marL="174957" marR="0" indent="0" algn="l" defTabSz="685512" rtl="0" eaLnBrk="1" fontAlgn="auto" latinLnBrk="0" hangingPunct="1">
              <a:lnSpc>
                <a:spcPct val="90000"/>
              </a:lnSpc>
              <a:spcBef>
                <a:spcPct val="20000"/>
              </a:spcBef>
              <a:spcAft>
                <a:spcPts val="0"/>
              </a:spcAft>
              <a:buClrTx/>
              <a:buSzPct val="90000"/>
              <a:buFont typeface="Arial" pitchFamily="34" charset="0"/>
              <a:buNone/>
              <a:tabLst/>
              <a:defRPr lang="en-US" sz="1500" kern="1200" spc="-38" baseline="0" dirty="0" smtClean="0">
                <a:gradFill>
                  <a:gsLst>
                    <a:gs pos="1000">
                      <a:schemeClr val="tx1"/>
                    </a:gs>
                    <a:gs pos="98000">
                      <a:schemeClr val="tx1"/>
                    </a:gs>
                  </a:gsLst>
                  <a:lin ang="5400000" scaled="0"/>
                </a:gradFill>
                <a:latin typeface="+mn-lt"/>
                <a:ea typeface="+mn-ea"/>
                <a:cs typeface="+mn-cs"/>
              </a:defRPr>
            </a:lvl3pPr>
            <a:lvl4pPr marL="345151" marR="0" indent="0" algn="l" defTabSz="685512" rtl="0" eaLnBrk="1" fontAlgn="auto" latinLnBrk="0" hangingPunct="1">
              <a:lnSpc>
                <a:spcPct val="90000"/>
              </a:lnSpc>
              <a:spcBef>
                <a:spcPct val="20000"/>
              </a:spcBef>
              <a:spcAft>
                <a:spcPts val="0"/>
              </a:spcAft>
              <a:buClrTx/>
              <a:buSzPct val="90000"/>
              <a:buFont typeface="Arial" pitchFamily="34" charset="0"/>
              <a:buNone/>
              <a:tabLst/>
              <a:defRPr lang="en-US" sz="1500" kern="1200" spc="-38" baseline="0" dirty="0" smtClean="0">
                <a:gradFill>
                  <a:gsLst>
                    <a:gs pos="1000">
                      <a:schemeClr val="tx1"/>
                    </a:gs>
                    <a:gs pos="98000">
                      <a:schemeClr val="tx1"/>
                    </a:gs>
                  </a:gsLst>
                  <a:lin ang="5400000" scaled="0"/>
                </a:gradFill>
                <a:latin typeface="+mn-lt"/>
                <a:ea typeface="+mn-ea"/>
                <a:cs typeface="+mn-cs"/>
              </a:defRPr>
            </a:lvl4pPr>
            <a:lvl5pPr marL="515345" marR="0" indent="0" algn="l" defTabSz="685512" rtl="0" eaLnBrk="1" fontAlgn="auto" latinLnBrk="0" hangingPunct="1">
              <a:lnSpc>
                <a:spcPct val="90000"/>
              </a:lnSpc>
              <a:spcBef>
                <a:spcPct val="20000"/>
              </a:spcBef>
              <a:spcAft>
                <a:spcPts val="0"/>
              </a:spcAft>
              <a:buClrTx/>
              <a:buSzPct val="90000"/>
              <a:buFont typeface="Arial" pitchFamily="34" charset="0"/>
              <a:buNone/>
              <a:tabLst/>
              <a:defRPr lang="en-US" sz="1500" kern="1200" spc="-38" baseline="0" dirty="0">
                <a:gradFill>
                  <a:gsLst>
                    <a:gs pos="1000">
                      <a:schemeClr val="tx1"/>
                    </a:gs>
                    <a:gs pos="98000">
                      <a:schemeClr val="tx1"/>
                    </a:gs>
                  </a:gsLst>
                  <a:lin ang="5400000" scaled="0"/>
                </a:gradFill>
                <a:latin typeface="+mn-lt"/>
                <a:ea typeface="+mn-ea"/>
                <a:cs typeface="+mn-cs"/>
              </a:defRPr>
            </a:lvl5pPr>
          </a:lstStyle>
          <a:p>
            <a:pPr marL="0" marR="0" lvl="0" indent="0" algn="l" defTabSz="68551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34513715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8" name="Slide Number Placeholder 7"/>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449148914"/>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8744403"/>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smtClean="0"/>
              <a:t>按一下以編輯母片標題樣式</a:t>
            </a:r>
            <a:endParaRPr lang="en-US"/>
          </a:p>
        </p:txBody>
      </p:sp>
      <p:sp>
        <p:nvSpPr>
          <p:cNvPr id="5" name="Date Placeholder 4"/>
          <p:cNvSpPr>
            <a:spLocks noGrp="1"/>
          </p:cNvSpPr>
          <p:nvPr>
            <p:ph type="dt" sz="half" idx="10"/>
          </p:nvPr>
        </p:nvSpPr>
        <p:spPr/>
        <p:txBody>
          <a:bodyPr/>
          <a:lstStyle/>
          <a:p>
            <a:pPr>
              <a:defRPr/>
            </a:pPr>
            <a:fld id="{5AE210D9-39DF-4C05-99E9-03C9244EAD13}" type="datetime1">
              <a:rPr lang="en-US" altLang="zh-TW" smtClean="0"/>
              <a:t>8/5/2015</a:t>
            </a:fld>
            <a:endParaRPr lang="en-US"/>
          </a:p>
        </p:txBody>
      </p:sp>
      <p:sp>
        <p:nvSpPr>
          <p:cNvPr id="6" name="Footer Placeholder 5"/>
          <p:cNvSpPr>
            <a:spLocks noGrp="1"/>
          </p:cNvSpPr>
          <p:nvPr>
            <p:ph type="ftr" sz="quarter" idx="11"/>
          </p:nvPr>
        </p:nvSpPr>
        <p:spPr/>
        <p:txBody>
          <a:bodyPr/>
          <a:lstStyle/>
          <a:p>
            <a:pPr>
              <a:defRPr/>
            </a:pPr>
            <a:endParaRPr lang="zh-CN" altLang="en-US"/>
          </a:p>
        </p:txBody>
      </p:sp>
      <p:sp>
        <p:nvSpPr>
          <p:cNvPr id="7" name="Slide Number Placeholder 6"/>
          <p:cNvSpPr>
            <a:spLocks noGrp="1"/>
          </p:cNvSpPr>
          <p:nvPr>
            <p:ph type="sldNum" sz="quarter" idx="12"/>
          </p:nvPr>
        </p:nvSpPr>
        <p:spPr/>
        <p:txBody>
          <a:bodyPr/>
          <a:lstStyle/>
          <a:p>
            <a:pPr>
              <a:defRPr/>
            </a:pPr>
            <a:fld id="{9E7C370F-DB3A-4B0A-A643-A54D4B658D72}" type="slidenum">
              <a:rPr lang="en-US" smtClean="0"/>
              <a:pPr>
                <a:defRPr/>
              </a:pPr>
              <a:t>‹#›</a:t>
            </a:fld>
            <a:endParaRPr lang="zh-CN" altLang="en-US"/>
          </a:p>
        </p:txBody>
      </p:sp>
      <p:sp>
        <p:nvSpPr>
          <p:cNvPr id="9" name="Content Placeholder 8"/>
          <p:cNvSpPr>
            <a:spLocks noGrp="1"/>
          </p:cNvSpPr>
          <p:nvPr>
            <p:ph sz="quarter" idx="13"/>
          </p:nvPr>
        </p:nvSpPr>
        <p:spPr>
          <a:xfrm>
            <a:off x="676655" y="2679192"/>
            <a:ext cx="3822192" cy="3447288"/>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en-US"/>
          </a:p>
        </p:txBody>
      </p:sp>
      <p:sp>
        <p:nvSpPr>
          <p:cNvPr id="11" name="Content Placeholder 10"/>
          <p:cNvSpPr>
            <a:spLocks noGrp="1"/>
          </p:cNvSpPr>
          <p:nvPr>
            <p:ph sz="quarter" idx="14"/>
          </p:nvPr>
        </p:nvSpPr>
        <p:spPr>
          <a:xfrm>
            <a:off x="4645152" y="2679192"/>
            <a:ext cx="3822192" cy="3447288"/>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Rectangle 2"/>
          <p:cNvSpPr/>
          <p:nvPr userDrawn="1"/>
        </p:nvSpPr>
        <p:spPr bwMode="hidden">
          <a:xfrm>
            <a:off x="2" y="1155943"/>
            <a:ext cx="9144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77" tIns="34277" rIns="34277" bIns="34277" numCol="1" spcCol="0" rtlCol="0" fromWordArt="0" anchor="ctr" anchorCtr="0" forceAA="0" compatLnSpc="1">
            <a:prstTxWarp prst="textNoShape">
              <a:avLst/>
            </a:prstTxWarp>
            <a:noAutofit/>
          </a:bodyPr>
          <a:lstStyle/>
          <a:p>
            <a:pPr algn="ctr" defTabSz="685314"/>
            <a:endParaRPr lang="en-US" sz="1350" b="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0" y="1447803"/>
            <a:ext cx="8366320" cy="1449628"/>
          </a:xfrm>
        </p:spPr>
        <p:txBody>
          <a:bodyPr/>
          <a:lstStyle>
            <a:lvl1pPr marL="0" indent="0">
              <a:buNone/>
              <a:defRPr sz="2400">
                <a:gradFill>
                  <a:gsLst>
                    <a:gs pos="1250">
                      <a:schemeClr val="tx1"/>
                    </a:gs>
                    <a:gs pos="100000">
                      <a:schemeClr val="tx1"/>
                    </a:gs>
                  </a:gsLst>
                  <a:lin ang="5400000" scaled="0"/>
                </a:gradFill>
                <a:latin typeface="Consolas" pitchFamily="49" charset="0"/>
                <a:cs typeface="Consolas" pitchFamily="49" charset="0"/>
              </a:defRPr>
            </a:lvl1pPr>
            <a:lvl2pPr marL="254697" indent="0">
              <a:buNone/>
              <a:defRPr>
                <a:gradFill>
                  <a:gsLst>
                    <a:gs pos="1250">
                      <a:schemeClr val="tx1"/>
                    </a:gs>
                    <a:gs pos="100000">
                      <a:schemeClr val="tx1"/>
                    </a:gs>
                  </a:gsLst>
                  <a:lin ang="5400000" scaled="0"/>
                </a:gradFill>
                <a:latin typeface="Consolas" pitchFamily="49" charset="0"/>
                <a:cs typeface="Consolas" pitchFamily="49" charset="0"/>
              </a:defRPr>
            </a:lvl2pPr>
            <a:lvl3pPr marL="429653" indent="0">
              <a:buNone/>
              <a:defRPr>
                <a:gradFill>
                  <a:gsLst>
                    <a:gs pos="1250">
                      <a:schemeClr val="tx1"/>
                    </a:gs>
                    <a:gs pos="100000">
                      <a:schemeClr val="tx1"/>
                    </a:gs>
                  </a:gsLst>
                  <a:lin ang="5400000" scaled="0"/>
                </a:gradFill>
                <a:latin typeface="Consolas" pitchFamily="49" charset="0"/>
                <a:cs typeface="Consolas" pitchFamily="49" charset="0"/>
              </a:defRPr>
            </a:lvl3pPr>
            <a:lvl4pPr marL="598658" indent="0">
              <a:buNone/>
              <a:defRPr>
                <a:gradFill>
                  <a:gsLst>
                    <a:gs pos="1250">
                      <a:schemeClr val="tx1"/>
                    </a:gs>
                    <a:gs pos="100000">
                      <a:schemeClr val="tx1"/>
                    </a:gs>
                  </a:gsLst>
                  <a:lin ang="5400000" scaled="0"/>
                </a:gradFill>
                <a:latin typeface="Consolas" pitchFamily="49" charset="0"/>
                <a:cs typeface="Consolas" pitchFamily="49" charset="0"/>
              </a:defRPr>
            </a:lvl4pPr>
            <a:lvl5pPr marL="772422"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4832215"/>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328976"/>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6" y="228603"/>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7" y="1447799"/>
            <a:ext cx="8363938" cy="1491177"/>
          </a:xfrm>
          <a:prstGeom prst="rect">
            <a:avLst/>
          </a:prstGeom>
        </p:spPr>
        <p:txBody>
          <a:bodyPr/>
          <a:lstStyle>
            <a:lvl1pPr marL="257077" indent="-257077">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309" indent="-21423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539" indent="-21423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6924" indent="-17138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308" indent="-17138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9144001" cy="619125"/>
          </a:xfrm>
          <a:prstGeom prst="rect">
            <a:avLst/>
          </a:prstGeom>
          <a:solidFill>
            <a:srgbClr val="FFFF99"/>
          </a:solidFill>
        </p:spPr>
        <p:txBody>
          <a:bodyPr wrap="square" lIns="152379" tIns="76190" rIns="152379" bIns="76190"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818715385"/>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8"/>
            <a:ext cx="8363938" cy="560795"/>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8" y="1447800"/>
            <a:ext cx="8363938" cy="149117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2"/>
          <p:cNvSpPr>
            <a:spLocks noGrp="1"/>
          </p:cNvSpPr>
          <p:nvPr>
            <p:ph type="sldNum" sz="quarter" idx="4"/>
          </p:nvPr>
        </p:nvSpPr>
        <p:spPr>
          <a:xfrm>
            <a:off x="8585452" y="6429375"/>
            <a:ext cx="171495" cy="93487"/>
          </a:xfrm>
          <a:prstGeom prst="rect">
            <a:avLst/>
          </a:prstGeom>
          <a:noFill/>
        </p:spPr>
        <p:txBody>
          <a:bodyPr wrap="square" lIns="0" tIns="0" rIns="0" bIns="0" rtlCol="0">
            <a:spAutoFit/>
          </a:bodyPr>
          <a:lstStyle>
            <a:lvl1pPr algn="l">
              <a:defRPr lang="en-US" sz="675" spc="-15" baseline="0" smtClean="0">
                <a:gradFill>
                  <a:gsLst>
                    <a:gs pos="0">
                      <a:schemeClr val="tx1"/>
                    </a:gs>
                    <a:gs pos="100000">
                      <a:schemeClr val="tx1"/>
                    </a:gs>
                  </a:gsLst>
                  <a:lin ang="5400000" scaled="0"/>
                </a:gradFill>
              </a:defRPr>
            </a:lvl1p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4138836721"/>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8948740"/>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Title &amp; Only">
    <p:spTree>
      <p:nvGrpSpPr>
        <p:cNvPr id="1" name=""/>
        <p:cNvGrpSpPr/>
        <p:nvPr/>
      </p:nvGrpSpPr>
      <p:grpSpPr>
        <a:xfrm>
          <a:off x="0" y="0"/>
          <a:ext cx="0" cy="0"/>
          <a:chOff x="0" y="0"/>
          <a:chExt cx="0" cy="0"/>
        </a:xfrm>
      </p:grpSpPr>
      <p:sp>
        <p:nvSpPr>
          <p:cNvPr id="9" name="Text Placeholder 8"/>
          <p:cNvSpPr>
            <a:spLocks noGrp="1"/>
          </p:cNvSpPr>
          <p:nvPr>
            <p:ph type="body" sz="quarter" idx="15"/>
          </p:nvPr>
        </p:nvSpPr>
        <p:spPr>
          <a:xfrm>
            <a:off x="199596" y="291070"/>
            <a:ext cx="8734363" cy="677270"/>
          </a:xfrm>
        </p:spPr>
        <p:txBody>
          <a:bodyPr vert="horz" wrap="square" lIns="149226" tIns="93266" rIns="149226" bIns="93266" rtlCol="0" anchor="t" anchorCtr="0">
            <a:spAutoFit/>
          </a:bodyPr>
          <a:lstStyle>
            <a:lvl1pPr>
              <a:lnSpc>
                <a:spcPct val="80000"/>
              </a:lnSpc>
              <a:spcAft>
                <a:spcPts val="0"/>
              </a:spcAft>
              <a:defRPr lang="en-US" sz="3530" spc="-75" dirty="0" smtClean="0">
                <a:solidFill>
                  <a:schemeClr val="tx1">
                    <a:lumMod val="65000"/>
                    <a:lumOff val="35000"/>
                  </a:schemeClr>
                </a:solidFill>
                <a:latin typeface="Segoe UI Light" pitchFamily="34" charset="0"/>
                <a:ea typeface="+mj-ea"/>
                <a:cs typeface="+mj-cs"/>
              </a:defRPr>
            </a:lvl1pPr>
          </a:lstStyle>
          <a:p>
            <a:pPr lvl="0" defTabSz="913595">
              <a:lnSpc>
                <a:spcPct val="90000"/>
              </a:lnSpc>
              <a:spcBef>
                <a:spcPct val="0"/>
              </a:spcBef>
            </a:pPr>
            <a:r>
              <a:rPr lang="en-US" smtClean="0"/>
              <a:t>Click to edit Master text styles</a:t>
            </a:r>
          </a:p>
        </p:txBody>
      </p:sp>
      <p:pic>
        <p:nvPicPr>
          <p:cNvPr id="4" name="Picture 3"/>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8194409" y="6386525"/>
            <a:ext cx="739550" cy="3585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3657820"/>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470901" y="4452767"/>
            <a:ext cx="5378503" cy="1792326"/>
          </a:xfrm>
          <a:noFill/>
        </p:spPr>
        <p:txBody>
          <a:bodyPr lIns="146304" tIns="109728" rIns="146304" bIns="109728">
            <a:noAutofit/>
          </a:bodyPr>
          <a:lstStyle>
            <a:lvl1pPr marL="0" indent="0">
              <a:spcBef>
                <a:spcPts val="0"/>
              </a:spcBef>
              <a:buNone/>
              <a:defRPr sz="2647" spc="0" baseline="0">
                <a:gradFill>
                  <a:gsLst>
                    <a:gs pos="91000">
                      <a:schemeClr val="tx1"/>
                    </a:gs>
                    <a:gs pos="0">
                      <a:schemeClr val="tx1"/>
                    </a:gs>
                  </a:gsLst>
                  <a:lin ang="5400000" scaled="0"/>
                </a:gradFill>
                <a:latin typeface="+mn-lt"/>
              </a:defRPr>
            </a:lvl1pPr>
          </a:lstStyle>
          <a:p>
            <a:pPr lvl="0"/>
            <a:r>
              <a:rPr lang="en-US" dirty="0" smtClean="0"/>
              <a:t>Speaker Name</a:t>
            </a:r>
          </a:p>
        </p:txBody>
      </p:sp>
      <p:sp>
        <p:nvSpPr>
          <p:cNvPr id="7" name="Windows 10"/>
          <p:cNvSpPr>
            <a:spLocks noEditPoints="1"/>
          </p:cNvSpPr>
          <p:nvPr userDrawn="1"/>
        </p:nvSpPr>
        <p:spPr bwMode="auto">
          <a:xfrm>
            <a:off x="618533" y="2757092"/>
            <a:ext cx="5357287" cy="1334883"/>
          </a:xfrm>
          <a:custGeom>
            <a:avLst/>
            <a:gdLst>
              <a:gd name="T0" fmla="*/ 295 w 3590"/>
              <a:gd name="T1" fmla="*/ 329 h 668"/>
              <a:gd name="T2" fmla="*/ 0 w 3590"/>
              <a:gd name="T3" fmla="*/ 94 h 668"/>
              <a:gd name="T4" fmla="*/ 295 w 3590"/>
              <a:gd name="T5" fmla="*/ 616 h 668"/>
              <a:gd name="T6" fmla="*/ 284 w 3590"/>
              <a:gd name="T7" fmla="*/ 340 h 668"/>
              <a:gd name="T8" fmla="*/ 284 w 3590"/>
              <a:gd name="T9" fmla="*/ 340 h 668"/>
              <a:gd name="T10" fmla="*/ 3196 w 3590"/>
              <a:gd name="T11" fmla="*/ 160 h 668"/>
              <a:gd name="T12" fmla="*/ 3158 w 3590"/>
              <a:gd name="T13" fmla="*/ 224 h 668"/>
              <a:gd name="T14" fmla="*/ 3223 w 3590"/>
              <a:gd name="T15" fmla="*/ 531 h 668"/>
              <a:gd name="T16" fmla="*/ 3407 w 3590"/>
              <a:gd name="T17" fmla="*/ 139 h 668"/>
              <a:gd name="T18" fmla="*/ 3339 w 3590"/>
              <a:gd name="T19" fmla="*/ 424 h 668"/>
              <a:gd name="T20" fmla="*/ 3513 w 3590"/>
              <a:gd name="T21" fmla="*/ 524 h 668"/>
              <a:gd name="T22" fmla="*/ 3465 w 3590"/>
              <a:gd name="T23" fmla="*/ 125 h 668"/>
              <a:gd name="T24" fmla="*/ 3544 w 3590"/>
              <a:gd name="T25" fmla="*/ 334 h 668"/>
              <a:gd name="T26" fmla="*/ 1215 w 3590"/>
              <a:gd name="T27" fmla="*/ 532 h 668"/>
              <a:gd name="T28" fmla="*/ 1118 w 3590"/>
              <a:gd name="T29" fmla="*/ 240 h 668"/>
              <a:gd name="T30" fmla="*/ 916 w 3590"/>
              <a:gd name="T31" fmla="*/ 133 h 668"/>
              <a:gd name="T32" fmla="*/ 1017 w 3590"/>
              <a:gd name="T33" fmla="*/ 439 h 668"/>
              <a:gd name="T34" fmla="*/ 1242 w 3590"/>
              <a:gd name="T35" fmla="*/ 478 h 668"/>
              <a:gd name="T36" fmla="*/ 1382 w 3590"/>
              <a:gd name="T37" fmla="*/ 133 h 668"/>
              <a:gd name="T38" fmla="*/ 1424 w 3590"/>
              <a:gd name="T39" fmla="*/ 175 h 668"/>
              <a:gd name="T40" fmla="*/ 1467 w 3590"/>
              <a:gd name="T41" fmla="*/ 132 h 668"/>
              <a:gd name="T42" fmla="*/ 1422 w 3590"/>
              <a:gd name="T43" fmla="*/ 247 h 668"/>
              <a:gd name="T44" fmla="*/ 1726 w 3590"/>
              <a:gd name="T45" fmla="*/ 532 h 668"/>
              <a:gd name="T46" fmla="*/ 1581 w 3590"/>
              <a:gd name="T47" fmla="*/ 369 h 668"/>
              <a:gd name="T48" fmla="*/ 1581 w 3590"/>
              <a:gd name="T49" fmla="*/ 247 h 668"/>
              <a:gd name="T50" fmla="*/ 1747 w 3590"/>
              <a:gd name="T51" fmla="*/ 271 h 668"/>
              <a:gd name="T52" fmla="*/ 2041 w 3590"/>
              <a:gd name="T53" fmla="*/ 532 h 668"/>
              <a:gd name="T54" fmla="*/ 1856 w 3590"/>
              <a:gd name="T55" fmla="*/ 500 h 668"/>
              <a:gd name="T56" fmla="*/ 2040 w 3590"/>
              <a:gd name="T57" fmla="*/ 286 h 668"/>
              <a:gd name="T58" fmla="*/ 2087 w 3590"/>
              <a:gd name="T59" fmla="*/ 532 h 668"/>
              <a:gd name="T60" fmla="*/ 1960 w 3590"/>
              <a:gd name="T61" fmla="*/ 279 h 668"/>
              <a:gd name="T62" fmla="*/ 1955 w 3590"/>
              <a:gd name="T63" fmla="*/ 500 h 668"/>
              <a:gd name="T64" fmla="*/ 2387 w 3590"/>
              <a:gd name="T65" fmla="*/ 497 h 668"/>
              <a:gd name="T66" fmla="*/ 2184 w 3590"/>
              <a:gd name="T67" fmla="*/ 281 h 668"/>
              <a:gd name="T68" fmla="*/ 2379 w 3590"/>
              <a:gd name="T69" fmla="*/ 390 h 668"/>
              <a:gd name="T70" fmla="*/ 2192 w 3590"/>
              <a:gd name="T71" fmla="*/ 391 h 668"/>
              <a:gd name="T72" fmla="*/ 2379 w 3590"/>
              <a:gd name="T73" fmla="*/ 390 h 668"/>
              <a:gd name="T74" fmla="*/ 2651 w 3590"/>
              <a:gd name="T75" fmla="*/ 328 h 668"/>
              <a:gd name="T76" fmla="*/ 2576 w 3590"/>
              <a:gd name="T77" fmla="*/ 532 h 668"/>
              <a:gd name="T78" fmla="*/ 2551 w 3590"/>
              <a:gd name="T79" fmla="*/ 461 h 668"/>
              <a:gd name="T80" fmla="*/ 2628 w 3590"/>
              <a:gd name="T81" fmla="*/ 247 h 668"/>
              <a:gd name="T82" fmla="*/ 2735 w 3590"/>
              <a:gd name="T83" fmla="*/ 487 h 668"/>
              <a:gd name="T84" fmla="*/ 3039 w 3590"/>
              <a:gd name="T85" fmla="*/ 456 h 668"/>
              <a:gd name="T86" fmla="*/ 2864 w 3590"/>
              <a:gd name="T87" fmla="*/ 473 h 668"/>
              <a:gd name="T88" fmla="*/ 2934 w 3590"/>
              <a:gd name="T89" fmla="*/ 406 h 668"/>
              <a:gd name="T90" fmla="*/ 2965 w 3590"/>
              <a:gd name="T91" fmla="*/ 240 h 668"/>
              <a:gd name="T92" fmla="*/ 2925 w 3590"/>
              <a:gd name="T93" fmla="*/ 290 h 668"/>
              <a:gd name="T94" fmla="*/ 3022 w 3590"/>
              <a:gd name="T95" fmla="*/ 408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90" h="668">
                <a:moveTo>
                  <a:pt x="295" y="52"/>
                </a:moveTo>
                <a:cubicBezTo>
                  <a:pt x="667" y="0"/>
                  <a:pt x="667" y="0"/>
                  <a:pt x="667" y="0"/>
                </a:cubicBezTo>
                <a:cubicBezTo>
                  <a:pt x="667" y="329"/>
                  <a:pt x="667" y="329"/>
                  <a:pt x="667" y="329"/>
                </a:cubicBezTo>
                <a:cubicBezTo>
                  <a:pt x="295" y="329"/>
                  <a:pt x="295" y="329"/>
                  <a:pt x="295" y="329"/>
                </a:cubicBezTo>
                <a:lnTo>
                  <a:pt x="295" y="52"/>
                </a:lnTo>
                <a:close/>
                <a:moveTo>
                  <a:pt x="284" y="329"/>
                </a:moveTo>
                <a:cubicBezTo>
                  <a:pt x="284" y="54"/>
                  <a:pt x="284" y="54"/>
                  <a:pt x="284" y="54"/>
                </a:cubicBezTo>
                <a:cubicBezTo>
                  <a:pt x="0" y="94"/>
                  <a:pt x="0" y="94"/>
                  <a:pt x="0" y="94"/>
                </a:cubicBezTo>
                <a:cubicBezTo>
                  <a:pt x="0" y="329"/>
                  <a:pt x="0" y="329"/>
                  <a:pt x="0" y="329"/>
                </a:cubicBezTo>
                <a:lnTo>
                  <a:pt x="284" y="329"/>
                </a:lnTo>
                <a:close/>
                <a:moveTo>
                  <a:pt x="295" y="340"/>
                </a:moveTo>
                <a:cubicBezTo>
                  <a:pt x="295" y="616"/>
                  <a:pt x="295" y="616"/>
                  <a:pt x="295" y="616"/>
                </a:cubicBezTo>
                <a:cubicBezTo>
                  <a:pt x="667" y="668"/>
                  <a:pt x="667" y="668"/>
                  <a:pt x="667" y="668"/>
                </a:cubicBezTo>
                <a:cubicBezTo>
                  <a:pt x="667" y="340"/>
                  <a:pt x="667" y="340"/>
                  <a:pt x="667" y="340"/>
                </a:cubicBezTo>
                <a:lnTo>
                  <a:pt x="295" y="340"/>
                </a:lnTo>
                <a:close/>
                <a:moveTo>
                  <a:pt x="284" y="340"/>
                </a:moveTo>
                <a:cubicBezTo>
                  <a:pt x="0" y="340"/>
                  <a:pt x="0" y="340"/>
                  <a:pt x="0" y="340"/>
                </a:cubicBezTo>
                <a:cubicBezTo>
                  <a:pt x="0" y="575"/>
                  <a:pt x="0" y="575"/>
                  <a:pt x="0" y="575"/>
                </a:cubicBezTo>
                <a:cubicBezTo>
                  <a:pt x="284" y="615"/>
                  <a:pt x="284" y="615"/>
                  <a:pt x="284" y="615"/>
                </a:cubicBezTo>
                <a:lnTo>
                  <a:pt x="284" y="340"/>
                </a:lnTo>
                <a:close/>
                <a:moveTo>
                  <a:pt x="3269" y="123"/>
                </a:moveTo>
                <a:cubicBezTo>
                  <a:pt x="3252" y="123"/>
                  <a:pt x="3252" y="123"/>
                  <a:pt x="3252" y="123"/>
                </a:cubicBezTo>
                <a:cubicBezTo>
                  <a:pt x="3245" y="129"/>
                  <a:pt x="3236" y="136"/>
                  <a:pt x="3227" y="142"/>
                </a:cubicBezTo>
                <a:cubicBezTo>
                  <a:pt x="3217" y="148"/>
                  <a:pt x="3207" y="154"/>
                  <a:pt x="3196" y="160"/>
                </a:cubicBezTo>
                <a:cubicBezTo>
                  <a:pt x="3185" y="166"/>
                  <a:pt x="3174" y="171"/>
                  <a:pt x="3163" y="176"/>
                </a:cubicBezTo>
                <a:cubicBezTo>
                  <a:pt x="3152" y="181"/>
                  <a:pt x="3141" y="185"/>
                  <a:pt x="3131" y="187"/>
                </a:cubicBezTo>
                <a:cubicBezTo>
                  <a:pt x="3131" y="234"/>
                  <a:pt x="3131" y="234"/>
                  <a:pt x="3131" y="234"/>
                </a:cubicBezTo>
                <a:cubicBezTo>
                  <a:pt x="3140" y="231"/>
                  <a:pt x="3149" y="228"/>
                  <a:pt x="3158" y="224"/>
                </a:cubicBezTo>
                <a:cubicBezTo>
                  <a:pt x="3168" y="221"/>
                  <a:pt x="3177" y="216"/>
                  <a:pt x="3185" y="212"/>
                </a:cubicBezTo>
                <a:cubicBezTo>
                  <a:pt x="3194" y="207"/>
                  <a:pt x="3201" y="203"/>
                  <a:pt x="3208" y="198"/>
                </a:cubicBezTo>
                <a:cubicBezTo>
                  <a:pt x="3215" y="194"/>
                  <a:pt x="3220" y="190"/>
                  <a:pt x="3223" y="186"/>
                </a:cubicBezTo>
                <a:cubicBezTo>
                  <a:pt x="3223" y="531"/>
                  <a:pt x="3223" y="531"/>
                  <a:pt x="3223" y="531"/>
                </a:cubicBezTo>
                <a:cubicBezTo>
                  <a:pt x="3269" y="531"/>
                  <a:pt x="3269" y="531"/>
                  <a:pt x="3269" y="531"/>
                </a:cubicBezTo>
                <a:lnTo>
                  <a:pt x="3269" y="123"/>
                </a:lnTo>
                <a:close/>
                <a:moveTo>
                  <a:pt x="3465" y="125"/>
                </a:moveTo>
                <a:cubicBezTo>
                  <a:pt x="3443" y="125"/>
                  <a:pt x="3424" y="130"/>
                  <a:pt x="3407" y="139"/>
                </a:cubicBezTo>
                <a:cubicBezTo>
                  <a:pt x="3390" y="148"/>
                  <a:pt x="3376" y="162"/>
                  <a:pt x="3365" y="180"/>
                </a:cubicBezTo>
                <a:cubicBezTo>
                  <a:pt x="3354" y="198"/>
                  <a:pt x="3345" y="221"/>
                  <a:pt x="3339" y="247"/>
                </a:cubicBezTo>
                <a:cubicBezTo>
                  <a:pt x="3333" y="274"/>
                  <a:pt x="3331" y="305"/>
                  <a:pt x="3331" y="340"/>
                </a:cubicBezTo>
                <a:cubicBezTo>
                  <a:pt x="3331" y="371"/>
                  <a:pt x="3333" y="399"/>
                  <a:pt x="3339" y="424"/>
                </a:cubicBezTo>
                <a:cubicBezTo>
                  <a:pt x="3344" y="448"/>
                  <a:pt x="3353" y="469"/>
                  <a:pt x="3363" y="486"/>
                </a:cubicBezTo>
                <a:cubicBezTo>
                  <a:pt x="3374" y="503"/>
                  <a:pt x="3387" y="516"/>
                  <a:pt x="3403" y="525"/>
                </a:cubicBezTo>
                <a:cubicBezTo>
                  <a:pt x="3419" y="533"/>
                  <a:pt x="3436" y="538"/>
                  <a:pt x="3456" y="538"/>
                </a:cubicBezTo>
                <a:cubicBezTo>
                  <a:pt x="3478" y="538"/>
                  <a:pt x="3496" y="533"/>
                  <a:pt x="3513" y="524"/>
                </a:cubicBezTo>
                <a:cubicBezTo>
                  <a:pt x="3530" y="515"/>
                  <a:pt x="3544" y="501"/>
                  <a:pt x="3555" y="484"/>
                </a:cubicBezTo>
                <a:cubicBezTo>
                  <a:pt x="3566" y="466"/>
                  <a:pt x="3575" y="444"/>
                  <a:pt x="3581" y="418"/>
                </a:cubicBezTo>
                <a:cubicBezTo>
                  <a:pt x="3587" y="393"/>
                  <a:pt x="3590" y="363"/>
                  <a:pt x="3590" y="330"/>
                </a:cubicBezTo>
                <a:cubicBezTo>
                  <a:pt x="3590" y="194"/>
                  <a:pt x="3548" y="125"/>
                  <a:pt x="3465" y="125"/>
                </a:cubicBezTo>
                <a:close/>
                <a:moveTo>
                  <a:pt x="3461" y="499"/>
                </a:moveTo>
                <a:cubicBezTo>
                  <a:pt x="3405" y="499"/>
                  <a:pt x="3377" y="445"/>
                  <a:pt x="3377" y="337"/>
                </a:cubicBezTo>
                <a:cubicBezTo>
                  <a:pt x="3377" y="222"/>
                  <a:pt x="3406" y="164"/>
                  <a:pt x="3463" y="164"/>
                </a:cubicBezTo>
                <a:cubicBezTo>
                  <a:pt x="3517" y="164"/>
                  <a:pt x="3544" y="221"/>
                  <a:pt x="3544" y="334"/>
                </a:cubicBezTo>
                <a:cubicBezTo>
                  <a:pt x="3544" y="444"/>
                  <a:pt x="3516" y="499"/>
                  <a:pt x="3461" y="499"/>
                </a:cubicBezTo>
                <a:close/>
                <a:moveTo>
                  <a:pt x="1382" y="133"/>
                </a:moveTo>
                <a:cubicBezTo>
                  <a:pt x="1270" y="532"/>
                  <a:pt x="1270" y="532"/>
                  <a:pt x="1270" y="532"/>
                </a:cubicBezTo>
                <a:cubicBezTo>
                  <a:pt x="1215" y="532"/>
                  <a:pt x="1215" y="532"/>
                  <a:pt x="1215" y="532"/>
                </a:cubicBezTo>
                <a:cubicBezTo>
                  <a:pt x="1133" y="240"/>
                  <a:pt x="1133" y="240"/>
                  <a:pt x="1133" y="240"/>
                </a:cubicBezTo>
                <a:cubicBezTo>
                  <a:pt x="1130" y="229"/>
                  <a:pt x="1128" y="216"/>
                  <a:pt x="1127" y="200"/>
                </a:cubicBezTo>
                <a:cubicBezTo>
                  <a:pt x="1126" y="200"/>
                  <a:pt x="1126" y="200"/>
                  <a:pt x="1126" y="200"/>
                </a:cubicBezTo>
                <a:cubicBezTo>
                  <a:pt x="1124" y="214"/>
                  <a:pt x="1122" y="227"/>
                  <a:pt x="1118" y="240"/>
                </a:cubicBezTo>
                <a:cubicBezTo>
                  <a:pt x="1036" y="532"/>
                  <a:pt x="1036" y="532"/>
                  <a:pt x="1036" y="532"/>
                </a:cubicBezTo>
                <a:cubicBezTo>
                  <a:pt x="981" y="532"/>
                  <a:pt x="981" y="532"/>
                  <a:pt x="981" y="532"/>
                </a:cubicBezTo>
                <a:cubicBezTo>
                  <a:pt x="865" y="133"/>
                  <a:pt x="865" y="133"/>
                  <a:pt x="865" y="133"/>
                </a:cubicBezTo>
                <a:cubicBezTo>
                  <a:pt x="916" y="133"/>
                  <a:pt x="916" y="133"/>
                  <a:pt x="916" y="133"/>
                </a:cubicBezTo>
                <a:cubicBezTo>
                  <a:pt x="1001" y="439"/>
                  <a:pt x="1001" y="439"/>
                  <a:pt x="1001" y="439"/>
                </a:cubicBezTo>
                <a:cubicBezTo>
                  <a:pt x="1004" y="452"/>
                  <a:pt x="1007" y="466"/>
                  <a:pt x="1008" y="479"/>
                </a:cubicBezTo>
                <a:cubicBezTo>
                  <a:pt x="1009" y="479"/>
                  <a:pt x="1009" y="479"/>
                  <a:pt x="1009" y="479"/>
                </a:cubicBezTo>
                <a:cubicBezTo>
                  <a:pt x="1010" y="468"/>
                  <a:pt x="1013" y="454"/>
                  <a:pt x="1017" y="439"/>
                </a:cubicBezTo>
                <a:cubicBezTo>
                  <a:pt x="1106" y="133"/>
                  <a:pt x="1106" y="133"/>
                  <a:pt x="1106" y="133"/>
                </a:cubicBezTo>
                <a:cubicBezTo>
                  <a:pt x="1151" y="133"/>
                  <a:pt x="1151" y="133"/>
                  <a:pt x="1151" y="133"/>
                </a:cubicBezTo>
                <a:cubicBezTo>
                  <a:pt x="1235" y="441"/>
                  <a:pt x="1235" y="441"/>
                  <a:pt x="1235" y="441"/>
                </a:cubicBezTo>
                <a:cubicBezTo>
                  <a:pt x="1238" y="453"/>
                  <a:pt x="1240" y="465"/>
                  <a:pt x="1242" y="478"/>
                </a:cubicBezTo>
                <a:cubicBezTo>
                  <a:pt x="1243" y="478"/>
                  <a:pt x="1243" y="478"/>
                  <a:pt x="1243" y="478"/>
                </a:cubicBezTo>
                <a:cubicBezTo>
                  <a:pt x="1244" y="469"/>
                  <a:pt x="1246" y="456"/>
                  <a:pt x="1250" y="440"/>
                </a:cubicBezTo>
                <a:cubicBezTo>
                  <a:pt x="1332" y="133"/>
                  <a:pt x="1332" y="133"/>
                  <a:pt x="1332" y="133"/>
                </a:cubicBezTo>
                <a:lnTo>
                  <a:pt x="1382" y="133"/>
                </a:lnTo>
                <a:close/>
                <a:moveTo>
                  <a:pt x="1475" y="153"/>
                </a:moveTo>
                <a:cubicBezTo>
                  <a:pt x="1475" y="162"/>
                  <a:pt x="1472" y="169"/>
                  <a:pt x="1466" y="174"/>
                </a:cubicBezTo>
                <a:cubicBezTo>
                  <a:pt x="1461" y="180"/>
                  <a:pt x="1453" y="183"/>
                  <a:pt x="1445" y="183"/>
                </a:cubicBezTo>
                <a:cubicBezTo>
                  <a:pt x="1437" y="183"/>
                  <a:pt x="1430" y="180"/>
                  <a:pt x="1424" y="175"/>
                </a:cubicBezTo>
                <a:cubicBezTo>
                  <a:pt x="1418" y="169"/>
                  <a:pt x="1416" y="162"/>
                  <a:pt x="1416" y="153"/>
                </a:cubicBezTo>
                <a:cubicBezTo>
                  <a:pt x="1416" y="145"/>
                  <a:pt x="1418" y="138"/>
                  <a:pt x="1424" y="132"/>
                </a:cubicBezTo>
                <a:cubicBezTo>
                  <a:pt x="1430" y="127"/>
                  <a:pt x="1437" y="124"/>
                  <a:pt x="1445" y="124"/>
                </a:cubicBezTo>
                <a:cubicBezTo>
                  <a:pt x="1454" y="124"/>
                  <a:pt x="1461" y="127"/>
                  <a:pt x="1467" y="132"/>
                </a:cubicBezTo>
                <a:cubicBezTo>
                  <a:pt x="1472" y="138"/>
                  <a:pt x="1475" y="145"/>
                  <a:pt x="1475" y="153"/>
                </a:cubicBezTo>
                <a:close/>
                <a:moveTo>
                  <a:pt x="1468" y="532"/>
                </a:moveTo>
                <a:cubicBezTo>
                  <a:pt x="1422" y="532"/>
                  <a:pt x="1422" y="532"/>
                  <a:pt x="1422" y="532"/>
                </a:cubicBezTo>
                <a:cubicBezTo>
                  <a:pt x="1422" y="247"/>
                  <a:pt x="1422" y="247"/>
                  <a:pt x="1422" y="247"/>
                </a:cubicBezTo>
                <a:cubicBezTo>
                  <a:pt x="1468" y="247"/>
                  <a:pt x="1468" y="247"/>
                  <a:pt x="1468" y="247"/>
                </a:cubicBezTo>
                <a:lnTo>
                  <a:pt x="1468" y="532"/>
                </a:lnTo>
                <a:close/>
                <a:moveTo>
                  <a:pt x="1772" y="532"/>
                </a:moveTo>
                <a:cubicBezTo>
                  <a:pt x="1726" y="532"/>
                  <a:pt x="1726" y="532"/>
                  <a:pt x="1726" y="532"/>
                </a:cubicBezTo>
                <a:cubicBezTo>
                  <a:pt x="1726" y="369"/>
                  <a:pt x="1726" y="369"/>
                  <a:pt x="1726" y="369"/>
                </a:cubicBezTo>
                <a:cubicBezTo>
                  <a:pt x="1726" y="309"/>
                  <a:pt x="1704" y="279"/>
                  <a:pt x="1660" y="279"/>
                </a:cubicBezTo>
                <a:cubicBezTo>
                  <a:pt x="1638" y="279"/>
                  <a:pt x="1619" y="288"/>
                  <a:pt x="1604" y="305"/>
                </a:cubicBezTo>
                <a:cubicBezTo>
                  <a:pt x="1589" y="322"/>
                  <a:pt x="1581" y="343"/>
                  <a:pt x="1581" y="369"/>
                </a:cubicBezTo>
                <a:cubicBezTo>
                  <a:pt x="1581" y="532"/>
                  <a:pt x="1581" y="532"/>
                  <a:pt x="1581" y="532"/>
                </a:cubicBezTo>
                <a:cubicBezTo>
                  <a:pt x="1536" y="532"/>
                  <a:pt x="1536" y="532"/>
                  <a:pt x="1536" y="532"/>
                </a:cubicBezTo>
                <a:cubicBezTo>
                  <a:pt x="1536" y="247"/>
                  <a:pt x="1536" y="247"/>
                  <a:pt x="1536" y="247"/>
                </a:cubicBezTo>
                <a:cubicBezTo>
                  <a:pt x="1581" y="247"/>
                  <a:pt x="1581" y="247"/>
                  <a:pt x="1581" y="247"/>
                </a:cubicBezTo>
                <a:cubicBezTo>
                  <a:pt x="1581" y="294"/>
                  <a:pt x="1581" y="294"/>
                  <a:pt x="1581" y="294"/>
                </a:cubicBezTo>
                <a:cubicBezTo>
                  <a:pt x="1583" y="294"/>
                  <a:pt x="1583" y="294"/>
                  <a:pt x="1583" y="294"/>
                </a:cubicBezTo>
                <a:cubicBezTo>
                  <a:pt x="1604" y="258"/>
                  <a:pt x="1635" y="240"/>
                  <a:pt x="1676" y="240"/>
                </a:cubicBezTo>
                <a:cubicBezTo>
                  <a:pt x="1707" y="240"/>
                  <a:pt x="1731" y="250"/>
                  <a:pt x="1747" y="271"/>
                </a:cubicBezTo>
                <a:cubicBezTo>
                  <a:pt x="1764" y="291"/>
                  <a:pt x="1772" y="320"/>
                  <a:pt x="1772" y="358"/>
                </a:cubicBezTo>
                <a:lnTo>
                  <a:pt x="1772" y="532"/>
                </a:lnTo>
                <a:close/>
                <a:moveTo>
                  <a:pt x="2087" y="532"/>
                </a:moveTo>
                <a:cubicBezTo>
                  <a:pt x="2041" y="532"/>
                  <a:pt x="2041" y="532"/>
                  <a:pt x="2041" y="532"/>
                </a:cubicBezTo>
                <a:cubicBezTo>
                  <a:pt x="2041" y="483"/>
                  <a:pt x="2041" y="483"/>
                  <a:pt x="2041" y="483"/>
                </a:cubicBezTo>
                <a:cubicBezTo>
                  <a:pt x="2040" y="483"/>
                  <a:pt x="2040" y="483"/>
                  <a:pt x="2040" y="483"/>
                </a:cubicBezTo>
                <a:cubicBezTo>
                  <a:pt x="2019" y="520"/>
                  <a:pt x="1986" y="539"/>
                  <a:pt x="1942" y="539"/>
                </a:cubicBezTo>
                <a:cubicBezTo>
                  <a:pt x="1906" y="539"/>
                  <a:pt x="1878" y="526"/>
                  <a:pt x="1856" y="500"/>
                </a:cubicBezTo>
                <a:cubicBezTo>
                  <a:pt x="1835" y="474"/>
                  <a:pt x="1824" y="440"/>
                  <a:pt x="1824" y="396"/>
                </a:cubicBezTo>
                <a:cubicBezTo>
                  <a:pt x="1824" y="349"/>
                  <a:pt x="1836" y="312"/>
                  <a:pt x="1860" y="283"/>
                </a:cubicBezTo>
                <a:cubicBezTo>
                  <a:pt x="1883" y="255"/>
                  <a:pt x="1915" y="240"/>
                  <a:pt x="1955" y="240"/>
                </a:cubicBezTo>
                <a:cubicBezTo>
                  <a:pt x="1993" y="240"/>
                  <a:pt x="2022" y="256"/>
                  <a:pt x="2040" y="286"/>
                </a:cubicBezTo>
                <a:cubicBezTo>
                  <a:pt x="2041" y="286"/>
                  <a:pt x="2041" y="286"/>
                  <a:pt x="2041" y="286"/>
                </a:cubicBezTo>
                <a:cubicBezTo>
                  <a:pt x="2041" y="110"/>
                  <a:pt x="2041" y="110"/>
                  <a:pt x="2041" y="110"/>
                </a:cubicBezTo>
                <a:cubicBezTo>
                  <a:pt x="2087" y="110"/>
                  <a:pt x="2087" y="110"/>
                  <a:pt x="2087" y="110"/>
                </a:cubicBezTo>
                <a:lnTo>
                  <a:pt x="2087" y="532"/>
                </a:lnTo>
                <a:close/>
                <a:moveTo>
                  <a:pt x="2041" y="403"/>
                </a:moveTo>
                <a:cubicBezTo>
                  <a:pt x="2041" y="361"/>
                  <a:pt x="2041" y="361"/>
                  <a:pt x="2041" y="361"/>
                </a:cubicBezTo>
                <a:cubicBezTo>
                  <a:pt x="2041" y="338"/>
                  <a:pt x="2033" y="318"/>
                  <a:pt x="2018" y="303"/>
                </a:cubicBezTo>
                <a:cubicBezTo>
                  <a:pt x="2002" y="287"/>
                  <a:pt x="1983" y="279"/>
                  <a:pt x="1960" y="279"/>
                </a:cubicBezTo>
                <a:cubicBezTo>
                  <a:pt x="1933" y="279"/>
                  <a:pt x="1911" y="289"/>
                  <a:pt x="1895" y="310"/>
                </a:cubicBezTo>
                <a:cubicBezTo>
                  <a:pt x="1879" y="330"/>
                  <a:pt x="1871" y="358"/>
                  <a:pt x="1871" y="394"/>
                </a:cubicBezTo>
                <a:cubicBezTo>
                  <a:pt x="1871" y="427"/>
                  <a:pt x="1879" y="452"/>
                  <a:pt x="1894" y="471"/>
                </a:cubicBezTo>
                <a:cubicBezTo>
                  <a:pt x="1909" y="490"/>
                  <a:pt x="1929" y="500"/>
                  <a:pt x="1955" y="500"/>
                </a:cubicBezTo>
                <a:cubicBezTo>
                  <a:pt x="1980" y="500"/>
                  <a:pt x="2001" y="491"/>
                  <a:pt x="2017" y="473"/>
                </a:cubicBezTo>
                <a:cubicBezTo>
                  <a:pt x="2033" y="454"/>
                  <a:pt x="2041" y="431"/>
                  <a:pt x="2041" y="403"/>
                </a:cubicBezTo>
                <a:close/>
                <a:moveTo>
                  <a:pt x="2425" y="388"/>
                </a:moveTo>
                <a:cubicBezTo>
                  <a:pt x="2425" y="434"/>
                  <a:pt x="2412" y="470"/>
                  <a:pt x="2387" y="497"/>
                </a:cubicBezTo>
                <a:cubicBezTo>
                  <a:pt x="2361" y="525"/>
                  <a:pt x="2327" y="539"/>
                  <a:pt x="2284" y="539"/>
                </a:cubicBezTo>
                <a:cubicBezTo>
                  <a:pt x="2242" y="539"/>
                  <a:pt x="2208" y="525"/>
                  <a:pt x="2183" y="499"/>
                </a:cubicBezTo>
                <a:cubicBezTo>
                  <a:pt x="2158" y="472"/>
                  <a:pt x="2145" y="437"/>
                  <a:pt x="2145" y="393"/>
                </a:cubicBezTo>
                <a:cubicBezTo>
                  <a:pt x="2145" y="346"/>
                  <a:pt x="2158" y="309"/>
                  <a:pt x="2184" y="281"/>
                </a:cubicBezTo>
                <a:cubicBezTo>
                  <a:pt x="2210" y="254"/>
                  <a:pt x="2245" y="240"/>
                  <a:pt x="2290" y="240"/>
                </a:cubicBezTo>
                <a:cubicBezTo>
                  <a:pt x="2332" y="240"/>
                  <a:pt x="2366" y="253"/>
                  <a:pt x="2389" y="280"/>
                </a:cubicBezTo>
                <a:cubicBezTo>
                  <a:pt x="2413" y="306"/>
                  <a:pt x="2425" y="342"/>
                  <a:pt x="2425" y="388"/>
                </a:cubicBezTo>
                <a:close/>
                <a:moveTo>
                  <a:pt x="2379" y="390"/>
                </a:moveTo>
                <a:cubicBezTo>
                  <a:pt x="2379" y="354"/>
                  <a:pt x="2371" y="327"/>
                  <a:pt x="2355" y="308"/>
                </a:cubicBezTo>
                <a:cubicBezTo>
                  <a:pt x="2339" y="289"/>
                  <a:pt x="2316" y="279"/>
                  <a:pt x="2287" y="279"/>
                </a:cubicBezTo>
                <a:cubicBezTo>
                  <a:pt x="2258" y="279"/>
                  <a:pt x="2234" y="289"/>
                  <a:pt x="2217" y="308"/>
                </a:cubicBezTo>
                <a:cubicBezTo>
                  <a:pt x="2200" y="328"/>
                  <a:pt x="2192" y="356"/>
                  <a:pt x="2192" y="391"/>
                </a:cubicBezTo>
                <a:cubicBezTo>
                  <a:pt x="2192" y="425"/>
                  <a:pt x="2200" y="452"/>
                  <a:pt x="2218" y="471"/>
                </a:cubicBezTo>
                <a:cubicBezTo>
                  <a:pt x="2235" y="490"/>
                  <a:pt x="2258" y="500"/>
                  <a:pt x="2287" y="500"/>
                </a:cubicBezTo>
                <a:cubicBezTo>
                  <a:pt x="2317" y="500"/>
                  <a:pt x="2339" y="490"/>
                  <a:pt x="2355" y="471"/>
                </a:cubicBezTo>
                <a:cubicBezTo>
                  <a:pt x="2371" y="453"/>
                  <a:pt x="2379" y="425"/>
                  <a:pt x="2379" y="390"/>
                </a:cubicBezTo>
                <a:close/>
                <a:moveTo>
                  <a:pt x="2842" y="247"/>
                </a:moveTo>
                <a:cubicBezTo>
                  <a:pt x="2757" y="532"/>
                  <a:pt x="2757" y="532"/>
                  <a:pt x="2757" y="532"/>
                </a:cubicBezTo>
                <a:cubicBezTo>
                  <a:pt x="2710" y="532"/>
                  <a:pt x="2710" y="532"/>
                  <a:pt x="2710" y="532"/>
                </a:cubicBezTo>
                <a:cubicBezTo>
                  <a:pt x="2651" y="328"/>
                  <a:pt x="2651" y="328"/>
                  <a:pt x="2651" y="328"/>
                </a:cubicBezTo>
                <a:cubicBezTo>
                  <a:pt x="2649" y="321"/>
                  <a:pt x="2648" y="312"/>
                  <a:pt x="2647" y="302"/>
                </a:cubicBezTo>
                <a:cubicBezTo>
                  <a:pt x="2646" y="302"/>
                  <a:pt x="2646" y="302"/>
                  <a:pt x="2646" y="302"/>
                </a:cubicBezTo>
                <a:cubicBezTo>
                  <a:pt x="2645" y="308"/>
                  <a:pt x="2643" y="317"/>
                  <a:pt x="2640" y="328"/>
                </a:cubicBezTo>
                <a:cubicBezTo>
                  <a:pt x="2576" y="532"/>
                  <a:pt x="2576" y="532"/>
                  <a:pt x="2576" y="532"/>
                </a:cubicBezTo>
                <a:cubicBezTo>
                  <a:pt x="2531" y="532"/>
                  <a:pt x="2531" y="532"/>
                  <a:pt x="2531" y="532"/>
                </a:cubicBezTo>
                <a:cubicBezTo>
                  <a:pt x="2445" y="247"/>
                  <a:pt x="2445" y="247"/>
                  <a:pt x="2445" y="247"/>
                </a:cubicBezTo>
                <a:cubicBezTo>
                  <a:pt x="2493" y="247"/>
                  <a:pt x="2493" y="247"/>
                  <a:pt x="2493" y="247"/>
                </a:cubicBezTo>
                <a:cubicBezTo>
                  <a:pt x="2551" y="461"/>
                  <a:pt x="2551" y="461"/>
                  <a:pt x="2551" y="461"/>
                </a:cubicBezTo>
                <a:cubicBezTo>
                  <a:pt x="2553" y="469"/>
                  <a:pt x="2554" y="477"/>
                  <a:pt x="2555" y="487"/>
                </a:cubicBezTo>
                <a:cubicBezTo>
                  <a:pt x="2557" y="487"/>
                  <a:pt x="2557" y="487"/>
                  <a:pt x="2557" y="487"/>
                </a:cubicBezTo>
                <a:cubicBezTo>
                  <a:pt x="2558" y="480"/>
                  <a:pt x="2559" y="471"/>
                  <a:pt x="2563" y="461"/>
                </a:cubicBezTo>
                <a:cubicBezTo>
                  <a:pt x="2628" y="247"/>
                  <a:pt x="2628" y="247"/>
                  <a:pt x="2628" y="247"/>
                </a:cubicBezTo>
                <a:cubicBezTo>
                  <a:pt x="2670" y="247"/>
                  <a:pt x="2670" y="247"/>
                  <a:pt x="2670" y="247"/>
                </a:cubicBezTo>
                <a:cubicBezTo>
                  <a:pt x="2729" y="462"/>
                  <a:pt x="2729" y="462"/>
                  <a:pt x="2729" y="462"/>
                </a:cubicBezTo>
                <a:cubicBezTo>
                  <a:pt x="2731" y="469"/>
                  <a:pt x="2732" y="477"/>
                  <a:pt x="2733" y="487"/>
                </a:cubicBezTo>
                <a:cubicBezTo>
                  <a:pt x="2735" y="487"/>
                  <a:pt x="2735" y="487"/>
                  <a:pt x="2735" y="487"/>
                </a:cubicBezTo>
                <a:cubicBezTo>
                  <a:pt x="2735" y="478"/>
                  <a:pt x="2737" y="470"/>
                  <a:pt x="2739" y="462"/>
                </a:cubicBezTo>
                <a:cubicBezTo>
                  <a:pt x="2797" y="247"/>
                  <a:pt x="2797" y="247"/>
                  <a:pt x="2797" y="247"/>
                </a:cubicBezTo>
                <a:lnTo>
                  <a:pt x="2842" y="247"/>
                </a:lnTo>
                <a:close/>
                <a:moveTo>
                  <a:pt x="3039" y="456"/>
                </a:moveTo>
                <a:cubicBezTo>
                  <a:pt x="3039" y="480"/>
                  <a:pt x="3029" y="500"/>
                  <a:pt x="3010" y="516"/>
                </a:cubicBezTo>
                <a:cubicBezTo>
                  <a:pt x="2991" y="531"/>
                  <a:pt x="2966" y="539"/>
                  <a:pt x="2935" y="539"/>
                </a:cubicBezTo>
                <a:cubicBezTo>
                  <a:pt x="2908" y="539"/>
                  <a:pt x="2884" y="533"/>
                  <a:pt x="2864" y="521"/>
                </a:cubicBezTo>
                <a:cubicBezTo>
                  <a:pt x="2864" y="473"/>
                  <a:pt x="2864" y="473"/>
                  <a:pt x="2864" y="473"/>
                </a:cubicBezTo>
                <a:cubicBezTo>
                  <a:pt x="2886" y="491"/>
                  <a:pt x="2911" y="500"/>
                  <a:pt x="2938" y="500"/>
                </a:cubicBezTo>
                <a:cubicBezTo>
                  <a:pt x="2974" y="500"/>
                  <a:pt x="2992" y="487"/>
                  <a:pt x="2992" y="460"/>
                </a:cubicBezTo>
                <a:cubicBezTo>
                  <a:pt x="2992" y="449"/>
                  <a:pt x="2989" y="441"/>
                  <a:pt x="2982" y="434"/>
                </a:cubicBezTo>
                <a:cubicBezTo>
                  <a:pt x="2975" y="427"/>
                  <a:pt x="2959" y="418"/>
                  <a:pt x="2934" y="406"/>
                </a:cubicBezTo>
                <a:cubicBezTo>
                  <a:pt x="2908" y="396"/>
                  <a:pt x="2891" y="384"/>
                  <a:pt x="2880" y="372"/>
                </a:cubicBezTo>
                <a:cubicBezTo>
                  <a:pt x="2870" y="360"/>
                  <a:pt x="2865" y="343"/>
                  <a:pt x="2865" y="323"/>
                </a:cubicBezTo>
                <a:cubicBezTo>
                  <a:pt x="2865" y="299"/>
                  <a:pt x="2874" y="280"/>
                  <a:pt x="2893" y="264"/>
                </a:cubicBezTo>
                <a:cubicBezTo>
                  <a:pt x="2912" y="248"/>
                  <a:pt x="2936" y="240"/>
                  <a:pt x="2965" y="240"/>
                </a:cubicBezTo>
                <a:cubicBezTo>
                  <a:pt x="2987" y="240"/>
                  <a:pt x="3008" y="245"/>
                  <a:pt x="3026" y="254"/>
                </a:cubicBezTo>
                <a:cubicBezTo>
                  <a:pt x="3026" y="299"/>
                  <a:pt x="3026" y="299"/>
                  <a:pt x="3026" y="299"/>
                </a:cubicBezTo>
                <a:cubicBezTo>
                  <a:pt x="3007" y="286"/>
                  <a:pt x="2986" y="279"/>
                  <a:pt x="2961" y="279"/>
                </a:cubicBezTo>
                <a:cubicBezTo>
                  <a:pt x="2946" y="279"/>
                  <a:pt x="2934" y="283"/>
                  <a:pt x="2925" y="290"/>
                </a:cubicBezTo>
                <a:cubicBezTo>
                  <a:pt x="2916" y="298"/>
                  <a:pt x="2911" y="307"/>
                  <a:pt x="2911" y="319"/>
                </a:cubicBezTo>
                <a:cubicBezTo>
                  <a:pt x="2911" y="332"/>
                  <a:pt x="2915" y="341"/>
                  <a:pt x="2922" y="348"/>
                </a:cubicBezTo>
                <a:cubicBezTo>
                  <a:pt x="2929" y="355"/>
                  <a:pt x="2943" y="363"/>
                  <a:pt x="2965" y="372"/>
                </a:cubicBezTo>
                <a:cubicBezTo>
                  <a:pt x="2993" y="383"/>
                  <a:pt x="3012" y="396"/>
                  <a:pt x="3022" y="408"/>
                </a:cubicBezTo>
                <a:cubicBezTo>
                  <a:pt x="3033" y="421"/>
                  <a:pt x="3039" y="437"/>
                  <a:pt x="3039" y="45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845" fontAlgn="auto">
              <a:spcBef>
                <a:spcPts val="0"/>
              </a:spcBef>
              <a:spcAft>
                <a:spcPts val="0"/>
              </a:spcAft>
            </a:pPr>
            <a:endParaRPr lang="en-US" sz="1324" b="0" dirty="0">
              <a:solidFill>
                <a:srgbClr val="FFFFFF"/>
              </a:solidFill>
              <a:latin typeface="Segoe UI"/>
              <a:ea typeface="+mn-ea"/>
            </a:endParaRPr>
          </a:p>
        </p:txBody>
      </p:sp>
    </p:spTree>
    <p:extLst>
      <p:ext uri="{BB962C8B-B14F-4D97-AF65-F5344CB8AC3E}">
        <p14:creationId xmlns:p14="http://schemas.microsoft.com/office/powerpoint/2010/main" val="7172726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6" y="2084187"/>
            <a:ext cx="6723139" cy="1793090"/>
          </a:xfrm>
          <a:noFill/>
        </p:spPr>
        <p:txBody>
          <a:bodyPr lIns="146304" tIns="91440" rIns="146304" bIns="91440" anchor="t" anchorCtr="0"/>
          <a:lstStyle>
            <a:lvl1pPr>
              <a:defRPr sz="3971" b="0" spc="-74" baseline="0">
                <a:gradFill>
                  <a:gsLst>
                    <a:gs pos="91000">
                      <a:schemeClr val="tx1"/>
                    </a:gs>
                    <a:gs pos="0">
                      <a:schemeClr val="tx1"/>
                    </a:gs>
                  </a:gsLst>
                  <a:lin ang="5400000" scaled="0"/>
                </a:gradFill>
                <a:latin typeface="Segoe UI Semibold" panose="020B0702040204020203" pitchFamily="34" charset="0"/>
                <a:cs typeface="Segoe UI Semibold" panose="020B0702040204020203" pitchFamily="34" charset="0"/>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01976" y="3878574"/>
            <a:ext cx="5378503" cy="1792326"/>
          </a:xfrm>
          <a:noFill/>
        </p:spPr>
        <p:txBody>
          <a:bodyPr lIns="146304" tIns="109728" rIns="146304" bIns="109728">
            <a:noAutofit/>
          </a:bodyPr>
          <a:lstStyle>
            <a:lvl1pPr marL="0" indent="0">
              <a:spcBef>
                <a:spcPts val="0"/>
              </a:spcBef>
              <a:buNone/>
              <a:defRPr sz="2353" spc="0" baseline="0">
                <a:gradFill>
                  <a:gsLst>
                    <a:gs pos="91000">
                      <a:schemeClr val="tx1"/>
                    </a:gs>
                    <a:gs pos="0">
                      <a:schemeClr val="tx1"/>
                    </a:gs>
                  </a:gsLst>
                  <a:lin ang="5400000" scaled="0"/>
                </a:gradFill>
                <a:latin typeface="Segoe Pro" panose="020B0502040504020203" pitchFamily="34" charset="0"/>
              </a:defRPr>
            </a:lvl1pPr>
          </a:lstStyle>
          <a:p>
            <a:pPr lvl="0"/>
            <a:r>
              <a:rPr lang="en-US" dirty="0" smtClean="0"/>
              <a:t>Speaker Name</a:t>
            </a:r>
          </a:p>
        </p:txBody>
      </p:sp>
      <p:sp>
        <p:nvSpPr>
          <p:cNvPr id="8" name="Windows 10"/>
          <p:cNvSpPr>
            <a:spLocks noEditPoints="1"/>
          </p:cNvSpPr>
          <p:nvPr userDrawn="1"/>
        </p:nvSpPr>
        <p:spPr bwMode="auto">
          <a:xfrm>
            <a:off x="338495" y="767451"/>
            <a:ext cx="2749182" cy="685018"/>
          </a:xfrm>
          <a:custGeom>
            <a:avLst/>
            <a:gdLst>
              <a:gd name="T0" fmla="*/ 295 w 3590"/>
              <a:gd name="T1" fmla="*/ 329 h 668"/>
              <a:gd name="T2" fmla="*/ 0 w 3590"/>
              <a:gd name="T3" fmla="*/ 94 h 668"/>
              <a:gd name="T4" fmla="*/ 295 w 3590"/>
              <a:gd name="T5" fmla="*/ 616 h 668"/>
              <a:gd name="T6" fmla="*/ 284 w 3590"/>
              <a:gd name="T7" fmla="*/ 340 h 668"/>
              <a:gd name="T8" fmla="*/ 284 w 3590"/>
              <a:gd name="T9" fmla="*/ 340 h 668"/>
              <a:gd name="T10" fmla="*/ 3196 w 3590"/>
              <a:gd name="T11" fmla="*/ 160 h 668"/>
              <a:gd name="T12" fmla="*/ 3158 w 3590"/>
              <a:gd name="T13" fmla="*/ 224 h 668"/>
              <a:gd name="T14" fmla="*/ 3223 w 3590"/>
              <a:gd name="T15" fmla="*/ 531 h 668"/>
              <a:gd name="T16" fmla="*/ 3407 w 3590"/>
              <a:gd name="T17" fmla="*/ 139 h 668"/>
              <a:gd name="T18" fmla="*/ 3339 w 3590"/>
              <a:gd name="T19" fmla="*/ 424 h 668"/>
              <a:gd name="T20" fmla="*/ 3513 w 3590"/>
              <a:gd name="T21" fmla="*/ 524 h 668"/>
              <a:gd name="T22" fmla="*/ 3465 w 3590"/>
              <a:gd name="T23" fmla="*/ 125 h 668"/>
              <a:gd name="T24" fmla="*/ 3544 w 3590"/>
              <a:gd name="T25" fmla="*/ 334 h 668"/>
              <a:gd name="T26" fmla="*/ 1215 w 3590"/>
              <a:gd name="T27" fmla="*/ 532 h 668"/>
              <a:gd name="T28" fmla="*/ 1118 w 3590"/>
              <a:gd name="T29" fmla="*/ 240 h 668"/>
              <a:gd name="T30" fmla="*/ 916 w 3590"/>
              <a:gd name="T31" fmla="*/ 133 h 668"/>
              <a:gd name="T32" fmla="*/ 1017 w 3590"/>
              <a:gd name="T33" fmla="*/ 439 h 668"/>
              <a:gd name="T34" fmla="*/ 1242 w 3590"/>
              <a:gd name="T35" fmla="*/ 478 h 668"/>
              <a:gd name="T36" fmla="*/ 1382 w 3590"/>
              <a:gd name="T37" fmla="*/ 133 h 668"/>
              <a:gd name="T38" fmla="*/ 1424 w 3590"/>
              <a:gd name="T39" fmla="*/ 175 h 668"/>
              <a:gd name="T40" fmla="*/ 1467 w 3590"/>
              <a:gd name="T41" fmla="*/ 132 h 668"/>
              <a:gd name="T42" fmla="*/ 1422 w 3590"/>
              <a:gd name="T43" fmla="*/ 247 h 668"/>
              <a:gd name="T44" fmla="*/ 1726 w 3590"/>
              <a:gd name="T45" fmla="*/ 532 h 668"/>
              <a:gd name="T46" fmla="*/ 1581 w 3590"/>
              <a:gd name="T47" fmla="*/ 369 h 668"/>
              <a:gd name="T48" fmla="*/ 1581 w 3590"/>
              <a:gd name="T49" fmla="*/ 247 h 668"/>
              <a:gd name="T50" fmla="*/ 1747 w 3590"/>
              <a:gd name="T51" fmla="*/ 271 h 668"/>
              <a:gd name="T52" fmla="*/ 2041 w 3590"/>
              <a:gd name="T53" fmla="*/ 532 h 668"/>
              <a:gd name="T54" fmla="*/ 1856 w 3590"/>
              <a:gd name="T55" fmla="*/ 500 h 668"/>
              <a:gd name="T56" fmla="*/ 2040 w 3590"/>
              <a:gd name="T57" fmla="*/ 286 h 668"/>
              <a:gd name="T58" fmla="*/ 2087 w 3590"/>
              <a:gd name="T59" fmla="*/ 532 h 668"/>
              <a:gd name="T60" fmla="*/ 1960 w 3590"/>
              <a:gd name="T61" fmla="*/ 279 h 668"/>
              <a:gd name="T62" fmla="*/ 1955 w 3590"/>
              <a:gd name="T63" fmla="*/ 500 h 668"/>
              <a:gd name="T64" fmla="*/ 2387 w 3590"/>
              <a:gd name="T65" fmla="*/ 497 h 668"/>
              <a:gd name="T66" fmla="*/ 2184 w 3590"/>
              <a:gd name="T67" fmla="*/ 281 h 668"/>
              <a:gd name="T68" fmla="*/ 2379 w 3590"/>
              <a:gd name="T69" fmla="*/ 390 h 668"/>
              <a:gd name="T70" fmla="*/ 2192 w 3590"/>
              <a:gd name="T71" fmla="*/ 391 h 668"/>
              <a:gd name="T72" fmla="*/ 2379 w 3590"/>
              <a:gd name="T73" fmla="*/ 390 h 668"/>
              <a:gd name="T74" fmla="*/ 2651 w 3590"/>
              <a:gd name="T75" fmla="*/ 328 h 668"/>
              <a:gd name="T76" fmla="*/ 2576 w 3590"/>
              <a:gd name="T77" fmla="*/ 532 h 668"/>
              <a:gd name="T78" fmla="*/ 2551 w 3590"/>
              <a:gd name="T79" fmla="*/ 461 h 668"/>
              <a:gd name="T80" fmla="*/ 2628 w 3590"/>
              <a:gd name="T81" fmla="*/ 247 h 668"/>
              <a:gd name="T82" fmla="*/ 2735 w 3590"/>
              <a:gd name="T83" fmla="*/ 487 h 668"/>
              <a:gd name="T84" fmla="*/ 3039 w 3590"/>
              <a:gd name="T85" fmla="*/ 456 h 668"/>
              <a:gd name="T86" fmla="*/ 2864 w 3590"/>
              <a:gd name="T87" fmla="*/ 473 h 668"/>
              <a:gd name="T88" fmla="*/ 2934 w 3590"/>
              <a:gd name="T89" fmla="*/ 406 h 668"/>
              <a:gd name="T90" fmla="*/ 2965 w 3590"/>
              <a:gd name="T91" fmla="*/ 240 h 668"/>
              <a:gd name="T92" fmla="*/ 2925 w 3590"/>
              <a:gd name="T93" fmla="*/ 290 h 668"/>
              <a:gd name="T94" fmla="*/ 3022 w 3590"/>
              <a:gd name="T95" fmla="*/ 408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90" h="668">
                <a:moveTo>
                  <a:pt x="295" y="52"/>
                </a:moveTo>
                <a:cubicBezTo>
                  <a:pt x="667" y="0"/>
                  <a:pt x="667" y="0"/>
                  <a:pt x="667" y="0"/>
                </a:cubicBezTo>
                <a:cubicBezTo>
                  <a:pt x="667" y="329"/>
                  <a:pt x="667" y="329"/>
                  <a:pt x="667" y="329"/>
                </a:cubicBezTo>
                <a:cubicBezTo>
                  <a:pt x="295" y="329"/>
                  <a:pt x="295" y="329"/>
                  <a:pt x="295" y="329"/>
                </a:cubicBezTo>
                <a:lnTo>
                  <a:pt x="295" y="52"/>
                </a:lnTo>
                <a:close/>
                <a:moveTo>
                  <a:pt x="284" y="329"/>
                </a:moveTo>
                <a:cubicBezTo>
                  <a:pt x="284" y="54"/>
                  <a:pt x="284" y="54"/>
                  <a:pt x="284" y="54"/>
                </a:cubicBezTo>
                <a:cubicBezTo>
                  <a:pt x="0" y="94"/>
                  <a:pt x="0" y="94"/>
                  <a:pt x="0" y="94"/>
                </a:cubicBezTo>
                <a:cubicBezTo>
                  <a:pt x="0" y="329"/>
                  <a:pt x="0" y="329"/>
                  <a:pt x="0" y="329"/>
                </a:cubicBezTo>
                <a:lnTo>
                  <a:pt x="284" y="329"/>
                </a:lnTo>
                <a:close/>
                <a:moveTo>
                  <a:pt x="295" y="340"/>
                </a:moveTo>
                <a:cubicBezTo>
                  <a:pt x="295" y="616"/>
                  <a:pt x="295" y="616"/>
                  <a:pt x="295" y="616"/>
                </a:cubicBezTo>
                <a:cubicBezTo>
                  <a:pt x="667" y="668"/>
                  <a:pt x="667" y="668"/>
                  <a:pt x="667" y="668"/>
                </a:cubicBezTo>
                <a:cubicBezTo>
                  <a:pt x="667" y="340"/>
                  <a:pt x="667" y="340"/>
                  <a:pt x="667" y="340"/>
                </a:cubicBezTo>
                <a:lnTo>
                  <a:pt x="295" y="340"/>
                </a:lnTo>
                <a:close/>
                <a:moveTo>
                  <a:pt x="284" y="340"/>
                </a:moveTo>
                <a:cubicBezTo>
                  <a:pt x="0" y="340"/>
                  <a:pt x="0" y="340"/>
                  <a:pt x="0" y="340"/>
                </a:cubicBezTo>
                <a:cubicBezTo>
                  <a:pt x="0" y="575"/>
                  <a:pt x="0" y="575"/>
                  <a:pt x="0" y="575"/>
                </a:cubicBezTo>
                <a:cubicBezTo>
                  <a:pt x="284" y="615"/>
                  <a:pt x="284" y="615"/>
                  <a:pt x="284" y="615"/>
                </a:cubicBezTo>
                <a:lnTo>
                  <a:pt x="284" y="340"/>
                </a:lnTo>
                <a:close/>
                <a:moveTo>
                  <a:pt x="3269" y="123"/>
                </a:moveTo>
                <a:cubicBezTo>
                  <a:pt x="3252" y="123"/>
                  <a:pt x="3252" y="123"/>
                  <a:pt x="3252" y="123"/>
                </a:cubicBezTo>
                <a:cubicBezTo>
                  <a:pt x="3245" y="129"/>
                  <a:pt x="3236" y="136"/>
                  <a:pt x="3227" y="142"/>
                </a:cubicBezTo>
                <a:cubicBezTo>
                  <a:pt x="3217" y="148"/>
                  <a:pt x="3207" y="154"/>
                  <a:pt x="3196" y="160"/>
                </a:cubicBezTo>
                <a:cubicBezTo>
                  <a:pt x="3185" y="166"/>
                  <a:pt x="3174" y="171"/>
                  <a:pt x="3163" y="176"/>
                </a:cubicBezTo>
                <a:cubicBezTo>
                  <a:pt x="3152" y="181"/>
                  <a:pt x="3141" y="185"/>
                  <a:pt x="3131" y="187"/>
                </a:cubicBezTo>
                <a:cubicBezTo>
                  <a:pt x="3131" y="234"/>
                  <a:pt x="3131" y="234"/>
                  <a:pt x="3131" y="234"/>
                </a:cubicBezTo>
                <a:cubicBezTo>
                  <a:pt x="3140" y="231"/>
                  <a:pt x="3149" y="228"/>
                  <a:pt x="3158" y="224"/>
                </a:cubicBezTo>
                <a:cubicBezTo>
                  <a:pt x="3168" y="221"/>
                  <a:pt x="3177" y="216"/>
                  <a:pt x="3185" y="212"/>
                </a:cubicBezTo>
                <a:cubicBezTo>
                  <a:pt x="3194" y="207"/>
                  <a:pt x="3201" y="203"/>
                  <a:pt x="3208" y="198"/>
                </a:cubicBezTo>
                <a:cubicBezTo>
                  <a:pt x="3215" y="194"/>
                  <a:pt x="3220" y="190"/>
                  <a:pt x="3223" y="186"/>
                </a:cubicBezTo>
                <a:cubicBezTo>
                  <a:pt x="3223" y="531"/>
                  <a:pt x="3223" y="531"/>
                  <a:pt x="3223" y="531"/>
                </a:cubicBezTo>
                <a:cubicBezTo>
                  <a:pt x="3269" y="531"/>
                  <a:pt x="3269" y="531"/>
                  <a:pt x="3269" y="531"/>
                </a:cubicBezTo>
                <a:lnTo>
                  <a:pt x="3269" y="123"/>
                </a:lnTo>
                <a:close/>
                <a:moveTo>
                  <a:pt x="3465" y="125"/>
                </a:moveTo>
                <a:cubicBezTo>
                  <a:pt x="3443" y="125"/>
                  <a:pt x="3424" y="130"/>
                  <a:pt x="3407" y="139"/>
                </a:cubicBezTo>
                <a:cubicBezTo>
                  <a:pt x="3390" y="148"/>
                  <a:pt x="3376" y="162"/>
                  <a:pt x="3365" y="180"/>
                </a:cubicBezTo>
                <a:cubicBezTo>
                  <a:pt x="3354" y="198"/>
                  <a:pt x="3345" y="221"/>
                  <a:pt x="3339" y="247"/>
                </a:cubicBezTo>
                <a:cubicBezTo>
                  <a:pt x="3333" y="274"/>
                  <a:pt x="3331" y="305"/>
                  <a:pt x="3331" y="340"/>
                </a:cubicBezTo>
                <a:cubicBezTo>
                  <a:pt x="3331" y="371"/>
                  <a:pt x="3333" y="399"/>
                  <a:pt x="3339" y="424"/>
                </a:cubicBezTo>
                <a:cubicBezTo>
                  <a:pt x="3344" y="448"/>
                  <a:pt x="3353" y="469"/>
                  <a:pt x="3363" y="486"/>
                </a:cubicBezTo>
                <a:cubicBezTo>
                  <a:pt x="3374" y="503"/>
                  <a:pt x="3387" y="516"/>
                  <a:pt x="3403" y="525"/>
                </a:cubicBezTo>
                <a:cubicBezTo>
                  <a:pt x="3419" y="533"/>
                  <a:pt x="3436" y="538"/>
                  <a:pt x="3456" y="538"/>
                </a:cubicBezTo>
                <a:cubicBezTo>
                  <a:pt x="3478" y="538"/>
                  <a:pt x="3496" y="533"/>
                  <a:pt x="3513" y="524"/>
                </a:cubicBezTo>
                <a:cubicBezTo>
                  <a:pt x="3530" y="515"/>
                  <a:pt x="3544" y="501"/>
                  <a:pt x="3555" y="484"/>
                </a:cubicBezTo>
                <a:cubicBezTo>
                  <a:pt x="3566" y="466"/>
                  <a:pt x="3575" y="444"/>
                  <a:pt x="3581" y="418"/>
                </a:cubicBezTo>
                <a:cubicBezTo>
                  <a:pt x="3587" y="393"/>
                  <a:pt x="3590" y="363"/>
                  <a:pt x="3590" y="330"/>
                </a:cubicBezTo>
                <a:cubicBezTo>
                  <a:pt x="3590" y="194"/>
                  <a:pt x="3548" y="125"/>
                  <a:pt x="3465" y="125"/>
                </a:cubicBezTo>
                <a:close/>
                <a:moveTo>
                  <a:pt x="3461" y="499"/>
                </a:moveTo>
                <a:cubicBezTo>
                  <a:pt x="3405" y="499"/>
                  <a:pt x="3377" y="445"/>
                  <a:pt x="3377" y="337"/>
                </a:cubicBezTo>
                <a:cubicBezTo>
                  <a:pt x="3377" y="222"/>
                  <a:pt x="3406" y="164"/>
                  <a:pt x="3463" y="164"/>
                </a:cubicBezTo>
                <a:cubicBezTo>
                  <a:pt x="3517" y="164"/>
                  <a:pt x="3544" y="221"/>
                  <a:pt x="3544" y="334"/>
                </a:cubicBezTo>
                <a:cubicBezTo>
                  <a:pt x="3544" y="444"/>
                  <a:pt x="3516" y="499"/>
                  <a:pt x="3461" y="499"/>
                </a:cubicBezTo>
                <a:close/>
                <a:moveTo>
                  <a:pt x="1382" y="133"/>
                </a:moveTo>
                <a:cubicBezTo>
                  <a:pt x="1270" y="532"/>
                  <a:pt x="1270" y="532"/>
                  <a:pt x="1270" y="532"/>
                </a:cubicBezTo>
                <a:cubicBezTo>
                  <a:pt x="1215" y="532"/>
                  <a:pt x="1215" y="532"/>
                  <a:pt x="1215" y="532"/>
                </a:cubicBezTo>
                <a:cubicBezTo>
                  <a:pt x="1133" y="240"/>
                  <a:pt x="1133" y="240"/>
                  <a:pt x="1133" y="240"/>
                </a:cubicBezTo>
                <a:cubicBezTo>
                  <a:pt x="1130" y="229"/>
                  <a:pt x="1128" y="216"/>
                  <a:pt x="1127" y="200"/>
                </a:cubicBezTo>
                <a:cubicBezTo>
                  <a:pt x="1126" y="200"/>
                  <a:pt x="1126" y="200"/>
                  <a:pt x="1126" y="200"/>
                </a:cubicBezTo>
                <a:cubicBezTo>
                  <a:pt x="1124" y="214"/>
                  <a:pt x="1122" y="227"/>
                  <a:pt x="1118" y="240"/>
                </a:cubicBezTo>
                <a:cubicBezTo>
                  <a:pt x="1036" y="532"/>
                  <a:pt x="1036" y="532"/>
                  <a:pt x="1036" y="532"/>
                </a:cubicBezTo>
                <a:cubicBezTo>
                  <a:pt x="981" y="532"/>
                  <a:pt x="981" y="532"/>
                  <a:pt x="981" y="532"/>
                </a:cubicBezTo>
                <a:cubicBezTo>
                  <a:pt x="865" y="133"/>
                  <a:pt x="865" y="133"/>
                  <a:pt x="865" y="133"/>
                </a:cubicBezTo>
                <a:cubicBezTo>
                  <a:pt x="916" y="133"/>
                  <a:pt x="916" y="133"/>
                  <a:pt x="916" y="133"/>
                </a:cubicBezTo>
                <a:cubicBezTo>
                  <a:pt x="1001" y="439"/>
                  <a:pt x="1001" y="439"/>
                  <a:pt x="1001" y="439"/>
                </a:cubicBezTo>
                <a:cubicBezTo>
                  <a:pt x="1004" y="452"/>
                  <a:pt x="1007" y="466"/>
                  <a:pt x="1008" y="479"/>
                </a:cubicBezTo>
                <a:cubicBezTo>
                  <a:pt x="1009" y="479"/>
                  <a:pt x="1009" y="479"/>
                  <a:pt x="1009" y="479"/>
                </a:cubicBezTo>
                <a:cubicBezTo>
                  <a:pt x="1010" y="468"/>
                  <a:pt x="1013" y="454"/>
                  <a:pt x="1017" y="439"/>
                </a:cubicBezTo>
                <a:cubicBezTo>
                  <a:pt x="1106" y="133"/>
                  <a:pt x="1106" y="133"/>
                  <a:pt x="1106" y="133"/>
                </a:cubicBezTo>
                <a:cubicBezTo>
                  <a:pt x="1151" y="133"/>
                  <a:pt x="1151" y="133"/>
                  <a:pt x="1151" y="133"/>
                </a:cubicBezTo>
                <a:cubicBezTo>
                  <a:pt x="1235" y="441"/>
                  <a:pt x="1235" y="441"/>
                  <a:pt x="1235" y="441"/>
                </a:cubicBezTo>
                <a:cubicBezTo>
                  <a:pt x="1238" y="453"/>
                  <a:pt x="1240" y="465"/>
                  <a:pt x="1242" y="478"/>
                </a:cubicBezTo>
                <a:cubicBezTo>
                  <a:pt x="1243" y="478"/>
                  <a:pt x="1243" y="478"/>
                  <a:pt x="1243" y="478"/>
                </a:cubicBezTo>
                <a:cubicBezTo>
                  <a:pt x="1244" y="469"/>
                  <a:pt x="1246" y="456"/>
                  <a:pt x="1250" y="440"/>
                </a:cubicBezTo>
                <a:cubicBezTo>
                  <a:pt x="1332" y="133"/>
                  <a:pt x="1332" y="133"/>
                  <a:pt x="1332" y="133"/>
                </a:cubicBezTo>
                <a:lnTo>
                  <a:pt x="1382" y="133"/>
                </a:lnTo>
                <a:close/>
                <a:moveTo>
                  <a:pt x="1475" y="153"/>
                </a:moveTo>
                <a:cubicBezTo>
                  <a:pt x="1475" y="162"/>
                  <a:pt x="1472" y="169"/>
                  <a:pt x="1466" y="174"/>
                </a:cubicBezTo>
                <a:cubicBezTo>
                  <a:pt x="1461" y="180"/>
                  <a:pt x="1453" y="183"/>
                  <a:pt x="1445" y="183"/>
                </a:cubicBezTo>
                <a:cubicBezTo>
                  <a:pt x="1437" y="183"/>
                  <a:pt x="1430" y="180"/>
                  <a:pt x="1424" y="175"/>
                </a:cubicBezTo>
                <a:cubicBezTo>
                  <a:pt x="1418" y="169"/>
                  <a:pt x="1416" y="162"/>
                  <a:pt x="1416" y="153"/>
                </a:cubicBezTo>
                <a:cubicBezTo>
                  <a:pt x="1416" y="145"/>
                  <a:pt x="1418" y="138"/>
                  <a:pt x="1424" y="132"/>
                </a:cubicBezTo>
                <a:cubicBezTo>
                  <a:pt x="1430" y="127"/>
                  <a:pt x="1437" y="124"/>
                  <a:pt x="1445" y="124"/>
                </a:cubicBezTo>
                <a:cubicBezTo>
                  <a:pt x="1454" y="124"/>
                  <a:pt x="1461" y="127"/>
                  <a:pt x="1467" y="132"/>
                </a:cubicBezTo>
                <a:cubicBezTo>
                  <a:pt x="1472" y="138"/>
                  <a:pt x="1475" y="145"/>
                  <a:pt x="1475" y="153"/>
                </a:cubicBezTo>
                <a:close/>
                <a:moveTo>
                  <a:pt x="1468" y="532"/>
                </a:moveTo>
                <a:cubicBezTo>
                  <a:pt x="1422" y="532"/>
                  <a:pt x="1422" y="532"/>
                  <a:pt x="1422" y="532"/>
                </a:cubicBezTo>
                <a:cubicBezTo>
                  <a:pt x="1422" y="247"/>
                  <a:pt x="1422" y="247"/>
                  <a:pt x="1422" y="247"/>
                </a:cubicBezTo>
                <a:cubicBezTo>
                  <a:pt x="1468" y="247"/>
                  <a:pt x="1468" y="247"/>
                  <a:pt x="1468" y="247"/>
                </a:cubicBezTo>
                <a:lnTo>
                  <a:pt x="1468" y="532"/>
                </a:lnTo>
                <a:close/>
                <a:moveTo>
                  <a:pt x="1772" y="532"/>
                </a:moveTo>
                <a:cubicBezTo>
                  <a:pt x="1726" y="532"/>
                  <a:pt x="1726" y="532"/>
                  <a:pt x="1726" y="532"/>
                </a:cubicBezTo>
                <a:cubicBezTo>
                  <a:pt x="1726" y="369"/>
                  <a:pt x="1726" y="369"/>
                  <a:pt x="1726" y="369"/>
                </a:cubicBezTo>
                <a:cubicBezTo>
                  <a:pt x="1726" y="309"/>
                  <a:pt x="1704" y="279"/>
                  <a:pt x="1660" y="279"/>
                </a:cubicBezTo>
                <a:cubicBezTo>
                  <a:pt x="1638" y="279"/>
                  <a:pt x="1619" y="288"/>
                  <a:pt x="1604" y="305"/>
                </a:cubicBezTo>
                <a:cubicBezTo>
                  <a:pt x="1589" y="322"/>
                  <a:pt x="1581" y="343"/>
                  <a:pt x="1581" y="369"/>
                </a:cubicBezTo>
                <a:cubicBezTo>
                  <a:pt x="1581" y="532"/>
                  <a:pt x="1581" y="532"/>
                  <a:pt x="1581" y="532"/>
                </a:cubicBezTo>
                <a:cubicBezTo>
                  <a:pt x="1536" y="532"/>
                  <a:pt x="1536" y="532"/>
                  <a:pt x="1536" y="532"/>
                </a:cubicBezTo>
                <a:cubicBezTo>
                  <a:pt x="1536" y="247"/>
                  <a:pt x="1536" y="247"/>
                  <a:pt x="1536" y="247"/>
                </a:cubicBezTo>
                <a:cubicBezTo>
                  <a:pt x="1581" y="247"/>
                  <a:pt x="1581" y="247"/>
                  <a:pt x="1581" y="247"/>
                </a:cubicBezTo>
                <a:cubicBezTo>
                  <a:pt x="1581" y="294"/>
                  <a:pt x="1581" y="294"/>
                  <a:pt x="1581" y="294"/>
                </a:cubicBezTo>
                <a:cubicBezTo>
                  <a:pt x="1583" y="294"/>
                  <a:pt x="1583" y="294"/>
                  <a:pt x="1583" y="294"/>
                </a:cubicBezTo>
                <a:cubicBezTo>
                  <a:pt x="1604" y="258"/>
                  <a:pt x="1635" y="240"/>
                  <a:pt x="1676" y="240"/>
                </a:cubicBezTo>
                <a:cubicBezTo>
                  <a:pt x="1707" y="240"/>
                  <a:pt x="1731" y="250"/>
                  <a:pt x="1747" y="271"/>
                </a:cubicBezTo>
                <a:cubicBezTo>
                  <a:pt x="1764" y="291"/>
                  <a:pt x="1772" y="320"/>
                  <a:pt x="1772" y="358"/>
                </a:cubicBezTo>
                <a:lnTo>
                  <a:pt x="1772" y="532"/>
                </a:lnTo>
                <a:close/>
                <a:moveTo>
                  <a:pt x="2087" y="532"/>
                </a:moveTo>
                <a:cubicBezTo>
                  <a:pt x="2041" y="532"/>
                  <a:pt x="2041" y="532"/>
                  <a:pt x="2041" y="532"/>
                </a:cubicBezTo>
                <a:cubicBezTo>
                  <a:pt x="2041" y="483"/>
                  <a:pt x="2041" y="483"/>
                  <a:pt x="2041" y="483"/>
                </a:cubicBezTo>
                <a:cubicBezTo>
                  <a:pt x="2040" y="483"/>
                  <a:pt x="2040" y="483"/>
                  <a:pt x="2040" y="483"/>
                </a:cubicBezTo>
                <a:cubicBezTo>
                  <a:pt x="2019" y="520"/>
                  <a:pt x="1986" y="539"/>
                  <a:pt x="1942" y="539"/>
                </a:cubicBezTo>
                <a:cubicBezTo>
                  <a:pt x="1906" y="539"/>
                  <a:pt x="1878" y="526"/>
                  <a:pt x="1856" y="500"/>
                </a:cubicBezTo>
                <a:cubicBezTo>
                  <a:pt x="1835" y="474"/>
                  <a:pt x="1824" y="440"/>
                  <a:pt x="1824" y="396"/>
                </a:cubicBezTo>
                <a:cubicBezTo>
                  <a:pt x="1824" y="349"/>
                  <a:pt x="1836" y="312"/>
                  <a:pt x="1860" y="283"/>
                </a:cubicBezTo>
                <a:cubicBezTo>
                  <a:pt x="1883" y="255"/>
                  <a:pt x="1915" y="240"/>
                  <a:pt x="1955" y="240"/>
                </a:cubicBezTo>
                <a:cubicBezTo>
                  <a:pt x="1993" y="240"/>
                  <a:pt x="2022" y="256"/>
                  <a:pt x="2040" y="286"/>
                </a:cubicBezTo>
                <a:cubicBezTo>
                  <a:pt x="2041" y="286"/>
                  <a:pt x="2041" y="286"/>
                  <a:pt x="2041" y="286"/>
                </a:cubicBezTo>
                <a:cubicBezTo>
                  <a:pt x="2041" y="110"/>
                  <a:pt x="2041" y="110"/>
                  <a:pt x="2041" y="110"/>
                </a:cubicBezTo>
                <a:cubicBezTo>
                  <a:pt x="2087" y="110"/>
                  <a:pt x="2087" y="110"/>
                  <a:pt x="2087" y="110"/>
                </a:cubicBezTo>
                <a:lnTo>
                  <a:pt x="2087" y="532"/>
                </a:lnTo>
                <a:close/>
                <a:moveTo>
                  <a:pt x="2041" y="403"/>
                </a:moveTo>
                <a:cubicBezTo>
                  <a:pt x="2041" y="361"/>
                  <a:pt x="2041" y="361"/>
                  <a:pt x="2041" y="361"/>
                </a:cubicBezTo>
                <a:cubicBezTo>
                  <a:pt x="2041" y="338"/>
                  <a:pt x="2033" y="318"/>
                  <a:pt x="2018" y="303"/>
                </a:cubicBezTo>
                <a:cubicBezTo>
                  <a:pt x="2002" y="287"/>
                  <a:pt x="1983" y="279"/>
                  <a:pt x="1960" y="279"/>
                </a:cubicBezTo>
                <a:cubicBezTo>
                  <a:pt x="1933" y="279"/>
                  <a:pt x="1911" y="289"/>
                  <a:pt x="1895" y="310"/>
                </a:cubicBezTo>
                <a:cubicBezTo>
                  <a:pt x="1879" y="330"/>
                  <a:pt x="1871" y="358"/>
                  <a:pt x="1871" y="394"/>
                </a:cubicBezTo>
                <a:cubicBezTo>
                  <a:pt x="1871" y="427"/>
                  <a:pt x="1879" y="452"/>
                  <a:pt x="1894" y="471"/>
                </a:cubicBezTo>
                <a:cubicBezTo>
                  <a:pt x="1909" y="490"/>
                  <a:pt x="1929" y="500"/>
                  <a:pt x="1955" y="500"/>
                </a:cubicBezTo>
                <a:cubicBezTo>
                  <a:pt x="1980" y="500"/>
                  <a:pt x="2001" y="491"/>
                  <a:pt x="2017" y="473"/>
                </a:cubicBezTo>
                <a:cubicBezTo>
                  <a:pt x="2033" y="454"/>
                  <a:pt x="2041" y="431"/>
                  <a:pt x="2041" y="403"/>
                </a:cubicBezTo>
                <a:close/>
                <a:moveTo>
                  <a:pt x="2425" y="388"/>
                </a:moveTo>
                <a:cubicBezTo>
                  <a:pt x="2425" y="434"/>
                  <a:pt x="2412" y="470"/>
                  <a:pt x="2387" y="497"/>
                </a:cubicBezTo>
                <a:cubicBezTo>
                  <a:pt x="2361" y="525"/>
                  <a:pt x="2327" y="539"/>
                  <a:pt x="2284" y="539"/>
                </a:cubicBezTo>
                <a:cubicBezTo>
                  <a:pt x="2242" y="539"/>
                  <a:pt x="2208" y="525"/>
                  <a:pt x="2183" y="499"/>
                </a:cubicBezTo>
                <a:cubicBezTo>
                  <a:pt x="2158" y="472"/>
                  <a:pt x="2145" y="437"/>
                  <a:pt x="2145" y="393"/>
                </a:cubicBezTo>
                <a:cubicBezTo>
                  <a:pt x="2145" y="346"/>
                  <a:pt x="2158" y="309"/>
                  <a:pt x="2184" y="281"/>
                </a:cubicBezTo>
                <a:cubicBezTo>
                  <a:pt x="2210" y="254"/>
                  <a:pt x="2245" y="240"/>
                  <a:pt x="2290" y="240"/>
                </a:cubicBezTo>
                <a:cubicBezTo>
                  <a:pt x="2332" y="240"/>
                  <a:pt x="2366" y="253"/>
                  <a:pt x="2389" y="280"/>
                </a:cubicBezTo>
                <a:cubicBezTo>
                  <a:pt x="2413" y="306"/>
                  <a:pt x="2425" y="342"/>
                  <a:pt x="2425" y="388"/>
                </a:cubicBezTo>
                <a:close/>
                <a:moveTo>
                  <a:pt x="2379" y="390"/>
                </a:moveTo>
                <a:cubicBezTo>
                  <a:pt x="2379" y="354"/>
                  <a:pt x="2371" y="327"/>
                  <a:pt x="2355" y="308"/>
                </a:cubicBezTo>
                <a:cubicBezTo>
                  <a:pt x="2339" y="289"/>
                  <a:pt x="2316" y="279"/>
                  <a:pt x="2287" y="279"/>
                </a:cubicBezTo>
                <a:cubicBezTo>
                  <a:pt x="2258" y="279"/>
                  <a:pt x="2234" y="289"/>
                  <a:pt x="2217" y="308"/>
                </a:cubicBezTo>
                <a:cubicBezTo>
                  <a:pt x="2200" y="328"/>
                  <a:pt x="2192" y="356"/>
                  <a:pt x="2192" y="391"/>
                </a:cubicBezTo>
                <a:cubicBezTo>
                  <a:pt x="2192" y="425"/>
                  <a:pt x="2200" y="452"/>
                  <a:pt x="2218" y="471"/>
                </a:cubicBezTo>
                <a:cubicBezTo>
                  <a:pt x="2235" y="490"/>
                  <a:pt x="2258" y="500"/>
                  <a:pt x="2287" y="500"/>
                </a:cubicBezTo>
                <a:cubicBezTo>
                  <a:pt x="2317" y="500"/>
                  <a:pt x="2339" y="490"/>
                  <a:pt x="2355" y="471"/>
                </a:cubicBezTo>
                <a:cubicBezTo>
                  <a:pt x="2371" y="453"/>
                  <a:pt x="2379" y="425"/>
                  <a:pt x="2379" y="390"/>
                </a:cubicBezTo>
                <a:close/>
                <a:moveTo>
                  <a:pt x="2842" y="247"/>
                </a:moveTo>
                <a:cubicBezTo>
                  <a:pt x="2757" y="532"/>
                  <a:pt x="2757" y="532"/>
                  <a:pt x="2757" y="532"/>
                </a:cubicBezTo>
                <a:cubicBezTo>
                  <a:pt x="2710" y="532"/>
                  <a:pt x="2710" y="532"/>
                  <a:pt x="2710" y="532"/>
                </a:cubicBezTo>
                <a:cubicBezTo>
                  <a:pt x="2651" y="328"/>
                  <a:pt x="2651" y="328"/>
                  <a:pt x="2651" y="328"/>
                </a:cubicBezTo>
                <a:cubicBezTo>
                  <a:pt x="2649" y="321"/>
                  <a:pt x="2648" y="312"/>
                  <a:pt x="2647" y="302"/>
                </a:cubicBezTo>
                <a:cubicBezTo>
                  <a:pt x="2646" y="302"/>
                  <a:pt x="2646" y="302"/>
                  <a:pt x="2646" y="302"/>
                </a:cubicBezTo>
                <a:cubicBezTo>
                  <a:pt x="2645" y="308"/>
                  <a:pt x="2643" y="317"/>
                  <a:pt x="2640" y="328"/>
                </a:cubicBezTo>
                <a:cubicBezTo>
                  <a:pt x="2576" y="532"/>
                  <a:pt x="2576" y="532"/>
                  <a:pt x="2576" y="532"/>
                </a:cubicBezTo>
                <a:cubicBezTo>
                  <a:pt x="2531" y="532"/>
                  <a:pt x="2531" y="532"/>
                  <a:pt x="2531" y="532"/>
                </a:cubicBezTo>
                <a:cubicBezTo>
                  <a:pt x="2445" y="247"/>
                  <a:pt x="2445" y="247"/>
                  <a:pt x="2445" y="247"/>
                </a:cubicBezTo>
                <a:cubicBezTo>
                  <a:pt x="2493" y="247"/>
                  <a:pt x="2493" y="247"/>
                  <a:pt x="2493" y="247"/>
                </a:cubicBezTo>
                <a:cubicBezTo>
                  <a:pt x="2551" y="461"/>
                  <a:pt x="2551" y="461"/>
                  <a:pt x="2551" y="461"/>
                </a:cubicBezTo>
                <a:cubicBezTo>
                  <a:pt x="2553" y="469"/>
                  <a:pt x="2554" y="477"/>
                  <a:pt x="2555" y="487"/>
                </a:cubicBezTo>
                <a:cubicBezTo>
                  <a:pt x="2557" y="487"/>
                  <a:pt x="2557" y="487"/>
                  <a:pt x="2557" y="487"/>
                </a:cubicBezTo>
                <a:cubicBezTo>
                  <a:pt x="2558" y="480"/>
                  <a:pt x="2559" y="471"/>
                  <a:pt x="2563" y="461"/>
                </a:cubicBezTo>
                <a:cubicBezTo>
                  <a:pt x="2628" y="247"/>
                  <a:pt x="2628" y="247"/>
                  <a:pt x="2628" y="247"/>
                </a:cubicBezTo>
                <a:cubicBezTo>
                  <a:pt x="2670" y="247"/>
                  <a:pt x="2670" y="247"/>
                  <a:pt x="2670" y="247"/>
                </a:cubicBezTo>
                <a:cubicBezTo>
                  <a:pt x="2729" y="462"/>
                  <a:pt x="2729" y="462"/>
                  <a:pt x="2729" y="462"/>
                </a:cubicBezTo>
                <a:cubicBezTo>
                  <a:pt x="2731" y="469"/>
                  <a:pt x="2732" y="477"/>
                  <a:pt x="2733" y="487"/>
                </a:cubicBezTo>
                <a:cubicBezTo>
                  <a:pt x="2735" y="487"/>
                  <a:pt x="2735" y="487"/>
                  <a:pt x="2735" y="487"/>
                </a:cubicBezTo>
                <a:cubicBezTo>
                  <a:pt x="2735" y="478"/>
                  <a:pt x="2737" y="470"/>
                  <a:pt x="2739" y="462"/>
                </a:cubicBezTo>
                <a:cubicBezTo>
                  <a:pt x="2797" y="247"/>
                  <a:pt x="2797" y="247"/>
                  <a:pt x="2797" y="247"/>
                </a:cubicBezTo>
                <a:lnTo>
                  <a:pt x="2842" y="247"/>
                </a:lnTo>
                <a:close/>
                <a:moveTo>
                  <a:pt x="3039" y="456"/>
                </a:moveTo>
                <a:cubicBezTo>
                  <a:pt x="3039" y="480"/>
                  <a:pt x="3029" y="500"/>
                  <a:pt x="3010" y="516"/>
                </a:cubicBezTo>
                <a:cubicBezTo>
                  <a:pt x="2991" y="531"/>
                  <a:pt x="2966" y="539"/>
                  <a:pt x="2935" y="539"/>
                </a:cubicBezTo>
                <a:cubicBezTo>
                  <a:pt x="2908" y="539"/>
                  <a:pt x="2884" y="533"/>
                  <a:pt x="2864" y="521"/>
                </a:cubicBezTo>
                <a:cubicBezTo>
                  <a:pt x="2864" y="473"/>
                  <a:pt x="2864" y="473"/>
                  <a:pt x="2864" y="473"/>
                </a:cubicBezTo>
                <a:cubicBezTo>
                  <a:pt x="2886" y="491"/>
                  <a:pt x="2911" y="500"/>
                  <a:pt x="2938" y="500"/>
                </a:cubicBezTo>
                <a:cubicBezTo>
                  <a:pt x="2974" y="500"/>
                  <a:pt x="2992" y="487"/>
                  <a:pt x="2992" y="460"/>
                </a:cubicBezTo>
                <a:cubicBezTo>
                  <a:pt x="2992" y="449"/>
                  <a:pt x="2989" y="441"/>
                  <a:pt x="2982" y="434"/>
                </a:cubicBezTo>
                <a:cubicBezTo>
                  <a:pt x="2975" y="427"/>
                  <a:pt x="2959" y="418"/>
                  <a:pt x="2934" y="406"/>
                </a:cubicBezTo>
                <a:cubicBezTo>
                  <a:pt x="2908" y="396"/>
                  <a:pt x="2891" y="384"/>
                  <a:pt x="2880" y="372"/>
                </a:cubicBezTo>
                <a:cubicBezTo>
                  <a:pt x="2870" y="360"/>
                  <a:pt x="2865" y="343"/>
                  <a:pt x="2865" y="323"/>
                </a:cubicBezTo>
                <a:cubicBezTo>
                  <a:pt x="2865" y="299"/>
                  <a:pt x="2874" y="280"/>
                  <a:pt x="2893" y="264"/>
                </a:cubicBezTo>
                <a:cubicBezTo>
                  <a:pt x="2912" y="248"/>
                  <a:pt x="2936" y="240"/>
                  <a:pt x="2965" y="240"/>
                </a:cubicBezTo>
                <a:cubicBezTo>
                  <a:pt x="2987" y="240"/>
                  <a:pt x="3008" y="245"/>
                  <a:pt x="3026" y="254"/>
                </a:cubicBezTo>
                <a:cubicBezTo>
                  <a:pt x="3026" y="299"/>
                  <a:pt x="3026" y="299"/>
                  <a:pt x="3026" y="299"/>
                </a:cubicBezTo>
                <a:cubicBezTo>
                  <a:pt x="3007" y="286"/>
                  <a:pt x="2986" y="279"/>
                  <a:pt x="2961" y="279"/>
                </a:cubicBezTo>
                <a:cubicBezTo>
                  <a:pt x="2946" y="279"/>
                  <a:pt x="2934" y="283"/>
                  <a:pt x="2925" y="290"/>
                </a:cubicBezTo>
                <a:cubicBezTo>
                  <a:pt x="2916" y="298"/>
                  <a:pt x="2911" y="307"/>
                  <a:pt x="2911" y="319"/>
                </a:cubicBezTo>
                <a:cubicBezTo>
                  <a:pt x="2911" y="332"/>
                  <a:pt x="2915" y="341"/>
                  <a:pt x="2922" y="348"/>
                </a:cubicBezTo>
                <a:cubicBezTo>
                  <a:pt x="2929" y="355"/>
                  <a:pt x="2943" y="363"/>
                  <a:pt x="2965" y="372"/>
                </a:cubicBezTo>
                <a:cubicBezTo>
                  <a:pt x="2993" y="383"/>
                  <a:pt x="3012" y="396"/>
                  <a:pt x="3022" y="408"/>
                </a:cubicBezTo>
                <a:cubicBezTo>
                  <a:pt x="3033" y="421"/>
                  <a:pt x="3039" y="437"/>
                  <a:pt x="3039" y="45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845" fontAlgn="auto">
              <a:spcBef>
                <a:spcPts val="0"/>
              </a:spcBef>
              <a:spcAft>
                <a:spcPts val="0"/>
              </a:spcAft>
            </a:pPr>
            <a:endParaRPr lang="en-US" sz="1324" b="0" dirty="0">
              <a:solidFill>
                <a:srgbClr val="FFFFFF"/>
              </a:solidFill>
              <a:latin typeface="Segoe UI"/>
              <a:ea typeface="+mn-ea"/>
            </a:endParaRPr>
          </a:p>
        </p:txBody>
      </p:sp>
    </p:spTree>
    <p:extLst>
      <p:ext uri="{BB962C8B-B14F-4D97-AF65-F5344CB8AC3E}">
        <p14:creationId xmlns:p14="http://schemas.microsoft.com/office/powerpoint/2010/main" val="23289642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35" b="0">
                <a:latin typeface="Segoe UI Semibold" panose="020B0702040204020203" pitchFamily="34" charset="0"/>
                <a:cs typeface="Segoe UI Semibold" panose="020B0702040204020203" pitchFamily="34" charset="0"/>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01929" y="1189176"/>
            <a:ext cx="8740142" cy="1397690"/>
          </a:xfrm>
        </p:spPr>
        <p:txBody>
          <a:bodyPr/>
          <a:lstStyle>
            <a:lvl1pPr marL="0" indent="0">
              <a:buNone/>
              <a:defRPr sz="2647">
                <a:gradFill>
                  <a:gsLst>
                    <a:gs pos="1250">
                      <a:schemeClr val="tx1"/>
                    </a:gs>
                    <a:gs pos="99000">
                      <a:schemeClr val="tx1"/>
                    </a:gs>
                  </a:gsLst>
                  <a:lin ang="5400000" scaled="0"/>
                </a:gradFill>
              </a:defRPr>
            </a:lvl1pPr>
            <a:lvl2pPr marL="0" indent="0">
              <a:buFontTx/>
              <a:buNone/>
              <a:defRPr sz="1324"/>
            </a:lvl2pPr>
            <a:lvl3pPr marL="168090" indent="0">
              <a:buNone/>
              <a:defRPr sz="1324"/>
            </a:lvl3pPr>
            <a:lvl4pPr marL="336179" indent="0">
              <a:buNone/>
              <a:defRPr sz="1176"/>
            </a:lvl4pPr>
            <a:lvl5pPr marL="504269" indent="0">
              <a:buNone/>
              <a:defRPr sz="1176"/>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05586965"/>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mp; Non-bulleted text_white">
    <p:bg>
      <p:bgPr>
        <a:solidFill>
          <a:schemeClr val="tx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35" b="0">
                <a:solidFill>
                  <a:schemeClr val="bg2"/>
                </a:solidFill>
                <a:latin typeface="Segoe UI Semibold" panose="020B0702040204020203" pitchFamily="34" charset="0"/>
                <a:cs typeface="Segoe UI Semibold" panose="020B0702040204020203" pitchFamily="34" charset="0"/>
              </a:defRPr>
            </a:lvl1pPr>
          </a:lstStyle>
          <a:p>
            <a:r>
              <a:rPr lang="en-US" smtClean="0"/>
              <a:t>Click to edit Master title style</a:t>
            </a:r>
            <a:endParaRPr lang="en-US" dirty="0"/>
          </a:p>
        </p:txBody>
      </p:sp>
      <p:sp>
        <p:nvSpPr>
          <p:cNvPr id="6" name="Text Placeholder 5"/>
          <p:cNvSpPr>
            <a:spLocks noGrp="1"/>
          </p:cNvSpPr>
          <p:nvPr>
            <p:ph type="body" sz="quarter" idx="10"/>
          </p:nvPr>
        </p:nvSpPr>
        <p:spPr>
          <a:xfrm>
            <a:off x="201929" y="1189176"/>
            <a:ext cx="8740142" cy="1397690"/>
          </a:xfrm>
        </p:spPr>
        <p:txBody>
          <a:bodyPr/>
          <a:lstStyle>
            <a:lvl1pPr marL="0" indent="0">
              <a:buNone/>
              <a:defRPr sz="2647" b="0">
                <a:solidFill>
                  <a:schemeClr val="bg2"/>
                </a:solidFill>
                <a:latin typeface="+mn-lt"/>
              </a:defRPr>
            </a:lvl1pPr>
            <a:lvl2pPr marL="0" indent="0">
              <a:buFontTx/>
              <a:buNone/>
              <a:defRPr sz="1324" b="0">
                <a:solidFill>
                  <a:schemeClr val="bg2"/>
                </a:solidFill>
                <a:latin typeface="+mn-lt"/>
              </a:defRPr>
            </a:lvl2pPr>
            <a:lvl3pPr marL="168090" indent="0">
              <a:buNone/>
              <a:defRPr sz="1324" b="0">
                <a:solidFill>
                  <a:schemeClr val="bg2"/>
                </a:solidFill>
                <a:latin typeface="+mn-lt"/>
              </a:defRPr>
            </a:lvl3pPr>
            <a:lvl4pPr marL="336179" indent="0">
              <a:buNone/>
              <a:defRPr sz="1176" b="0">
                <a:solidFill>
                  <a:schemeClr val="bg2"/>
                </a:solidFill>
                <a:latin typeface="+mn-lt"/>
              </a:defRPr>
            </a:lvl4pPr>
            <a:lvl5pPr marL="504269" indent="0">
              <a:buNone/>
              <a:defRPr sz="1176" b="0">
                <a:solidFill>
                  <a:schemeClr val="bg2"/>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9771550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zh-TW" altLang="en-US" smtClean="0"/>
              <a:t>按一下以編輯母片標題樣式</a:t>
            </a:r>
            <a:endParaRPr lang="en-US"/>
          </a:p>
        </p:txBody>
      </p:sp>
      <p:sp>
        <p:nvSpPr>
          <p:cNvPr id="3" name="Text Placeholder 2"/>
          <p:cNvSpPr>
            <a:spLocks noGrp="1"/>
          </p:cNvSpPr>
          <p:nvPr>
            <p:ph type="body" idx="1"/>
          </p:nvPr>
        </p:nvSpPr>
        <p:spPr>
          <a:xfrm>
            <a:off x="676656" y="2678114"/>
            <a:ext cx="3822192" cy="639762"/>
          </a:xfrm>
        </p:spPr>
        <p:txBody>
          <a:bodyPr anchor="ctr"/>
          <a:lstStyle>
            <a:lvl1pPr marL="0" indent="0" algn="ctr">
              <a:buNone/>
              <a:defRPr sz="2400" b="0">
                <a:solidFill>
                  <a:schemeClr val="tx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smtClean="0"/>
              <a:t>按一下以編輯母片文字樣式</a:t>
            </a:r>
          </a:p>
        </p:txBody>
      </p:sp>
      <p:sp>
        <p:nvSpPr>
          <p:cNvPr id="4" name="Content Placeholder 3"/>
          <p:cNvSpPr>
            <a:spLocks noGrp="1"/>
          </p:cNvSpPr>
          <p:nvPr>
            <p:ph sz="half" idx="2"/>
          </p:nvPr>
        </p:nvSpPr>
        <p:spPr>
          <a:xfrm>
            <a:off x="677332" y="3429000"/>
            <a:ext cx="3820055" cy="2697163"/>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en-US" dirty="0"/>
          </a:p>
        </p:txBody>
      </p:sp>
      <p:sp>
        <p:nvSpPr>
          <p:cNvPr id="5" name="Text Placeholder 4"/>
          <p:cNvSpPr>
            <a:spLocks noGrp="1"/>
          </p:cNvSpPr>
          <p:nvPr>
            <p:ph type="body" sz="quarter" idx="3"/>
          </p:nvPr>
        </p:nvSpPr>
        <p:spPr>
          <a:xfrm>
            <a:off x="4648200" y="2678113"/>
            <a:ext cx="3822192" cy="639762"/>
          </a:xfrm>
        </p:spPr>
        <p:txBody>
          <a:bodyPr anchor="ctr"/>
          <a:lstStyle>
            <a:lvl1pPr marL="0" indent="0" algn="ctr">
              <a:buNone/>
              <a:defRPr sz="2400" b="0" i="0">
                <a:solidFill>
                  <a:schemeClr val="tx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smtClean="0"/>
              <a:t>按一下以編輯母片文字樣式</a:t>
            </a:r>
          </a:p>
        </p:txBody>
      </p:sp>
      <p:sp>
        <p:nvSpPr>
          <p:cNvPr id="6" name="Content Placeholder 5"/>
          <p:cNvSpPr>
            <a:spLocks noGrp="1"/>
          </p:cNvSpPr>
          <p:nvPr>
            <p:ph sz="quarter" idx="4"/>
          </p:nvPr>
        </p:nvSpPr>
        <p:spPr>
          <a:xfrm>
            <a:off x="4645025" y="3429000"/>
            <a:ext cx="3822192" cy="2697163"/>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en-US" dirty="0"/>
          </a:p>
        </p:txBody>
      </p:sp>
      <p:sp>
        <p:nvSpPr>
          <p:cNvPr id="7" name="Date Placeholder 6"/>
          <p:cNvSpPr>
            <a:spLocks noGrp="1"/>
          </p:cNvSpPr>
          <p:nvPr>
            <p:ph type="dt" sz="half" idx="10"/>
          </p:nvPr>
        </p:nvSpPr>
        <p:spPr/>
        <p:txBody>
          <a:bodyPr/>
          <a:lstStyle/>
          <a:p>
            <a:pPr>
              <a:defRPr/>
            </a:pPr>
            <a:fld id="{46A18329-0D8D-4ECE-8193-589EFC702714}" type="datetime1">
              <a:rPr lang="en-US" altLang="zh-TW" smtClean="0"/>
              <a:t>8/5/2015</a:t>
            </a:fld>
            <a:endParaRPr lang="en-US"/>
          </a:p>
        </p:txBody>
      </p:sp>
      <p:sp>
        <p:nvSpPr>
          <p:cNvPr id="8" name="Footer Placeholder 7"/>
          <p:cNvSpPr>
            <a:spLocks noGrp="1"/>
          </p:cNvSpPr>
          <p:nvPr>
            <p:ph type="ftr" sz="quarter" idx="11"/>
          </p:nvPr>
        </p:nvSpPr>
        <p:spPr/>
        <p:txBody>
          <a:bodyPr/>
          <a:lstStyle/>
          <a:p>
            <a:pPr>
              <a:defRPr/>
            </a:pPr>
            <a:endParaRPr lang="zh-CN" altLang="en-US"/>
          </a:p>
        </p:txBody>
      </p:sp>
      <p:sp>
        <p:nvSpPr>
          <p:cNvPr id="9" name="Slide Number Placeholder 8"/>
          <p:cNvSpPr>
            <a:spLocks noGrp="1"/>
          </p:cNvSpPr>
          <p:nvPr>
            <p:ph type="sldNum" sz="quarter" idx="12"/>
          </p:nvPr>
        </p:nvSpPr>
        <p:spPr/>
        <p:txBody>
          <a:bodyPr/>
          <a:lstStyle/>
          <a:p>
            <a:pPr>
              <a:defRPr/>
            </a:pPr>
            <a:fld id="{A2F9712D-4A8C-46C1-907C-747E2B059FCF}" type="slidenum">
              <a:rPr lang="en-US" smtClean="0"/>
              <a:pPr>
                <a:defRPr/>
              </a:pPr>
              <a:t>‹#›</a:t>
            </a:fld>
            <a:endParaRPr lang="zh-CN" alt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_Only_White">
    <p:bg>
      <p:bgPr>
        <a:solidFill>
          <a:schemeClr val="tx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35" b="0">
                <a:solidFill>
                  <a:schemeClr val="bg2"/>
                </a:solidFill>
                <a:latin typeface="Segoe UI Semibold" panose="020B0702040204020203" pitchFamily="34" charset="0"/>
                <a:cs typeface="Segoe UI Semibold" panose="020B0702040204020203"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854785146"/>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1189177"/>
            <a:ext cx="8740142" cy="1381725"/>
          </a:xfrm>
        </p:spPr>
        <p:txBody>
          <a:bodyPr>
            <a:spAutoFit/>
          </a:bodyPr>
          <a:lstStyle>
            <a:lvl1pPr>
              <a:defRPr sz="2353"/>
            </a:lvl1pPr>
            <a:lvl2pPr>
              <a:defRPr sz="1471"/>
            </a:lvl2pPr>
            <a:lvl3pPr>
              <a:defRPr sz="1324"/>
            </a:lvl3pPr>
            <a:lvl4pPr>
              <a:defRPr sz="1176"/>
            </a:lvl4pPr>
            <a:lvl5pPr>
              <a:defRPr sz="1176"/>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lvl1pPr>
              <a:defRPr sz="3235">
                <a:latin typeface="Segoe UI Semibold" panose="020B0702040204020203" pitchFamily="34" charset="0"/>
                <a:cs typeface="Segoe UI Semibold" panose="020B0702040204020203" pitchFamily="34" charset="0"/>
              </a:defRPr>
            </a:lvl1pPr>
          </a:lstStyle>
          <a:p>
            <a:r>
              <a:rPr lang="en-US" smtClean="0"/>
              <a:t>Click to edit Master title style</a:t>
            </a:r>
            <a:endParaRPr lang="en-US"/>
          </a:p>
        </p:txBody>
      </p:sp>
    </p:spTree>
    <p:extLst>
      <p:ext uri="{BB962C8B-B14F-4D97-AF65-F5344CB8AC3E}">
        <p14:creationId xmlns:p14="http://schemas.microsoft.com/office/powerpoint/2010/main" val="3825500176"/>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Semibold" panose="020B0702040204020203" pitchFamily="34" charset="0"/>
                <a:cs typeface="Segoe UI Semibold" panose="020B0702040204020203" pitchFamily="34"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01930" y="1189175"/>
            <a:ext cx="4033911" cy="1782667"/>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1" y="1189175"/>
            <a:ext cx="4033911" cy="1782667"/>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23782241"/>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35">
                <a:latin typeface="Segoe UI Semibold" panose="020B0702040204020203" pitchFamily="34" charset="0"/>
                <a:cs typeface="Segoe UI Semibold" panose="020B0702040204020203"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80497600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186356"/>
            <a:ext cx="7394337" cy="917880"/>
          </a:xfrm>
          <a:noFill/>
        </p:spPr>
        <p:txBody>
          <a:bodyPr tIns="91440" bIns="91440" anchor="t" anchorCtr="0">
            <a:spAutoFit/>
          </a:bodyPr>
          <a:lstStyle>
            <a:lvl1pPr>
              <a:defRPr sz="5294" b="0" spc="-221" baseline="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01930" y="3877276"/>
            <a:ext cx="7395505" cy="662104"/>
          </a:xfrm>
          <a:noFill/>
        </p:spPr>
        <p:txBody>
          <a:bodyPr lIns="182880" tIns="146304" rIns="182880" bIns="146304">
            <a:sp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1632192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186356"/>
            <a:ext cx="7394337" cy="917880"/>
          </a:xfrm>
          <a:noFill/>
        </p:spPr>
        <p:txBody>
          <a:bodyPr tIns="91440" bIns="91440" anchor="t" anchorCtr="0">
            <a:spAutoFit/>
          </a:bodyPr>
          <a:lstStyle>
            <a:lvl1pPr>
              <a:defRPr lang="en-US" sz="5294" b="0" kern="1200" cap="none" spc="-221" baseline="0" dirty="0">
                <a:ln w="3175">
                  <a:noFill/>
                </a:ln>
                <a:gradFill>
                  <a:gsLst>
                    <a:gs pos="0">
                      <a:schemeClr val="tx1"/>
                    </a:gs>
                    <a:gs pos="100000">
                      <a:schemeClr val="tx1"/>
                    </a:gs>
                  </a:gsLst>
                  <a:lin ang="5400000" scaled="0"/>
                </a:gradFill>
                <a:effectLst/>
                <a:latin typeface="Segoe UI Semibold" panose="020B0702040204020203" pitchFamily="34" charset="0"/>
                <a:ea typeface="+mn-ea"/>
                <a:cs typeface="Segoe UI Semibold" panose="020B0702040204020203"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34262165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72"/>
            <a:ext cx="8740142" cy="917880"/>
          </a:xfrm>
          <a:noFill/>
        </p:spPr>
        <p:txBody>
          <a:bodyPr tIns="91440" bIns="91440" anchor="t" anchorCtr="0">
            <a:spAutoFit/>
          </a:bodyPr>
          <a:lstStyle>
            <a:lvl1pPr>
              <a:defRPr sz="5294" b="0" spc="-110" baseline="0">
                <a:gradFill>
                  <a:gsLst>
                    <a:gs pos="100000">
                      <a:schemeClr val="tx1"/>
                    </a:gs>
                    <a:gs pos="0">
                      <a:schemeClr val="tx1"/>
                    </a:gs>
                  </a:gsLst>
                  <a:lin ang="5400000" scaled="0"/>
                </a:gradFill>
                <a:latin typeface="Segoe UI Semibold" panose="020B0702040204020203" pitchFamily="34" charset="0"/>
                <a:cs typeface="Segoe UI Semibold" panose="020B0702040204020203"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947725954"/>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72"/>
            <a:ext cx="8740142" cy="917880"/>
          </a:xfrm>
          <a:noFill/>
        </p:spPr>
        <p:txBody>
          <a:bodyPr tIns="91440" bIns="91440" anchor="t" anchorCtr="0">
            <a:spAutoFit/>
          </a:bodyPr>
          <a:lstStyle>
            <a:lvl1pPr>
              <a:defRPr sz="5294" b="0" spc="-110" baseline="0">
                <a:gradFill>
                  <a:gsLst>
                    <a:gs pos="100000">
                      <a:schemeClr val="tx1"/>
                    </a:gs>
                    <a:gs pos="0">
                      <a:schemeClr val="tx1"/>
                    </a:gs>
                  </a:gsLst>
                  <a:lin ang="5400000" scaled="0"/>
                </a:gradFill>
                <a:latin typeface="Segoe UI Semibold" panose="020B0702040204020203" pitchFamily="34" charset="0"/>
                <a:cs typeface="Segoe UI Semibold" panose="020B0702040204020203"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4017696614"/>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72"/>
            <a:ext cx="8740142" cy="917880"/>
          </a:xfrm>
          <a:noFill/>
        </p:spPr>
        <p:txBody>
          <a:bodyPr tIns="91440" bIns="91440" anchor="t" anchorCtr="0">
            <a:spAutoFit/>
          </a:bodyPr>
          <a:lstStyle>
            <a:lvl1pPr>
              <a:defRPr sz="5294" b="0" spc="-110" baseline="0">
                <a:gradFill>
                  <a:gsLst>
                    <a:gs pos="100000">
                      <a:schemeClr val="tx1"/>
                    </a:gs>
                    <a:gs pos="0">
                      <a:schemeClr val="tx1"/>
                    </a:gs>
                  </a:gsLst>
                  <a:lin ang="5400000" scaled="0"/>
                </a:gradFill>
                <a:latin typeface="Segoe UI Semibold" panose="020B0702040204020203" pitchFamily="34" charset="0"/>
                <a:cs typeface="Segoe UI Semibold" panose="020B0702040204020203"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253176548"/>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72"/>
            <a:ext cx="8740142" cy="917880"/>
          </a:xfrm>
          <a:noFill/>
        </p:spPr>
        <p:txBody>
          <a:bodyPr tIns="91440" bIns="91440" anchor="t" anchorCtr="0">
            <a:spAutoFit/>
          </a:bodyPr>
          <a:lstStyle>
            <a:lvl1pPr>
              <a:defRPr sz="5294" b="0" spc="-110" baseline="0">
                <a:gradFill>
                  <a:gsLst>
                    <a:gs pos="100000">
                      <a:schemeClr val="tx1"/>
                    </a:gs>
                    <a:gs pos="0">
                      <a:schemeClr val="tx1"/>
                    </a:gs>
                  </a:gsLst>
                  <a:lin ang="5400000" scaled="0"/>
                </a:gradFill>
                <a:latin typeface="Segoe UI Semibold" panose="020B0702040204020203" pitchFamily="34" charset="0"/>
                <a:cs typeface="Segoe UI Semibold" panose="020B0702040204020203"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156515168"/>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smtClean="0"/>
              <a:t>按一下以編輯母片標題樣式</a:t>
            </a:r>
            <a:endParaRPr lang="en-US"/>
          </a:p>
        </p:txBody>
      </p:sp>
      <p:sp>
        <p:nvSpPr>
          <p:cNvPr id="3" name="Date Placeholder 2"/>
          <p:cNvSpPr>
            <a:spLocks noGrp="1"/>
          </p:cNvSpPr>
          <p:nvPr>
            <p:ph type="dt" sz="half" idx="10"/>
          </p:nvPr>
        </p:nvSpPr>
        <p:spPr/>
        <p:txBody>
          <a:bodyPr/>
          <a:lstStyle/>
          <a:p>
            <a:pPr>
              <a:defRPr/>
            </a:pPr>
            <a:fld id="{EFB44A85-EAF3-4F81-BBFC-470EE4111506}" type="datetime1">
              <a:rPr lang="en-US" altLang="zh-TW" smtClean="0"/>
              <a:t>8/5/2015</a:t>
            </a:fld>
            <a:endParaRPr lang="en-US"/>
          </a:p>
        </p:txBody>
      </p:sp>
      <p:sp>
        <p:nvSpPr>
          <p:cNvPr id="4" name="Footer Placeholder 3"/>
          <p:cNvSpPr>
            <a:spLocks noGrp="1"/>
          </p:cNvSpPr>
          <p:nvPr>
            <p:ph type="ftr" sz="quarter" idx="11"/>
          </p:nvPr>
        </p:nvSpPr>
        <p:spPr/>
        <p:txBody>
          <a:bodyPr/>
          <a:lstStyle/>
          <a:p>
            <a:pPr>
              <a:defRPr/>
            </a:pPr>
            <a:endParaRPr lang="zh-CN" altLang="en-US"/>
          </a:p>
        </p:txBody>
      </p:sp>
      <p:sp>
        <p:nvSpPr>
          <p:cNvPr id="5" name="Slide Number Placeholder 4"/>
          <p:cNvSpPr>
            <a:spLocks noGrp="1"/>
          </p:cNvSpPr>
          <p:nvPr>
            <p:ph type="sldNum" sz="quarter" idx="12"/>
          </p:nvPr>
        </p:nvSpPr>
        <p:spPr/>
        <p:txBody>
          <a:bodyPr/>
          <a:lstStyle/>
          <a:p>
            <a:pPr>
              <a:defRPr/>
            </a:pPr>
            <a:fld id="{F67FB0A5-B535-4F1C-82E4-6237E3B76FA3}" type="slidenum">
              <a:rPr lang="en-US" smtClean="0"/>
              <a:pPr>
                <a:defRPr/>
              </a:pPr>
              <a:t>‹#›</a:t>
            </a:fld>
            <a:endParaRPr lang="zh-CN" alt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217195"/>
            <a:ext cx="4033911" cy="1406795"/>
          </a:xfrm>
        </p:spPr>
        <p:txBody>
          <a:bodyPr>
            <a:spAutoFit/>
          </a:bodyPr>
          <a:lstStyle>
            <a:lvl1pPr>
              <a:defRPr sz="4412" spc="-110" baseline="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4623052" y="0"/>
            <a:ext cx="4570833"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3914100152"/>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4" y="0"/>
            <a:ext cx="4571717" cy="6858000"/>
          </a:xfrm>
          <a:prstGeom prst="rect">
            <a:avLst/>
          </a:prstGeom>
        </p:spPr>
      </p:pic>
      <p:sp>
        <p:nvSpPr>
          <p:cNvPr id="2" name="Title 1"/>
          <p:cNvSpPr>
            <a:spLocks noGrp="1"/>
          </p:cNvSpPr>
          <p:nvPr>
            <p:ph type="title" hasCustomPrompt="1"/>
          </p:nvPr>
        </p:nvSpPr>
        <p:spPr>
          <a:xfrm>
            <a:off x="4795839" y="1217195"/>
            <a:ext cx="4033911" cy="1406795"/>
          </a:xfrm>
        </p:spPr>
        <p:txBody>
          <a:bodyPr>
            <a:spAutoFit/>
          </a:bodyPr>
          <a:lstStyle>
            <a:lvl1pPr>
              <a:defRPr sz="4412" spc="-110" baseline="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defRPr>
            </a:lvl1pPr>
          </a:lstStyle>
          <a:p>
            <a:r>
              <a:rPr lang="en-US" dirty="0" smtClean="0"/>
              <a:t>50/50 photo layout</a:t>
            </a:r>
            <a:endParaRPr lang="en-US" dirty="0"/>
          </a:p>
        </p:txBody>
      </p:sp>
    </p:spTree>
    <p:extLst>
      <p:ext uri="{BB962C8B-B14F-4D97-AF65-F5344CB8AC3E}">
        <p14:creationId xmlns:p14="http://schemas.microsoft.com/office/powerpoint/2010/main" val="1572108178"/>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4790267"/>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7295544"/>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396987"/>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5323374"/>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5" name="Windows 10"/>
          <p:cNvSpPr>
            <a:spLocks noEditPoints="1"/>
          </p:cNvSpPr>
          <p:nvPr userDrawn="1"/>
        </p:nvSpPr>
        <p:spPr bwMode="auto">
          <a:xfrm>
            <a:off x="1893356" y="2757092"/>
            <a:ext cx="5357287" cy="1334883"/>
          </a:xfrm>
          <a:custGeom>
            <a:avLst/>
            <a:gdLst>
              <a:gd name="T0" fmla="*/ 295 w 3590"/>
              <a:gd name="T1" fmla="*/ 329 h 668"/>
              <a:gd name="T2" fmla="*/ 0 w 3590"/>
              <a:gd name="T3" fmla="*/ 94 h 668"/>
              <a:gd name="T4" fmla="*/ 295 w 3590"/>
              <a:gd name="T5" fmla="*/ 616 h 668"/>
              <a:gd name="T6" fmla="*/ 284 w 3590"/>
              <a:gd name="T7" fmla="*/ 340 h 668"/>
              <a:gd name="T8" fmla="*/ 284 w 3590"/>
              <a:gd name="T9" fmla="*/ 340 h 668"/>
              <a:gd name="T10" fmla="*/ 3196 w 3590"/>
              <a:gd name="T11" fmla="*/ 160 h 668"/>
              <a:gd name="T12" fmla="*/ 3158 w 3590"/>
              <a:gd name="T13" fmla="*/ 224 h 668"/>
              <a:gd name="T14" fmla="*/ 3223 w 3590"/>
              <a:gd name="T15" fmla="*/ 531 h 668"/>
              <a:gd name="T16" fmla="*/ 3407 w 3590"/>
              <a:gd name="T17" fmla="*/ 139 h 668"/>
              <a:gd name="T18" fmla="*/ 3339 w 3590"/>
              <a:gd name="T19" fmla="*/ 424 h 668"/>
              <a:gd name="T20" fmla="*/ 3513 w 3590"/>
              <a:gd name="T21" fmla="*/ 524 h 668"/>
              <a:gd name="T22" fmla="*/ 3465 w 3590"/>
              <a:gd name="T23" fmla="*/ 125 h 668"/>
              <a:gd name="T24" fmla="*/ 3544 w 3590"/>
              <a:gd name="T25" fmla="*/ 334 h 668"/>
              <a:gd name="T26" fmla="*/ 1215 w 3590"/>
              <a:gd name="T27" fmla="*/ 532 h 668"/>
              <a:gd name="T28" fmla="*/ 1118 w 3590"/>
              <a:gd name="T29" fmla="*/ 240 h 668"/>
              <a:gd name="T30" fmla="*/ 916 w 3590"/>
              <a:gd name="T31" fmla="*/ 133 h 668"/>
              <a:gd name="T32" fmla="*/ 1017 w 3590"/>
              <a:gd name="T33" fmla="*/ 439 h 668"/>
              <a:gd name="T34" fmla="*/ 1242 w 3590"/>
              <a:gd name="T35" fmla="*/ 478 h 668"/>
              <a:gd name="T36" fmla="*/ 1382 w 3590"/>
              <a:gd name="T37" fmla="*/ 133 h 668"/>
              <a:gd name="T38" fmla="*/ 1424 w 3590"/>
              <a:gd name="T39" fmla="*/ 175 h 668"/>
              <a:gd name="T40" fmla="*/ 1467 w 3590"/>
              <a:gd name="T41" fmla="*/ 132 h 668"/>
              <a:gd name="T42" fmla="*/ 1422 w 3590"/>
              <a:gd name="T43" fmla="*/ 247 h 668"/>
              <a:gd name="T44" fmla="*/ 1726 w 3590"/>
              <a:gd name="T45" fmla="*/ 532 h 668"/>
              <a:gd name="T46" fmla="*/ 1581 w 3590"/>
              <a:gd name="T47" fmla="*/ 369 h 668"/>
              <a:gd name="T48" fmla="*/ 1581 w 3590"/>
              <a:gd name="T49" fmla="*/ 247 h 668"/>
              <a:gd name="T50" fmla="*/ 1747 w 3590"/>
              <a:gd name="T51" fmla="*/ 271 h 668"/>
              <a:gd name="T52" fmla="*/ 2041 w 3590"/>
              <a:gd name="T53" fmla="*/ 532 h 668"/>
              <a:gd name="T54" fmla="*/ 1856 w 3590"/>
              <a:gd name="T55" fmla="*/ 500 h 668"/>
              <a:gd name="T56" fmla="*/ 2040 w 3590"/>
              <a:gd name="T57" fmla="*/ 286 h 668"/>
              <a:gd name="T58" fmla="*/ 2087 w 3590"/>
              <a:gd name="T59" fmla="*/ 532 h 668"/>
              <a:gd name="T60" fmla="*/ 1960 w 3590"/>
              <a:gd name="T61" fmla="*/ 279 h 668"/>
              <a:gd name="T62" fmla="*/ 1955 w 3590"/>
              <a:gd name="T63" fmla="*/ 500 h 668"/>
              <a:gd name="T64" fmla="*/ 2387 w 3590"/>
              <a:gd name="T65" fmla="*/ 497 h 668"/>
              <a:gd name="T66" fmla="*/ 2184 w 3590"/>
              <a:gd name="T67" fmla="*/ 281 h 668"/>
              <a:gd name="T68" fmla="*/ 2379 w 3590"/>
              <a:gd name="T69" fmla="*/ 390 h 668"/>
              <a:gd name="T70" fmla="*/ 2192 w 3590"/>
              <a:gd name="T71" fmla="*/ 391 h 668"/>
              <a:gd name="T72" fmla="*/ 2379 w 3590"/>
              <a:gd name="T73" fmla="*/ 390 h 668"/>
              <a:gd name="T74" fmla="*/ 2651 w 3590"/>
              <a:gd name="T75" fmla="*/ 328 h 668"/>
              <a:gd name="T76" fmla="*/ 2576 w 3590"/>
              <a:gd name="T77" fmla="*/ 532 h 668"/>
              <a:gd name="T78" fmla="*/ 2551 w 3590"/>
              <a:gd name="T79" fmla="*/ 461 h 668"/>
              <a:gd name="T80" fmla="*/ 2628 w 3590"/>
              <a:gd name="T81" fmla="*/ 247 h 668"/>
              <a:gd name="T82" fmla="*/ 2735 w 3590"/>
              <a:gd name="T83" fmla="*/ 487 h 668"/>
              <a:gd name="T84" fmla="*/ 3039 w 3590"/>
              <a:gd name="T85" fmla="*/ 456 h 668"/>
              <a:gd name="T86" fmla="*/ 2864 w 3590"/>
              <a:gd name="T87" fmla="*/ 473 h 668"/>
              <a:gd name="T88" fmla="*/ 2934 w 3590"/>
              <a:gd name="T89" fmla="*/ 406 h 668"/>
              <a:gd name="T90" fmla="*/ 2965 w 3590"/>
              <a:gd name="T91" fmla="*/ 240 h 668"/>
              <a:gd name="T92" fmla="*/ 2925 w 3590"/>
              <a:gd name="T93" fmla="*/ 290 h 668"/>
              <a:gd name="T94" fmla="*/ 3022 w 3590"/>
              <a:gd name="T95" fmla="*/ 408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90" h="668">
                <a:moveTo>
                  <a:pt x="295" y="52"/>
                </a:moveTo>
                <a:cubicBezTo>
                  <a:pt x="667" y="0"/>
                  <a:pt x="667" y="0"/>
                  <a:pt x="667" y="0"/>
                </a:cubicBezTo>
                <a:cubicBezTo>
                  <a:pt x="667" y="329"/>
                  <a:pt x="667" y="329"/>
                  <a:pt x="667" y="329"/>
                </a:cubicBezTo>
                <a:cubicBezTo>
                  <a:pt x="295" y="329"/>
                  <a:pt x="295" y="329"/>
                  <a:pt x="295" y="329"/>
                </a:cubicBezTo>
                <a:lnTo>
                  <a:pt x="295" y="52"/>
                </a:lnTo>
                <a:close/>
                <a:moveTo>
                  <a:pt x="284" y="329"/>
                </a:moveTo>
                <a:cubicBezTo>
                  <a:pt x="284" y="54"/>
                  <a:pt x="284" y="54"/>
                  <a:pt x="284" y="54"/>
                </a:cubicBezTo>
                <a:cubicBezTo>
                  <a:pt x="0" y="94"/>
                  <a:pt x="0" y="94"/>
                  <a:pt x="0" y="94"/>
                </a:cubicBezTo>
                <a:cubicBezTo>
                  <a:pt x="0" y="329"/>
                  <a:pt x="0" y="329"/>
                  <a:pt x="0" y="329"/>
                </a:cubicBezTo>
                <a:lnTo>
                  <a:pt x="284" y="329"/>
                </a:lnTo>
                <a:close/>
                <a:moveTo>
                  <a:pt x="295" y="340"/>
                </a:moveTo>
                <a:cubicBezTo>
                  <a:pt x="295" y="616"/>
                  <a:pt x="295" y="616"/>
                  <a:pt x="295" y="616"/>
                </a:cubicBezTo>
                <a:cubicBezTo>
                  <a:pt x="667" y="668"/>
                  <a:pt x="667" y="668"/>
                  <a:pt x="667" y="668"/>
                </a:cubicBezTo>
                <a:cubicBezTo>
                  <a:pt x="667" y="340"/>
                  <a:pt x="667" y="340"/>
                  <a:pt x="667" y="340"/>
                </a:cubicBezTo>
                <a:lnTo>
                  <a:pt x="295" y="340"/>
                </a:lnTo>
                <a:close/>
                <a:moveTo>
                  <a:pt x="284" y="340"/>
                </a:moveTo>
                <a:cubicBezTo>
                  <a:pt x="0" y="340"/>
                  <a:pt x="0" y="340"/>
                  <a:pt x="0" y="340"/>
                </a:cubicBezTo>
                <a:cubicBezTo>
                  <a:pt x="0" y="575"/>
                  <a:pt x="0" y="575"/>
                  <a:pt x="0" y="575"/>
                </a:cubicBezTo>
                <a:cubicBezTo>
                  <a:pt x="284" y="615"/>
                  <a:pt x="284" y="615"/>
                  <a:pt x="284" y="615"/>
                </a:cubicBezTo>
                <a:lnTo>
                  <a:pt x="284" y="340"/>
                </a:lnTo>
                <a:close/>
                <a:moveTo>
                  <a:pt x="3269" y="123"/>
                </a:moveTo>
                <a:cubicBezTo>
                  <a:pt x="3252" y="123"/>
                  <a:pt x="3252" y="123"/>
                  <a:pt x="3252" y="123"/>
                </a:cubicBezTo>
                <a:cubicBezTo>
                  <a:pt x="3245" y="129"/>
                  <a:pt x="3236" y="136"/>
                  <a:pt x="3227" y="142"/>
                </a:cubicBezTo>
                <a:cubicBezTo>
                  <a:pt x="3217" y="148"/>
                  <a:pt x="3207" y="154"/>
                  <a:pt x="3196" y="160"/>
                </a:cubicBezTo>
                <a:cubicBezTo>
                  <a:pt x="3185" y="166"/>
                  <a:pt x="3174" y="171"/>
                  <a:pt x="3163" y="176"/>
                </a:cubicBezTo>
                <a:cubicBezTo>
                  <a:pt x="3152" y="181"/>
                  <a:pt x="3141" y="185"/>
                  <a:pt x="3131" y="187"/>
                </a:cubicBezTo>
                <a:cubicBezTo>
                  <a:pt x="3131" y="234"/>
                  <a:pt x="3131" y="234"/>
                  <a:pt x="3131" y="234"/>
                </a:cubicBezTo>
                <a:cubicBezTo>
                  <a:pt x="3140" y="231"/>
                  <a:pt x="3149" y="228"/>
                  <a:pt x="3158" y="224"/>
                </a:cubicBezTo>
                <a:cubicBezTo>
                  <a:pt x="3168" y="221"/>
                  <a:pt x="3177" y="216"/>
                  <a:pt x="3185" y="212"/>
                </a:cubicBezTo>
                <a:cubicBezTo>
                  <a:pt x="3194" y="207"/>
                  <a:pt x="3201" y="203"/>
                  <a:pt x="3208" y="198"/>
                </a:cubicBezTo>
                <a:cubicBezTo>
                  <a:pt x="3215" y="194"/>
                  <a:pt x="3220" y="190"/>
                  <a:pt x="3223" y="186"/>
                </a:cubicBezTo>
                <a:cubicBezTo>
                  <a:pt x="3223" y="531"/>
                  <a:pt x="3223" y="531"/>
                  <a:pt x="3223" y="531"/>
                </a:cubicBezTo>
                <a:cubicBezTo>
                  <a:pt x="3269" y="531"/>
                  <a:pt x="3269" y="531"/>
                  <a:pt x="3269" y="531"/>
                </a:cubicBezTo>
                <a:lnTo>
                  <a:pt x="3269" y="123"/>
                </a:lnTo>
                <a:close/>
                <a:moveTo>
                  <a:pt x="3465" y="125"/>
                </a:moveTo>
                <a:cubicBezTo>
                  <a:pt x="3443" y="125"/>
                  <a:pt x="3424" y="130"/>
                  <a:pt x="3407" y="139"/>
                </a:cubicBezTo>
                <a:cubicBezTo>
                  <a:pt x="3390" y="148"/>
                  <a:pt x="3376" y="162"/>
                  <a:pt x="3365" y="180"/>
                </a:cubicBezTo>
                <a:cubicBezTo>
                  <a:pt x="3354" y="198"/>
                  <a:pt x="3345" y="221"/>
                  <a:pt x="3339" y="247"/>
                </a:cubicBezTo>
                <a:cubicBezTo>
                  <a:pt x="3333" y="274"/>
                  <a:pt x="3331" y="305"/>
                  <a:pt x="3331" y="340"/>
                </a:cubicBezTo>
                <a:cubicBezTo>
                  <a:pt x="3331" y="371"/>
                  <a:pt x="3333" y="399"/>
                  <a:pt x="3339" y="424"/>
                </a:cubicBezTo>
                <a:cubicBezTo>
                  <a:pt x="3344" y="448"/>
                  <a:pt x="3353" y="469"/>
                  <a:pt x="3363" y="486"/>
                </a:cubicBezTo>
                <a:cubicBezTo>
                  <a:pt x="3374" y="503"/>
                  <a:pt x="3387" y="516"/>
                  <a:pt x="3403" y="525"/>
                </a:cubicBezTo>
                <a:cubicBezTo>
                  <a:pt x="3419" y="533"/>
                  <a:pt x="3436" y="538"/>
                  <a:pt x="3456" y="538"/>
                </a:cubicBezTo>
                <a:cubicBezTo>
                  <a:pt x="3478" y="538"/>
                  <a:pt x="3496" y="533"/>
                  <a:pt x="3513" y="524"/>
                </a:cubicBezTo>
                <a:cubicBezTo>
                  <a:pt x="3530" y="515"/>
                  <a:pt x="3544" y="501"/>
                  <a:pt x="3555" y="484"/>
                </a:cubicBezTo>
                <a:cubicBezTo>
                  <a:pt x="3566" y="466"/>
                  <a:pt x="3575" y="444"/>
                  <a:pt x="3581" y="418"/>
                </a:cubicBezTo>
                <a:cubicBezTo>
                  <a:pt x="3587" y="393"/>
                  <a:pt x="3590" y="363"/>
                  <a:pt x="3590" y="330"/>
                </a:cubicBezTo>
                <a:cubicBezTo>
                  <a:pt x="3590" y="194"/>
                  <a:pt x="3548" y="125"/>
                  <a:pt x="3465" y="125"/>
                </a:cubicBezTo>
                <a:close/>
                <a:moveTo>
                  <a:pt x="3461" y="499"/>
                </a:moveTo>
                <a:cubicBezTo>
                  <a:pt x="3405" y="499"/>
                  <a:pt x="3377" y="445"/>
                  <a:pt x="3377" y="337"/>
                </a:cubicBezTo>
                <a:cubicBezTo>
                  <a:pt x="3377" y="222"/>
                  <a:pt x="3406" y="164"/>
                  <a:pt x="3463" y="164"/>
                </a:cubicBezTo>
                <a:cubicBezTo>
                  <a:pt x="3517" y="164"/>
                  <a:pt x="3544" y="221"/>
                  <a:pt x="3544" y="334"/>
                </a:cubicBezTo>
                <a:cubicBezTo>
                  <a:pt x="3544" y="444"/>
                  <a:pt x="3516" y="499"/>
                  <a:pt x="3461" y="499"/>
                </a:cubicBezTo>
                <a:close/>
                <a:moveTo>
                  <a:pt x="1382" y="133"/>
                </a:moveTo>
                <a:cubicBezTo>
                  <a:pt x="1270" y="532"/>
                  <a:pt x="1270" y="532"/>
                  <a:pt x="1270" y="532"/>
                </a:cubicBezTo>
                <a:cubicBezTo>
                  <a:pt x="1215" y="532"/>
                  <a:pt x="1215" y="532"/>
                  <a:pt x="1215" y="532"/>
                </a:cubicBezTo>
                <a:cubicBezTo>
                  <a:pt x="1133" y="240"/>
                  <a:pt x="1133" y="240"/>
                  <a:pt x="1133" y="240"/>
                </a:cubicBezTo>
                <a:cubicBezTo>
                  <a:pt x="1130" y="229"/>
                  <a:pt x="1128" y="216"/>
                  <a:pt x="1127" y="200"/>
                </a:cubicBezTo>
                <a:cubicBezTo>
                  <a:pt x="1126" y="200"/>
                  <a:pt x="1126" y="200"/>
                  <a:pt x="1126" y="200"/>
                </a:cubicBezTo>
                <a:cubicBezTo>
                  <a:pt x="1124" y="214"/>
                  <a:pt x="1122" y="227"/>
                  <a:pt x="1118" y="240"/>
                </a:cubicBezTo>
                <a:cubicBezTo>
                  <a:pt x="1036" y="532"/>
                  <a:pt x="1036" y="532"/>
                  <a:pt x="1036" y="532"/>
                </a:cubicBezTo>
                <a:cubicBezTo>
                  <a:pt x="981" y="532"/>
                  <a:pt x="981" y="532"/>
                  <a:pt x="981" y="532"/>
                </a:cubicBezTo>
                <a:cubicBezTo>
                  <a:pt x="865" y="133"/>
                  <a:pt x="865" y="133"/>
                  <a:pt x="865" y="133"/>
                </a:cubicBezTo>
                <a:cubicBezTo>
                  <a:pt x="916" y="133"/>
                  <a:pt x="916" y="133"/>
                  <a:pt x="916" y="133"/>
                </a:cubicBezTo>
                <a:cubicBezTo>
                  <a:pt x="1001" y="439"/>
                  <a:pt x="1001" y="439"/>
                  <a:pt x="1001" y="439"/>
                </a:cubicBezTo>
                <a:cubicBezTo>
                  <a:pt x="1004" y="452"/>
                  <a:pt x="1007" y="466"/>
                  <a:pt x="1008" y="479"/>
                </a:cubicBezTo>
                <a:cubicBezTo>
                  <a:pt x="1009" y="479"/>
                  <a:pt x="1009" y="479"/>
                  <a:pt x="1009" y="479"/>
                </a:cubicBezTo>
                <a:cubicBezTo>
                  <a:pt x="1010" y="468"/>
                  <a:pt x="1013" y="454"/>
                  <a:pt x="1017" y="439"/>
                </a:cubicBezTo>
                <a:cubicBezTo>
                  <a:pt x="1106" y="133"/>
                  <a:pt x="1106" y="133"/>
                  <a:pt x="1106" y="133"/>
                </a:cubicBezTo>
                <a:cubicBezTo>
                  <a:pt x="1151" y="133"/>
                  <a:pt x="1151" y="133"/>
                  <a:pt x="1151" y="133"/>
                </a:cubicBezTo>
                <a:cubicBezTo>
                  <a:pt x="1235" y="441"/>
                  <a:pt x="1235" y="441"/>
                  <a:pt x="1235" y="441"/>
                </a:cubicBezTo>
                <a:cubicBezTo>
                  <a:pt x="1238" y="453"/>
                  <a:pt x="1240" y="465"/>
                  <a:pt x="1242" y="478"/>
                </a:cubicBezTo>
                <a:cubicBezTo>
                  <a:pt x="1243" y="478"/>
                  <a:pt x="1243" y="478"/>
                  <a:pt x="1243" y="478"/>
                </a:cubicBezTo>
                <a:cubicBezTo>
                  <a:pt x="1244" y="469"/>
                  <a:pt x="1246" y="456"/>
                  <a:pt x="1250" y="440"/>
                </a:cubicBezTo>
                <a:cubicBezTo>
                  <a:pt x="1332" y="133"/>
                  <a:pt x="1332" y="133"/>
                  <a:pt x="1332" y="133"/>
                </a:cubicBezTo>
                <a:lnTo>
                  <a:pt x="1382" y="133"/>
                </a:lnTo>
                <a:close/>
                <a:moveTo>
                  <a:pt x="1475" y="153"/>
                </a:moveTo>
                <a:cubicBezTo>
                  <a:pt x="1475" y="162"/>
                  <a:pt x="1472" y="169"/>
                  <a:pt x="1466" y="174"/>
                </a:cubicBezTo>
                <a:cubicBezTo>
                  <a:pt x="1461" y="180"/>
                  <a:pt x="1453" y="183"/>
                  <a:pt x="1445" y="183"/>
                </a:cubicBezTo>
                <a:cubicBezTo>
                  <a:pt x="1437" y="183"/>
                  <a:pt x="1430" y="180"/>
                  <a:pt x="1424" y="175"/>
                </a:cubicBezTo>
                <a:cubicBezTo>
                  <a:pt x="1418" y="169"/>
                  <a:pt x="1416" y="162"/>
                  <a:pt x="1416" y="153"/>
                </a:cubicBezTo>
                <a:cubicBezTo>
                  <a:pt x="1416" y="145"/>
                  <a:pt x="1418" y="138"/>
                  <a:pt x="1424" y="132"/>
                </a:cubicBezTo>
                <a:cubicBezTo>
                  <a:pt x="1430" y="127"/>
                  <a:pt x="1437" y="124"/>
                  <a:pt x="1445" y="124"/>
                </a:cubicBezTo>
                <a:cubicBezTo>
                  <a:pt x="1454" y="124"/>
                  <a:pt x="1461" y="127"/>
                  <a:pt x="1467" y="132"/>
                </a:cubicBezTo>
                <a:cubicBezTo>
                  <a:pt x="1472" y="138"/>
                  <a:pt x="1475" y="145"/>
                  <a:pt x="1475" y="153"/>
                </a:cubicBezTo>
                <a:close/>
                <a:moveTo>
                  <a:pt x="1468" y="532"/>
                </a:moveTo>
                <a:cubicBezTo>
                  <a:pt x="1422" y="532"/>
                  <a:pt x="1422" y="532"/>
                  <a:pt x="1422" y="532"/>
                </a:cubicBezTo>
                <a:cubicBezTo>
                  <a:pt x="1422" y="247"/>
                  <a:pt x="1422" y="247"/>
                  <a:pt x="1422" y="247"/>
                </a:cubicBezTo>
                <a:cubicBezTo>
                  <a:pt x="1468" y="247"/>
                  <a:pt x="1468" y="247"/>
                  <a:pt x="1468" y="247"/>
                </a:cubicBezTo>
                <a:lnTo>
                  <a:pt x="1468" y="532"/>
                </a:lnTo>
                <a:close/>
                <a:moveTo>
                  <a:pt x="1772" y="532"/>
                </a:moveTo>
                <a:cubicBezTo>
                  <a:pt x="1726" y="532"/>
                  <a:pt x="1726" y="532"/>
                  <a:pt x="1726" y="532"/>
                </a:cubicBezTo>
                <a:cubicBezTo>
                  <a:pt x="1726" y="369"/>
                  <a:pt x="1726" y="369"/>
                  <a:pt x="1726" y="369"/>
                </a:cubicBezTo>
                <a:cubicBezTo>
                  <a:pt x="1726" y="309"/>
                  <a:pt x="1704" y="279"/>
                  <a:pt x="1660" y="279"/>
                </a:cubicBezTo>
                <a:cubicBezTo>
                  <a:pt x="1638" y="279"/>
                  <a:pt x="1619" y="288"/>
                  <a:pt x="1604" y="305"/>
                </a:cubicBezTo>
                <a:cubicBezTo>
                  <a:pt x="1589" y="322"/>
                  <a:pt x="1581" y="343"/>
                  <a:pt x="1581" y="369"/>
                </a:cubicBezTo>
                <a:cubicBezTo>
                  <a:pt x="1581" y="532"/>
                  <a:pt x="1581" y="532"/>
                  <a:pt x="1581" y="532"/>
                </a:cubicBezTo>
                <a:cubicBezTo>
                  <a:pt x="1536" y="532"/>
                  <a:pt x="1536" y="532"/>
                  <a:pt x="1536" y="532"/>
                </a:cubicBezTo>
                <a:cubicBezTo>
                  <a:pt x="1536" y="247"/>
                  <a:pt x="1536" y="247"/>
                  <a:pt x="1536" y="247"/>
                </a:cubicBezTo>
                <a:cubicBezTo>
                  <a:pt x="1581" y="247"/>
                  <a:pt x="1581" y="247"/>
                  <a:pt x="1581" y="247"/>
                </a:cubicBezTo>
                <a:cubicBezTo>
                  <a:pt x="1581" y="294"/>
                  <a:pt x="1581" y="294"/>
                  <a:pt x="1581" y="294"/>
                </a:cubicBezTo>
                <a:cubicBezTo>
                  <a:pt x="1583" y="294"/>
                  <a:pt x="1583" y="294"/>
                  <a:pt x="1583" y="294"/>
                </a:cubicBezTo>
                <a:cubicBezTo>
                  <a:pt x="1604" y="258"/>
                  <a:pt x="1635" y="240"/>
                  <a:pt x="1676" y="240"/>
                </a:cubicBezTo>
                <a:cubicBezTo>
                  <a:pt x="1707" y="240"/>
                  <a:pt x="1731" y="250"/>
                  <a:pt x="1747" y="271"/>
                </a:cubicBezTo>
                <a:cubicBezTo>
                  <a:pt x="1764" y="291"/>
                  <a:pt x="1772" y="320"/>
                  <a:pt x="1772" y="358"/>
                </a:cubicBezTo>
                <a:lnTo>
                  <a:pt x="1772" y="532"/>
                </a:lnTo>
                <a:close/>
                <a:moveTo>
                  <a:pt x="2087" y="532"/>
                </a:moveTo>
                <a:cubicBezTo>
                  <a:pt x="2041" y="532"/>
                  <a:pt x="2041" y="532"/>
                  <a:pt x="2041" y="532"/>
                </a:cubicBezTo>
                <a:cubicBezTo>
                  <a:pt x="2041" y="483"/>
                  <a:pt x="2041" y="483"/>
                  <a:pt x="2041" y="483"/>
                </a:cubicBezTo>
                <a:cubicBezTo>
                  <a:pt x="2040" y="483"/>
                  <a:pt x="2040" y="483"/>
                  <a:pt x="2040" y="483"/>
                </a:cubicBezTo>
                <a:cubicBezTo>
                  <a:pt x="2019" y="520"/>
                  <a:pt x="1986" y="539"/>
                  <a:pt x="1942" y="539"/>
                </a:cubicBezTo>
                <a:cubicBezTo>
                  <a:pt x="1906" y="539"/>
                  <a:pt x="1878" y="526"/>
                  <a:pt x="1856" y="500"/>
                </a:cubicBezTo>
                <a:cubicBezTo>
                  <a:pt x="1835" y="474"/>
                  <a:pt x="1824" y="440"/>
                  <a:pt x="1824" y="396"/>
                </a:cubicBezTo>
                <a:cubicBezTo>
                  <a:pt x="1824" y="349"/>
                  <a:pt x="1836" y="312"/>
                  <a:pt x="1860" y="283"/>
                </a:cubicBezTo>
                <a:cubicBezTo>
                  <a:pt x="1883" y="255"/>
                  <a:pt x="1915" y="240"/>
                  <a:pt x="1955" y="240"/>
                </a:cubicBezTo>
                <a:cubicBezTo>
                  <a:pt x="1993" y="240"/>
                  <a:pt x="2022" y="256"/>
                  <a:pt x="2040" y="286"/>
                </a:cubicBezTo>
                <a:cubicBezTo>
                  <a:pt x="2041" y="286"/>
                  <a:pt x="2041" y="286"/>
                  <a:pt x="2041" y="286"/>
                </a:cubicBezTo>
                <a:cubicBezTo>
                  <a:pt x="2041" y="110"/>
                  <a:pt x="2041" y="110"/>
                  <a:pt x="2041" y="110"/>
                </a:cubicBezTo>
                <a:cubicBezTo>
                  <a:pt x="2087" y="110"/>
                  <a:pt x="2087" y="110"/>
                  <a:pt x="2087" y="110"/>
                </a:cubicBezTo>
                <a:lnTo>
                  <a:pt x="2087" y="532"/>
                </a:lnTo>
                <a:close/>
                <a:moveTo>
                  <a:pt x="2041" y="403"/>
                </a:moveTo>
                <a:cubicBezTo>
                  <a:pt x="2041" y="361"/>
                  <a:pt x="2041" y="361"/>
                  <a:pt x="2041" y="361"/>
                </a:cubicBezTo>
                <a:cubicBezTo>
                  <a:pt x="2041" y="338"/>
                  <a:pt x="2033" y="318"/>
                  <a:pt x="2018" y="303"/>
                </a:cubicBezTo>
                <a:cubicBezTo>
                  <a:pt x="2002" y="287"/>
                  <a:pt x="1983" y="279"/>
                  <a:pt x="1960" y="279"/>
                </a:cubicBezTo>
                <a:cubicBezTo>
                  <a:pt x="1933" y="279"/>
                  <a:pt x="1911" y="289"/>
                  <a:pt x="1895" y="310"/>
                </a:cubicBezTo>
                <a:cubicBezTo>
                  <a:pt x="1879" y="330"/>
                  <a:pt x="1871" y="358"/>
                  <a:pt x="1871" y="394"/>
                </a:cubicBezTo>
                <a:cubicBezTo>
                  <a:pt x="1871" y="427"/>
                  <a:pt x="1879" y="452"/>
                  <a:pt x="1894" y="471"/>
                </a:cubicBezTo>
                <a:cubicBezTo>
                  <a:pt x="1909" y="490"/>
                  <a:pt x="1929" y="500"/>
                  <a:pt x="1955" y="500"/>
                </a:cubicBezTo>
                <a:cubicBezTo>
                  <a:pt x="1980" y="500"/>
                  <a:pt x="2001" y="491"/>
                  <a:pt x="2017" y="473"/>
                </a:cubicBezTo>
                <a:cubicBezTo>
                  <a:pt x="2033" y="454"/>
                  <a:pt x="2041" y="431"/>
                  <a:pt x="2041" y="403"/>
                </a:cubicBezTo>
                <a:close/>
                <a:moveTo>
                  <a:pt x="2425" y="388"/>
                </a:moveTo>
                <a:cubicBezTo>
                  <a:pt x="2425" y="434"/>
                  <a:pt x="2412" y="470"/>
                  <a:pt x="2387" y="497"/>
                </a:cubicBezTo>
                <a:cubicBezTo>
                  <a:pt x="2361" y="525"/>
                  <a:pt x="2327" y="539"/>
                  <a:pt x="2284" y="539"/>
                </a:cubicBezTo>
                <a:cubicBezTo>
                  <a:pt x="2242" y="539"/>
                  <a:pt x="2208" y="525"/>
                  <a:pt x="2183" y="499"/>
                </a:cubicBezTo>
                <a:cubicBezTo>
                  <a:pt x="2158" y="472"/>
                  <a:pt x="2145" y="437"/>
                  <a:pt x="2145" y="393"/>
                </a:cubicBezTo>
                <a:cubicBezTo>
                  <a:pt x="2145" y="346"/>
                  <a:pt x="2158" y="309"/>
                  <a:pt x="2184" y="281"/>
                </a:cubicBezTo>
                <a:cubicBezTo>
                  <a:pt x="2210" y="254"/>
                  <a:pt x="2245" y="240"/>
                  <a:pt x="2290" y="240"/>
                </a:cubicBezTo>
                <a:cubicBezTo>
                  <a:pt x="2332" y="240"/>
                  <a:pt x="2366" y="253"/>
                  <a:pt x="2389" y="280"/>
                </a:cubicBezTo>
                <a:cubicBezTo>
                  <a:pt x="2413" y="306"/>
                  <a:pt x="2425" y="342"/>
                  <a:pt x="2425" y="388"/>
                </a:cubicBezTo>
                <a:close/>
                <a:moveTo>
                  <a:pt x="2379" y="390"/>
                </a:moveTo>
                <a:cubicBezTo>
                  <a:pt x="2379" y="354"/>
                  <a:pt x="2371" y="327"/>
                  <a:pt x="2355" y="308"/>
                </a:cubicBezTo>
                <a:cubicBezTo>
                  <a:pt x="2339" y="289"/>
                  <a:pt x="2316" y="279"/>
                  <a:pt x="2287" y="279"/>
                </a:cubicBezTo>
                <a:cubicBezTo>
                  <a:pt x="2258" y="279"/>
                  <a:pt x="2234" y="289"/>
                  <a:pt x="2217" y="308"/>
                </a:cubicBezTo>
                <a:cubicBezTo>
                  <a:pt x="2200" y="328"/>
                  <a:pt x="2192" y="356"/>
                  <a:pt x="2192" y="391"/>
                </a:cubicBezTo>
                <a:cubicBezTo>
                  <a:pt x="2192" y="425"/>
                  <a:pt x="2200" y="452"/>
                  <a:pt x="2218" y="471"/>
                </a:cubicBezTo>
                <a:cubicBezTo>
                  <a:pt x="2235" y="490"/>
                  <a:pt x="2258" y="500"/>
                  <a:pt x="2287" y="500"/>
                </a:cubicBezTo>
                <a:cubicBezTo>
                  <a:pt x="2317" y="500"/>
                  <a:pt x="2339" y="490"/>
                  <a:pt x="2355" y="471"/>
                </a:cubicBezTo>
                <a:cubicBezTo>
                  <a:pt x="2371" y="453"/>
                  <a:pt x="2379" y="425"/>
                  <a:pt x="2379" y="390"/>
                </a:cubicBezTo>
                <a:close/>
                <a:moveTo>
                  <a:pt x="2842" y="247"/>
                </a:moveTo>
                <a:cubicBezTo>
                  <a:pt x="2757" y="532"/>
                  <a:pt x="2757" y="532"/>
                  <a:pt x="2757" y="532"/>
                </a:cubicBezTo>
                <a:cubicBezTo>
                  <a:pt x="2710" y="532"/>
                  <a:pt x="2710" y="532"/>
                  <a:pt x="2710" y="532"/>
                </a:cubicBezTo>
                <a:cubicBezTo>
                  <a:pt x="2651" y="328"/>
                  <a:pt x="2651" y="328"/>
                  <a:pt x="2651" y="328"/>
                </a:cubicBezTo>
                <a:cubicBezTo>
                  <a:pt x="2649" y="321"/>
                  <a:pt x="2648" y="312"/>
                  <a:pt x="2647" y="302"/>
                </a:cubicBezTo>
                <a:cubicBezTo>
                  <a:pt x="2646" y="302"/>
                  <a:pt x="2646" y="302"/>
                  <a:pt x="2646" y="302"/>
                </a:cubicBezTo>
                <a:cubicBezTo>
                  <a:pt x="2645" y="308"/>
                  <a:pt x="2643" y="317"/>
                  <a:pt x="2640" y="328"/>
                </a:cubicBezTo>
                <a:cubicBezTo>
                  <a:pt x="2576" y="532"/>
                  <a:pt x="2576" y="532"/>
                  <a:pt x="2576" y="532"/>
                </a:cubicBezTo>
                <a:cubicBezTo>
                  <a:pt x="2531" y="532"/>
                  <a:pt x="2531" y="532"/>
                  <a:pt x="2531" y="532"/>
                </a:cubicBezTo>
                <a:cubicBezTo>
                  <a:pt x="2445" y="247"/>
                  <a:pt x="2445" y="247"/>
                  <a:pt x="2445" y="247"/>
                </a:cubicBezTo>
                <a:cubicBezTo>
                  <a:pt x="2493" y="247"/>
                  <a:pt x="2493" y="247"/>
                  <a:pt x="2493" y="247"/>
                </a:cubicBezTo>
                <a:cubicBezTo>
                  <a:pt x="2551" y="461"/>
                  <a:pt x="2551" y="461"/>
                  <a:pt x="2551" y="461"/>
                </a:cubicBezTo>
                <a:cubicBezTo>
                  <a:pt x="2553" y="469"/>
                  <a:pt x="2554" y="477"/>
                  <a:pt x="2555" y="487"/>
                </a:cubicBezTo>
                <a:cubicBezTo>
                  <a:pt x="2557" y="487"/>
                  <a:pt x="2557" y="487"/>
                  <a:pt x="2557" y="487"/>
                </a:cubicBezTo>
                <a:cubicBezTo>
                  <a:pt x="2558" y="480"/>
                  <a:pt x="2559" y="471"/>
                  <a:pt x="2563" y="461"/>
                </a:cubicBezTo>
                <a:cubicBezTo>
                  <a:pt x="2628" y="247"/>
                  <a:pt x="2628" y="247"/>
                  <a:pt x="2628" y="247"/>
                </a:cubicBezTo>
                <a:cubicBezTo>
                  <a:pt x="2670" y="247"/>
                  <a:pt x="2670" y="247"/>
                  <a:pt x="2670" y="247"/>
                </a:cubicBezTo>
                <a:cubicBezTo>
                  <a:pt x="2729" y="462"/>
                  <a:pt x="2729" y="462"/>
                  <a:pt x="2729" y="462"/>
                </a:cubicBezTo>
                <a:cubicBezTo>
                  <a:pt x="2731" y="469"/>
                  <a:pt x="2732" y="477"/>
                  <a:pt x="2733" y="487"/>
                </a:cubicBezTo>
                <a:cubicBezTo>
                  <a:pt x="2735" y="487"/>
                  <a:pt x="2735" y="487"/>
                  <a:pt x="2735" y="487"/>
                </a:cubicBezTo>
                <a:cubicBezTo>
                  <a:pt x="2735" y="478"/>
                  <a:pt x="2737" y="470"/>
                  <a:pt x="2739" y="462"/>
                </a:cubicBezTo>
                <a:cubicBezTo>
                  <a:pt x="2797" y="247"/>
                  <a:pt x="2797" y="247"/>
                  <a:pt x="2797" y="247"/>
                </a:cubicBezTo>
                <a:lnTo>
                  <a:pt x="2842" y="247"/>
                </a:lnTo>
                <a:close/>
                <a:moveTo>
                  <a:pt x="3039" y="456"/>
                </a:moveTo>
                <a:cubicBezTo>
                  <a:pt x="3039" y="480"/>
                  <a:pt x="3029" y="500"/>
                  <a:pt x="3010" y="516"/>
                </a:cubicBezTo>
                <a:cubicBezTo>
                  <a:pt x="2991" y="531"/>
                  <a:pt x="2966" y="539"/>
                  <a:pt x="2935" y="539"/>
                </a:cubicBezTo>
                <a:cubicBezTo>
                  <a:pt x="2908" y="539"/>
                  <a:pt x="2884" y="533"/>
                  <a:pt x="2864" y="521"/>
                </a:cubicBezTo>
                <a:cubicBezTo>
                  <a:pt x="2864" y="473"/>
                  <a:pt x="2864" y="473"/>
                  <a:pt x="2864" y="473"/>
                </a:cubicBezTo>
                <a:cubicBezTo>
                  <a:pt x="2886" y="491"/>
                  <a:pt x="2911" y="500"/>
                  <a:pt x="2938" y="500"/>
                </a:cubicBezTo>
                <a:cubicBezTo>
                  <a:pt x="2974" y="500"/>
                  <a:pt x="2992" y="487"/>
                  <a:pt x="2992" y="460"/>
                </a:cubicBezTo>
                <a:cubicBezTo>
                  <a:pt x="2992" y="449"/>
                  <a:pt x="2989" y="441"/>
                  <a:pt x="2982" y="434"/>
                </a:cubicBezTo>
                <a:cubicBezTo>
                  <a:pt x="2975" y="427"/>
                  <a:pt x="2959" y="418"/>
                  <a:pt x="2934" y="406"/>
                </a:cubicBezTo>
                <a:cubicBezTo>
                  <a:pt x="2908" y="396"/>
                  <a:pt x="2891" y="384"/>
                  <a:pt x="2880" y="372"/>
                </a:cubicBezTo>
                <a:cubicBezTo>
                  <a:pt x="2870" y="360"/>
                  <a:pt x="2865" y="343"/>
                  <a:pt x="2865" y="323"/>
                </a:cubicBezTo>
                <a:cubicBezTo>
                  <a:pt x="2865" y="299"/>
                  <a:pt x="2874" y="280"/>
                  <a:pt x="2893" y="264"/>
                </a:cubicBezTo>
                <a:cubicBezTo>
                  <a:pt x="2912" y="248"/>
                  <a:pt x="2936" y="240"/>
                  <a:pt x="2965" y="240"/>
                </a:cubicBezTo>
                <a:cubicBezTo>
                  <a:pt x="2987" y="240"/>
                  <a:pt x="3008" y="245"/>
                  <a:pt x="3026" y="254"/>
                </a:cubicBezTo>
                <a:cubicBezTo>
                  <a:pt x="3026" y="299"/>
                  <a:pt x="3026" y="299"/>
                  <a:pt x="3026" y="299"/>
                </a:cubicBezTo>
                <a:cubicBezTo>
                  <a:pt x="3007" y="286"/>
                  <a:pt x="2986" y="279"/>
                  <a:pt x="2961" y="279"/>
                </a:cubicBezTo>
                <a:cubicBezTo>
                  <a:pt x="2946" y="279"/>
                  <a:pt x="2934" y="283"/>
                  <a:pt x="2925" y="290"/>
                </a:cubicBezTo>
                <a:cubicBezTo>
                  <a:pt x="2916" y="298"/>
                  <a:pt x="2911" y="307"/>
                  <a:pt x="2911" y="319"/>
                </a:cubicBezTo>
                <a:cubicBezTo>
                  <a:pt x="2911" y="332"/>
                  <a:pt x="2915" y="341"/>
                  <a:pt x="2922" y="348"/>
                </a:cubicBezTo>
                <a:cubicBezTo>
                  <a:pt x="2929" y="355"/>
                  <a:pt x="2943" y="363"/>
                  <a:pt x="2965" y="372"/>
                </a:cubicBezTo>
                <a:cubicBezTo>
                  <a:pt x="2993" y="383"/>
                  <a:pt x="3012" y="396"/>
                  <a:pt x="3022" y="408"/>
                </a:cubicBezTo>
                <a:cubicBezTo>
                  <a:pt x="3033" y="421"/>
                  <a:pt x="3039" y="437"/>
                  <a:pt x="3039" y="45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845" fontAlgn="auto">
              <a:spcBef>
                <a:spcPts val="0"/>
              </a:spcBef>
              <a:spcAft>
                <a:spcPts val="0"/>
              </a:spcAft>
            </a:pPr>
            <a:endParaRPr lang="en-US" sz="1324" b="0" dirty="0">
              <a:solidFill>
                <a:srgbClr val="FFFFFF"/>
              </a:solidFill>
              <a:latin typeface="Segoe UI"/>
              <a:ea typeface="+mn-ea"/>
            </a:endParaRPr>
          </a:p>
        </p:txBody>
      </p:sp>
    </p:spTree>
    <p:extLst>
      <p:ext uri="{BB962C8B-B14F-4D97-AF65-F5344CB8AC3E}">
        <p14:creationId xmlns:p14="http://schemas.microsoft.com/office/powerpoint/2010/main" val="3183348948"/>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1189177"/>
            <a:ext cx="8740142" cy="1845826"/>
          </a:xfrm>
          <a:prstGeom prst="rect">
            <a:avLst/>
          </a:prstGeom>
        </p:spPr>
        <p:txBody>
          <a:bodyPr/>
          <a:lstStyle>
            <a:lvl1pPr marL="213614" indent="-213614">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24" indent="-20661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38" indent="-213614">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28" indent="-168090">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70017" indent="-168090">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719567495"/>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1189177"/>
            <a:ext cx="8740142" cy="1547347"/>
          </a:xfrm>
        </p:spPr>
        <p:txBody>
          <a:bodyPr>
            <a:spAutoFit/>
          </a:bodyPr>
          <a:lstStyle>
            <a:lvl1pPr>
              <a:defRPr sz="2647"/>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grpSp>
        <p:nvGrpSpPr>
          <p:cNvPr id="5" name="Group 4"/>
          <p:cNvGrpSpPr/>
          <p:nvPr userDrawn="1"/>
        </p:nvGrpSpPr>
        <p:grpSpPr>
          <a:xfrm>
            <a:off x="0" y="6118656"/>
            <a:ext cx="9144000" cy="739345"/>
            <a:chOff x="0" y="6184668"/>
            <a:chExt cx="12192000" cy="673331"/>
          </a:xfrm>
        </p:grpSpPr>
        <p:sp>
          <p:nvSpPr>
            <p:cNvPr id="7" name="Rectangle 6"/>
            <p:cNvSpPr/>
            <p:nvPr userDrawn="1"/>
          </p:nvSpPr>
          <p:spPr bwMode="auto">
            <a:xfrm>
              <a:off x="0" y="6184668"/>
              <a:ext cx="12192000" cy="673331"/>
            </a:xfrm>
            <a:prstGeom prst="rect">
              <a:avLst/>
            </a:prstGeom>
            <a:solidFill>
              <a:schemeClr val="bg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647">
                <a:lnSpc>
                  <a:spcPct val="90000"/>
                </a:lnSpc>
              </a:pPr>
              <a:endParaRPr lang="en-US" sz="1765" b="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descr="MSFT_logo_rgb_C-W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00666" y="6394541"/>
              <a:ext cx="1022096" cy="375920"/>
            </a:xfrm>
            <a:prstGeom prst="rect">
              <a:avLst/>
            </a:prstGeom>
          </p:spPr>
        </p:pic>
        <p:sp>
          <p:nvSpPr>
            <p:cNvPr id="9" name="TextBox 8"/>
            <p:cNvSpPr txBox="1"/>
            <p:nvPr userDrawn="1"/>
          </p:nvSpPr>
          <p:spPr>
            <a:xfrm>
              <a:off x="373149" y="6504026"/>
              <a:ext cx="1263651" cy="103009"/>
            </a:xfrm>
            <a:prstGeom prst="rect">
              <a:avLst/>
            </a:prstGeom>
            <a:noFill/>
          </p:spPr>
          <p:txBody>
            <a:bodyPr wrap="square" lIns="0" tIns="0" rIns="0" bIns="0" rtlCol="0" anchor="t">
              <a:spAutoFit/>
            </a:bodyPr>
            <a:lstStyle/>
            <a:p>
              <a:pPr defTabSz="685845" fontAlgn="auto">
                <a:spcBef>
                  <a:spcPts val="0"/>
                </a:spcBef>
                <a:spcAft>
                  <a:spcPts val="0"/>
                </a:spcAft>
              </a:pPr>
              <a:r>
                <a:rPr lang="en-US" sz="735" b="0" dirty="0" smtClean="0">
                  <a:solidFill>
                    <a:srgbClr val="FFFFFF"/>
                  </a:solidFill>
                  <a:latin typeface="Segoe UI"/>
                  <a:ea typeface="+mn-ea"/>
                  <a:cs typeface="Segoe UI"/>
                </a:rPr>
                <a:t>Microsoft Confidential</a:t>
              </a:r>
              <a:endParaRPr lang="en-US" sz="735" b="0" dirty="0">
                <a:solidFill>
                  <a:srgbClr val="FFFFFF"/>
                </a:solidFill>
                <a:latin typeface="Segoe UI"/>
                <a:ea typeface="+mn-ea"/>
                <a:cs typeface="Segoe UI"/>
              </a:endParaRPr>
            </a:p>
          </p:txBody>
        </p:sp>
      </p:grpSp>
    </p:spTree>
    <p:extLst>
      <p:ext uri="{BB962C8B-B14F-4D97-AF65-F5344CB8AC3E}">
        <p14:creationId xmlns:p14="http://schemas.microsoft.com/office/powerpoint/2010/main" val="457566232"/>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1189177"/>
            <a:ext cx="8740142" cy="1547347"/>
          </a:xfrm>
        </p:spPr>
        <p:txBody>
          <a:bodyPr>
            <a:spAutoFit/>
          </a:bodyPr>
          <a:lstStyle>
            <a:lvl1pPr>
              <a:defRPr sz="2647"/>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grpSp>
        <p:nvGrpSpPr>
          <p:cNvPr id="5" name="Group 4"/>
          <p:cNvGrpSpPr/>
          <p:nvPr userDrawn="1"/>
        </p:nvGrpSpPr>
        <p:grpSpPr>
          <a:xfrm>
            <a:off x="0" y="6118656"/>
            <a:ext cx="9144000" cy="739345"/>
            <a:chOff x="0" y="6184668"/>
            <a:chExt cx="12192000" cy="673331"/>
          </a:xfrm>
        </p:grpSpPr>
        <p:sp>
          <p:nvSpPr>
            <p:cNvPr id="7" name="Rectangle 6"/>
            <p:cNvSpPr/>
            <p:nvPr userDrawn="1"/>
          </p:nvSpPr>
          <p:spPr bwMode="auto">
            <a:xfrm>
              <a:off x="0" y="6184668"/>
              <a:ext cx="12192000" cy="673331"/>
            </a:xfrm>
            <a:prstGeom prst="rect">
              <a:avLst/>
            </a:prstGeom>
            <a:solidFill>
              <a:schemeClr val="bg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647">
                <a:lnSpc>
                  <a:spcPct val="90000"/>
                </a:lnSpc>
              </a:pPr>
              <a:endParaRPr lang="en-US" sz="1765" b="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descr="MSFT_logo_rgb_C-W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00666" y="6394541"/>
              <a:ext cx="1022096" cy="375920"/>
            </a:xfrm>
            <a:prstGeom prst="rect">
              <a:avLst/>
            </a:prstGeom>
          </p:spPr>
        </p:pic>
        <p:sp>
          <p:nvSpPr>
            <p:cNvPr id="9" name="TextBox 8"/>
            <p:cNvSpPr txBox="1"/>
            <p:nvPr userDrawn="1"/>
          </p:nvSpPr>
          <p:spPr>
            <a:xfrm>
              <a:off x="373149" y="6504026"/>
              <a:ext cx="1263651" cy="103009"/>
            </a:xfrm>
            <a:prstGeom prst="rect">
              <a:avLst/>
            </a:prstGeom>
            <a:noFill/>
          </p:spPr>
          <p:txBody>
            <a:bodyPr wrap="square" lIns="0" tIns="0" rIns="0" bIns="0" rtlCol="0" anchor="t">
              <a:spAutoFit/>
            </a:bodyPr>
            <a:lstStyle/>
            <a:p>
              <a:pPr defTabSz="685845" fontAlgn="auto">
                <a:spcBef>
                  <a:spcPts val="0"/>
                </a:spcBef>
                <a:spcAft>
                  <a:spcPts val="0"/>
                </a:spcAft>
              </a:pPr>
              <a:r>
                <a:rPr lang="en-US" sz="735" b="0" dirty="0" smtClean="0">
                  <a:solidFill>
                    <a:srgbClr val="FFFFFF"/>
                  </a:solidFill>
                  <a:latin typeface="Segoe UI"/>
                  <a:ea typeface="+mn-ea"/>
                  <a:cs typeface="Segoe UI"/>
                </a:rPr>
                <a:t>Microsoft Confidential</a:t>
              </a:r>
              <a:endParaRPr lang="en-US" sz="735" b="0" dirty="0">
                <a:solidFill>
                  <a:srgbClr val="FFFFFF"/>
                </a:solidFill>
                <a:latin typeface="Segoe UI"/>
                <a:ea typeface="+mn-ea"/>
                <a:cs typeface="Segoe UI"/>
              </a:endParaRPr>
            </a:p>
          </p:txBody>
        </p:sp>
      </p:grpSp>
    </p:spTree>
    <p:extLst>
      <p:ext uri="{BB962C8B-B14F-4D97-AF65-F5344CB8AC3E}">
        <p14:creationId xmlns:p14="http://schemas.microsoft.com/office/powerpoint/2010/main" val="3816458867"/>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12" name="Rounded Rectangle 11"/>
          <p:cNvSpPr/>
          <p:nvPr/>
        </p:nvSpPr>
        <p:spPr>
          <a:xfrm>
            <a:off x="228600" y="228600"/>
            <a:ext cx="8695944" cy="1426464"/>
          </a:xfrm>
          <a:prstGeom prst="roundRect">
            <a:avLst>
              <a:gd name="adj" fmla="val 7136"/>
            </a:avLst>
          </a:prstGeom>
          <a:gradFill>
            <a:gsLst>
              <a:gs pos="0">
                <a:schemeClr val="accent1">
                  <a:lumMod val="75000"/>
                </a:schemeClr>
              </a:gs>
              <a:gs pos="9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p:cNvGrpSpPr>
            <a:grpSpLocks noChangeAspect="1"/>
          </p:cNvGrpSpPr>
          <p:nvPr/>
        </p:nvGrpSpPr>
        <p:grpSpPr bwMode="hidden">
          <a:xfrm>
            <a:off x="211665" y="714191"/>
            <a:ext cx="8723376" cy="1329874"/>
            <a:chOff x="-3905251" y="4294188"/>
            <a:chExt cx="13027839" cy="1892300"/>
          </a:xfrm>
        </p:grpSpPr>
        <p:sp>
          <p:nvSpPr>
            <p:cNvPr id="7"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11" name="Freeform 10"/>
            <p:cNvSpPr>
              <a:spLocks/>
            </p:cNvSpPr>
            <p:nvPr/>
          </p:nvSpPr>
          <p:spPr bwMode="hidden">
            <a:xfrm>
              <a:off x="-3905251" y="4294188"/>
              <a:ext cx="13027839"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Date Placeholder 1"/>
          <p:cNvSpPr>
            <a:spLocks noGrp="1"/>
          </p:cNvSpPr>
          <p:nvPr>
            <p:ph type="dt" sz="half" idx="10"/>
          </p:nvPr>
        </p:nvSpPr>
        <p:spPr/>
        <p:txBody>
          <a:bodyPr/>
          <a:lstStyle/>
          <a:p>
            <a:pPr>
              <a:defRPr/>
            </a:pPr>
            <a:fld id="{EAFBBC56-F5B9-47F4-A73B-26A0F57A5C46}" type="datetime1">
              <a:rPr lang="en-US" altLang="zh-TW" smtClean="0"/>
              <a:t>8/5/2015</a:t>
            </a:fld>
            <a:endParaRPr lang="en-US"/>
          </a:p>
        </p:txBody>
      </p:sp>
      <p:sp>
        <p:nvSpPr>
          <p:cNvPr id="3" name="Footer Placeholder 2"/>
          <p:cNvSpPr>
            <a:spLocks noGrp="1"/>
          </p:cNvSpPr>
          <p:nvPr>
            <p:ph type="ftr" sz="quarter" idx="11"/>
          </p:nvPr>
        </p:nvSpPr>
        <p:spPr/>
        <p:txBody>
          <a:bodyPr/>
          <a:lstStyle/>
          <a:p>
            <a:pPr>
              <a:defRPr/>
            </a:pPr>
            <a:endParaRPr lang="zh-CN" altLang="en-US"/>
          </a:p>
        </p:txBody>
      </p:sp>
      <p:sp>
        <p:nvSpPr>
          <p:cNvPr id="4" name="Slide Number Placeholder 3"/>
          <p:cNvSpPr>
            <a:spLocks noGrp="1"/>
          </p:cNvSpPr>
          <p:nvPr>
            <p:ph type="sldNum" sz="quarter" idx="12"/>
          </p:nvPr>
        </p:nvSpPr>
        <p:spPr/>
        <p:txBody>
          <a:bodyPr/>
          <a:lstStyle/>
          <a:p>
            <a:pPr>
              <a:defRPr/>
            </a:pPr>
            <a:fld id="{A0182AC1-71AD-49E9-9CC0-79324CBF93C4}" type="slidenum">
              <a:rPr lang="en-US" smtClean="0"/>
              <a:pPr>
                <a:defRPr/>
              </a:pPr>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15" name="Rounded Rectangle 14"/>
          <p:cNvSpPr/>
          <p:nvPr/>
        </p:nvSpPr>
        <p:spPr>
          <a:xfrm>
            <a:off x="228600" y="228600"/>
            <a:ext cx="8695944" cy="1426464"/>
          </a:xfrm>
          <a:prstGeom prst="roundRect">
            <a:avLst>
              <a:gd name="adj" fmla="val 7136"/>
            </a:avLst>
          </a:prstGeom>
          <a:gradFill>
            <a:gsLst>
              <a:gs pos="0">
                <a:schemeClr val="accent1">
                  <a:lumMod val="75000"/>
                </a:schemeClr>
              </a:gs>
              <a:gs pos="9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Date Placeholder 4"/>
          <p:cNvSpPr>
            <a:spLocks noGrp="1"/>
          </p:cNvSpPr>
          <p:nvPr>
            <p:ph type="dt" sz="half" idx="10"/>
          </p:nvPr>
        </p:nvSpPr>
        <p:spPr/>
        <p:txBody>
          <a:bodyPr/>
          <a:lstStyle/>
          <a:p>
            <a:pPr>
              <a:defRPr/>
            </a:pPr>
            <a:fld id="{48D82251-C7D9-4278-8357-90ADB9634A05}" type="datetime1">
              <a:rPr lang="en-US" altLang="zh-TW" smtClean="0"/>
              <a:t>8/5/2015</a:t>
            </a:fld>
            <a:endParaRPr lang="en-US"/>
          </a:p>
        </p:txBody>
      </p:sp>
      <p:sp>
        <p:nvSpPr>
          <p:cNvPr id="6" name="Footer Placeholder 5"/>
          <p:cNvSpPr>
            <a:spLocks noGrp="1"/>
          </p:cNvSpPr>
          <p:nvPr>
            <p:ph type="ftr" sz="quarter" idx="11"/>
          </p:nvPr>
        </p:nvSpPr>
        <p:spPr/>
        <p:txBody>
          <a:bodyPr/>
          <a:lstStyle/>
          <a:p>
            <a:pPr>
              <a:defRPr/>
            </a:pPr>
            <a:endParaRPr lang="zh-CN" altLang="en-US"/>
          </a:p>
        </p:txBody>
      </p:sp>
      <p:sp>
        <p:nvSpPr>
          <p:cNvPr id="7" name="Slide Number Placeholder 6"/>
          <p:cNvSpPr>
            <a:spLocks noGrp="1"/>
          </p:cNvSpPr>
          <p:nvPr>
            <p:ph type="sldNum" sz="quarter" idx="12"/>
          </p:nvPr>
        </p:nvSpPr>
        <p:spPr/>
        <p:txBody>
          <a:bodyPr/>
          <a:lstStyle/>
          <a:p>
            <a:pPr>
              <a:defRPr/>
            </a:pPr>
            <a:fld id="{2F12248E-3426-4E52-BEAA-2818127CE8C0}" type="slidenum">
              <a:rPr lang="en-US" smtClean="0"/>
              <a:pPr>
                <a:defRPr/>
              </a:pPr>
              <a:t>‹#›</a:t>
            </a:fld>
            <a:endParaRPr lang="zh-CN" altLang="en-US"/>
          </a:p>
        </p:txBody>
      </p:sp>
      <p:sp>
        <p:nvSpPr>
          <p:cNvPr id="4" name="Text Placeholder 3"/>
          <p:cNvSpPr>
            <a:spLocks noGrp="1"/>
          </p:cNvSpPr>
          <p:nvPr>
            <p:ph type="body" sz="half" idx="2"/>
          </p:nvPr>
        </p:nvSpPr>
        <p:spPr>
          <a:xfrm>
            <a:off x="914400" y="3581400"/>
            <a:ext cx="3352800" cy="1905001"/>
          </a:xfrm>
        </p:spPr>
        <p:txBody>
          <a:bodyPr anchor="t">
            <a:normAutofit/>
          </a:bodyPr>
          <a:lstStyle>
            <a:lvl1pPr marL="0" indent="0">
              <a:spcBef>
                <a:spcPts val="0"/>
              </a:spcBef>
              <a:spcAft>
                <a:spcPts val="600"/>
              </a:spcAft>
              <a:buNone/>
              <a:defRPr sz="180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smtClean="0"/>
              <a:t>按一下以編輯母片文字樣式</a:t>
            </a:r>
          </a:p>
        </p:txBody>
      </p:sp>
      <p:grpSp>
        <p:nvGrpSpPr>
          <p:cNvPr id="2" name="Group 23"/>
          <p:cNvGrpSpPr>
            <a:grpSpLocks noChangeAspect="1"/>
          </p:cNvGrpSpPr>
          <p:nvPr/>
        </p:nvGrpSpPr>
        <p:grpSpPr bwMode="hidden">
          <a:xfrm>
            <a:off x="211665" y="714191"/>
            <a:ext cx="8723376" cy="1331580"/>
            <a:chOff x="-3905250" y="4294188"/>
            <a:chExt cx="13011150" cy="1892300"/>
          </a:xfrm>
        </p:grpSpPr>
        <p:sp>
          <p:nvSpPr>
            <p:cNvPr id="25"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29" name="Freeform 28"/>
            <p:cNvSpPr>
              <a:spLocks/>
            </p:cNvSpPr>
            <p:nvPr/>
          </p:nvSpPr>
          <p:spPr bwMode="hidden">
            <a:xfrm>
              <a:off x="-3905250" y="4294188"/>
              <a:ext cx="13011150"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2" name="Title 21"/>
          <p:cNvSpPr>
            <a:spLocks noGrp="1"/>
          </p:cNvSpPr>
          <p:nvPr>
            <p:ph type="title"/>
          </p:nvPr>
        </p:nvSpPr>
        <p:spPr>
          <a:xfrm>
            <a:off x="914400" y="2286000"/>
            <a:ext cx="3352800" cy="1252728"/>
          </a:xfrm>
        </p:spPr>
        <p:txBody>
          <a:bodyPr anchor="b">
            <a:noAutofit/>
          </a:bodyPr>
          <a:lstStyle>
            <a:lvl1pPr algn="l">
              <a:defRPr sz="3200">
                <a:solidFill>
                  <a:schemeClr val="tx2"/>
                </a:solidFill>
              </a:defRPr>
            </a:lvl1pPr>
          </a:lstStyle>
          <a:p>
            <a:r>
              <a:rPr lang="zh-TW" altLang="en-US" smtClean="0"/>
              <a:t>按一下以編輯母片標題樣式</a:t>
            </a:r>
            <a:endParaRPr lang="en-US" dirty="0"/>
          </a:p>
        </p:txBody>
      </p:sp>
      <p:sp>
        <p:nvSpPr>
          <p:cNvPr id="3" name="Content Placeholder 2"/>
          <p:cNvSpPr>
            <a:spLocks noGrp="1"/>
          </p:cNvSpPr>
          <p:nvPr>
            <p:ph idx="1"/>
          </p:nvPr>
        </p:nvSpPr>
        <p:spPr>
          <a:xfrm>
            <a:off x="4651962" y="1828800"/>
            <a:ext cx="3904076" cy="3810000"/>
          </a:xfrm>
        </p:spPr>
        <p:txBody>
          <a:bodyPr anchor="ctr"/>
          <a:lstStyle>
            <a:lvl1pPr>
              <a:buClr>
                <a:schemeClr val="bg1"/>
              </a:buClr>
              <a:defRPr sz="2200">
                <a:solidFill>
                  <a:schemeClr val="tx2"/>
                </a:solidFill>
              </a:defRPr>
            </a:lvl1pPr>
            <a:lvl2pPr>
              <a:buClr>
                <a:schemeClr val="bg1"/>
              </a:buClr>
              <a:defRPr sz="2000">
                <a:solidFill>
                  <a:schemeClr val="tx2"/>
                </a:solidFill>
              </a:defRPr>
            </a:lvl2pPr>
            <a:lvl3pPr>
              <a:buClr>
                <a:schemeClr val="bg1"/>
              </a:buClr>
              <a:defRPr sz="1800">
                <a:solidFill>
                  <a:schemeClr val="tx2"/>
                </a:solidFill>
              </a:defRPr>
            </a:lvl3pPr>
            <a:lvl4pPr>
              <a:buClr>
                <a:schemeClr val="bg1"/>
              </a:buClr>
              <a:defRPr sz="1600">
                <a:solidFill>
                  <a:schemeClr val="tx2"/>
                </a:solidFill>
              </a:defRPr>
            </a:lvl4pPr>
            <a:lvl5pPr>
              <a:buClr>
                <a:schemeClr val="bg1"/>
              </a:buClr>
              <a:defRPr sz="1600">
                <a:solidFill>
                  <a:schemeClr val="tx2"/>
                </a:solidFill>
              </a:defRPr>
            </a:lvl5pPr>
            <a:lvl6pPr>
              <a:defRPr sz="2000"/>
            </a:lvl6pPr>
            <a:lvl7pPr>
              <a:defRPr sz="2000"/>
            </a:lvl7pPr>
            <a:lvl8pPr>
              <a:defRPr sz="2000"/>
            </a:lvl8pPr>
            <a:lvl9pPr>
              <a:defRPr sz="20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15" name="Rounded Rectangle 14"/>
          <p:cNvSpPr/>
          <p:nvPr/>
        </p:nvSpPr>
        <p:spPr>
          <a:xfrm>
            <a:off x="228600" y="228600"/>
            <a:ext cx="8695944" cy="6035040"/>
          </a:xfrm>
          <a:prstGeom prst="roundRect">
            <a:avLst>
              <a:gd name="adj" fmla="val 1272"/>
            </a:avLst>
          </a:prstGeom>
          <a:gradFill>
            <a:gsLst>
              <a:gs pos="0">
                <a:schemeClr val="accent1">
                  <a:lumMod val="75000"/>
                </a:schemeClr>
              </a:gs>
              <a:gs pos="10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p:cNvGrpSpPr>
            <a:grpSpLocks noChangeAspect="1"/>
          </p:cNvGrpSpPr>
          <p:nvPr/>
        </p:nvGrpSpPr>
        <p:grpSpPr bwMode="hidden">
          <a:xfrm>
            <a:off x="211665" y="5353963"/>
            <a:ext cx="8723376" cy="1331580"/>
            <a:chOff x="-3905250" y="4294188"/>
            <a:chExt cx="13011150" cy="1892300"/>
          </a:xfrm>
        </p:grpSpPr>
        <p:sp>
          <p:nvSpPr>
            <p:cNvPr id="10"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14" name="Freeform 10"/>
            <p:cNvSpPr>
              <a:spLocks/>
            </p:cNvSpPr>
            <p:nvPr/>
          </p:nvSpPr>
          <p:spPr bwMode="hidden">
            <a:xfrm>
              <a:off x="-3905250" y="4294188"/>
              <a:ext cx="13011150"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title"/>
          </p:nvPr>
        </p:nvSpPr>
        <p:spPr>
          <a:xfrm>
            <a:off x="4874155" y="338667"/>
            <a:ext cx="3812645" cy="2429934"/>
          </a:xfrm>
        </p:spPr>
        <p:txBody>
          <a:bodyPr anchor="b">
            <a:normAutofit/>
          </a:bodyPr>
          <a:lstStyle>
            <a:lvl1pPr algn="l">
              <a:defRPr sz="2800" b="0">
                <a:solidFill>
                  <a:srgbClr val="FFFFFF"/>
                </a:solidFill>
              </a:defRPr>
            </a:lvl1pPr>
          </a:lstStyle>
          <a:p>
            <a:r>
              <a:rPr lang="zh-TW" altLang="en-US" smtClean="0"/>
              <a:t>按一下以編輯母片標題樣式</a:t>
            </a:r>
            <a:endParaRPr lang="en-US" dirty="0"/>
          </a:p>
        </p:txBody>
      </p:sp>
      <p:sp>
        <p:nvSpPr>
          <p:cNvPr id="4" name="Text Placeholder 3"/>
          <p:cNvSpPr>
            <a:spLocks noGrp="1"/>
          </p:cNvSpPr>
          <p:nvPr>
            <p:ph type="body" sz="half" idx="2"/>
          </p:nvPr>
        </p:nvSpPr>
        <p:spPr>
          <a:xfrm>
            <a:off x="4868333" y="2785533"/>
            <a:ext cx="3818467" cy="2421467"/>
          </a:xfrm>
        </p:spPr>
        <p:txBody>
          <a:bodyPr>
            <a:normAutofit/>
          </a:bodyPr>
          <a:lstStyle>
            <a:lvl1pPr marL="0" indent="0">
              <a:buNone/>
              <a:defRPr sz="18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smtClean="0"/>
              <a:t>按一下以編輯母片文字樣式</a:t>
            </a:r>
          </a:p>
        </p:txBody>
      </p:sp>
      <p:sp>
        <p:nvSpPr>
          <p:cNvPr id="5" name="Date Placeholder 4"/>
          <p:cNvSpPr>
            <a:spLocks noGrp="1"/>
          </p:cNvSpPr>
          <p:nvPr>
            <p:ph type="dt" sz="half" idx="10"/>
          </p:nvPr>
        </p:nvSpPr>
        <p:spPr/>
        <p:txBody>
          <a:bodyPr/>
          <a:lstStyle/>
          <a:p>
            <a:pPr>
              <a:defRPr/>
            </a:pPr>
            <a:fld id="{EC68A002-C274-4EC9-9253-F098E6C4AFDC}" type="datetime1">
              <a:rPr lang="en-US" altLang="zh-TW" smtClean="0"/>
              <a:t>8/5/2015</a:t>
            </a:fld>
            <a:endParaRPr lang="en-US"/>
          </a:p>
        </p:txBody>
      </p:sp>
      <p:sp>
        <p:nvSpPr>
          <p:cNvPr id="6" name="Footer Placeholder 5"/>
          <p:cNvSpPr>
            <a:spLocks noGrp="1"/>
          </p:cNvSpPr>
          <p:nvPr>
            <p:ph type="ftr" sz="quarter" idx="11"/>
          </p:nvPr>
        </p:nvSpPr>
        <p:spPr/>
        <p:txBody>
          <a:bodyPr/>
          <a:lstStyle/>
          <a:p>
            <a:pPr>
              <a:defRPr/>
            </a:pPr>
            <a:endParaRPr lang="zh-CN" altLang="en-US"/>
          </a:p>
        </p:txBody>
      </p:sp>
      <p:sp>
        <p:nvSpPr>
          <p:cNvPr id="7" name="Slide Number Placeholder 6"/>
          <p:cNvSpPr>
            <a:spLocks noGrp="1"/>
          </p:cNvSpPr>
          <p:nvPr>
            <p:ph type="sldNum" sz="quarter" idx="12"/>
          </p:nvPr>
        </p:nvSpPr>
        <p:spPr/>
        <p:txBody>
          <a:bodyPr/>
          <a:lstStyle/>
          <a:p>
            <a:pPr>
              <a:defRPr/>
            </a:pPr>
            <a:fld id="{CC41FE78-C334-4ECC-9609-BAE3B28D3510}" type="slidenum">
              <a:rPr lang="en-US" smtClean="0"/>
              <a:pPr>
                <a:defRPr/>
              </a:pPr>
              <a:t>‹#›</a:t>
            </a:fld>
            <a:endParaRPr lang="zh-CN" altLang="en-US"/>
          </a:p>
        </p:txBody>
      </p:sp>
      <p:sp>
        <p:nvSpPr>
          <p:cNvPr id="3" name="Picture Placeholder 2"/>
          <p:cNvSpPr>
            <a:spLocks noGrp="1"/>
          </p:cNvSpPr>
          <p:nvPr>
            <p:ph type="pic" idx="1"/>
          </p:nvPr>
        </p:nvSpPr>
        <p:spPr>
          <a:xfrm>
            <a:off x="838200" y="1371600"/>
            <a:ext cx="3566160" cy="2926080"/>
          </a:xfrm>
          <a:prstGeom prst="roundRect">
            <a:avLst>
              <a:gd name="adj" fmla="val 3924"/>
            </a:avLst>
          </a:prstGeom>
          <a:solidFill>
            <a:schemeClr val="accent1"/>
          </a:solidFill>
          <a:ln>
            <a:noFill/>
          </a:ln>
          <a:effectLst>
            <a:reflection blurRad="12700" stA="30000" endPos="30000" dist="5000" dir="5400000" sy="-100000" algn="bl" rotWithShape="0"/>
          </a:effectLst>
          <a:scene3d>
            <a:camera prst="perspectiveContrastingLeftFacing" fov="600000">
              <a:rot lat="240000" lon="19799999" rev="0"/>
            </a:camera>
            <a:lightRig rig="threePt" dir="t">
              <a:rot lat="0" lon="0" rev="2700000"/>
            </a:lightRig>
          </a:scene3d>
          <a:sp3d>
            <a:bevelT w="44450" h="31750"/>
          </a:sp3d>
        </p:spPr>
        <p:txBody>
          <a:bodyPr/>
          <a:lstStyle>
            <a:lvl1pPr marL="0" indent="0" algn="ctr">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TW" altLang="en-US" smtClean="0"/>
              <a:t>按一下圖示以新增圖片</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theme" Target="../theme/theme2.xml"/><Relationship Id="rId5" Type="http://schemas.openxmlformats.org/officeDocument/2006/relationships/slideLayout" Target="../slideLayouts/slideLayout25.xml"/><Relationship Id="rId4"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theme" Target="../theme/theme3.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45.xml"/><Relationship Id="rId1" Type="http://schemas.openxmlformats.org/officeDocument/2006/relationships/slideLayout" Target="../slideLayouts/slideLayout4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image" Target="../media/image11.png"/><Relationship Id="rId3" Type="http://schemas.openxmlformats.org/officeDocument/2006/relationships/slideLayout" Target="../slideLayouts/slideLayout48.xml"/><Relationship Id="rId21" Type="http://schemas.openxmlformats.org/officeDocument/2006/relationships/slideLayout" Target="../slideLayouts/slideLayout66.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theme" Target="../theme/theme5.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Rounded Rectangle 13"/>
          <p:cNvSpPr/>
          <p:nvPr/>
        </p:nvSpPr>
        <p:spPr>
          <a:xfrm>
            <a:off x="228600" y="228600"/>
            <a:ext cx="8695944" cy="2468880"/>
          </a:xfrm>
          <a:prstGeom prst="roundRect">
            <a:avLst>
              <a:gd name="adj" fmla="val 3362"/>
            </a:avLst>
          </a:prstGeom>
          <a:gradFill>
            <a:gsLst>
              <a:gs pos="0">
                <a:schemeClr val="accent1">
                  <a:lumMod val="75000"/>
                </a:schemeClr>
              </a:gs>
              <a:gs pos="9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15"/>
          <p:cNvGrpSpPr>
            <a:grpSpLocks noChangeAspect="1"/>
          </p:cNvGrpSpPr>
          <p:nvPr/>
        </p:nvGrpSpPr>
        <p:grpSpPr bwMode="hidden">
          <a:xfrm>
            <a:off x="211665" y="1679429"/>
            <a:ext cx="8723376" cy="1329874"/>
            <a:chOff x="-3905251" y="4294188"/>
            <a:chExt cx="13027839" cy="1892300"/>
          </a:xfrm>
        </p:grpSpPr>
        <p:sp>
          <p:nvSpPr>
            <p:cNvPr id="17"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21" name="Freeform 10"/>
            <p:cNvSpPr>
              <a:spLocks/>
            </p:cNvSpPr>
            <p:nvPr/>
          </p:nvSpPr>
          <p:spPr bwMode="hidden">
            <a:xfrm>
              <a:off x="-3905251" y="4294188"/>
              <a:ext cx="13027839"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Placeholder 1"/>
          <p:cNvSpPr>
            <a:spLocks noGrp="1"/>
          </p:cNvSpPr>
          <p:nvPr>
            <p:ph type="title"/>
          </p:nvPr>
        </p:nvSpPr>
        <p:spPr>
          <a:xfrm>
            <a:off x="457200" y="338328"/>
            <a:ext cx="8229600" cy="1252728"/>
          </a:xfrm>
          <a:prstGeom prst="rect">
            <a:avLst/>
          </a:prstGeom>
        </p:spPr>
        <p:txBody>
          <a:bodyPr vert="horz" lIns="91440" tIns="45720" rIns="91440" bIns="45720" rtlCol="0" anchor="ctr">
            <a:normAutofit/>
          </a:bodyPr>
          <a:lstStyle/>
          <a:p>
            <a:r>
              <a:rPr lang="zh-TW" altLang="en-US" smtClean="0"/>
              <a:t>按一下以編輯母片標題樣式</a:t>
            </a:r>
            <a:endParaRPr lang="en-US" dirty="0"/>
          </a:p>
        </p:txBody>
      </p:sp>
      <p:sp>
        <p:nvSpPr>
          <p:cNvPr id="4" name="Date Placeholder 3"/>
          <p:cNvSpPr>
            <a:spLocks noGrp="1"/>
          </p:cNvSpPr>
          <p:nvPr>
            <p:ph type="dt" sz="half" idx="2"/>
          </p:nvPr>
        </p:nvSpPr>
        <p:spPr>
          <a:xfrm>
            <a:off x="5163672" y="6250164"/>
            <a:ext cx="3786690" cy="365125"/>
          </a:xfrm>
          <a:prstGeom prst="rect">
            <a:avLst/>
          </a:prstGeom>
        </p:spPr>
        <p:txBody>
          <a:bodyPr vert="horz" lIns="91440" tIns="45720" rIns="91440" bIns="45720" rtlCol="0" anchor="ctr"/>
          <a:lstStyle>
            <a:lvl1pPr algn="r">
              <a:defRPr sz="1000">
                <a:solidFill>
                  <a:schemeClr val="tx2"/>
                </a:solidFill>
              </a:defRPr>
            </a:lvl1pPr>
          </a:lstStyle>
          <a:p>
            <a:pPr>
              <a:defRPr/>
            </a:pPr>
            <a:fld id="{5DE7F659-DBF6-4F9D-8C39-D8DD1D9DE27A}" type="datetime1">
              <a:rPr lang="en-US" altLang="zh-TW" smtClean="0"/>
              <a:t>8/5/2015</a:t>
            </a:fld>
            <a:endParaRPr lang="en-US"/>
          </a:p>
        </p:txBody>
      </p:sp>
      <p:sp>
        <p:nvSpPr>
          <p:cNvPr id="5" name="Footer Placeholder 4"/>
          <p:cNvSpPr>
            <a:spLocks noGrp="1"/>
          </p:cNvSpPr>
          <p:nvPr>
            <p:ph type="ftr" sz="quarter" idx="3"/>
          </p:nvPr>
        </p:nvSpPr>
        <p:spPr>
          <a:xfrm>
            <a:off x="193638" y="6250164"/>
            <a:ext cx="3786691" cy="365125"/>
          </a:xfrm>
          <a:prstGeom prst="rect">
            <a:avLst/>
          </a:prstGeom>
        </p:spPr>
        <p:txBody>
          <a:bodyPr vert="horz" lIns="91440" tIns="45720" rIns="91440" bIns="45720" rtlCol="0" anchor="ctr"/>
          <a:lstStyle>
            <a:lvl1pPr algn="l">
              <a:defRPr sz="1000">
                <a:solidFill>
                  <a:schemeClr val="tx2"/>
                </a:solidFill>
              </a:defRPr>
            </a:lvl1pPr>
          </a:lstStyle>
          <a:p>
            <a:pPr>
              <a:defRPr/>
            </a:pPr>
            <a:endParaRPr lang="zh-CN" altLang="en-US"/>
          </a:p>
        </p:txBody>
      </p:sp>
      <p:sp>
        <p:nvSpPr>
          <p:cNvPr id="6" name="Slide Number Placeholder 5"/>
          <p:cNvSpPr>
            <a:spLocks noGrp="1"/>
          </p:cNvSpPr>
          <p:nvPr>
            <p:ph type="sldNum" sz="quarter" idx="4"/>
          </p:nvPr>
        </p:nvSpPr>
        <p:spPr>
          <a:xfrm>
            <a:off x="3991088" y="6250163"/>
            <a:ext cx="1161826" cy="365125"/>
          </a:xfrm>
          <a:prstGeom prst="rect">
            <a:avLst/>
          </a:prstGeom>
        </p:spPr>
        <p:txBody>
          <a:bodyPr vert="horz" lIns="91440" tIns="45720" rIns="91440" bIns="45720" rtlCol="0" anchor="ctr"/>
          <a:lstStyle>
            <a:lvl1pPr algn="ctr">
              <a:defRPr sz="1000">
                <a:solidFill>
                  <a:schemeClr val="tx2"/>
                </a:solidFill>
              </a:defRPr>
            </a:lvl1pPr>
          </a:lstStyle>
          <a:p>
            <a:pPr>
              <a:defRPr/>
            </a:pPr>
            <a:fld id="{24C6579D-D8A0-414D-A023-3E30D95D7F6B}" type="slidenum">
              <a:rPr lang="en-US" smtClean="0"/>
              <a:pPr>
                <a:defRPr/>
              </a:pPr>
              <a:t>‹#›</a:t>
            </a:fld>
            <a:endParaRPr lang="zh-CN" altLang="en-US"/>
          </a:p>
        </p:txBody>
      </p:sp>
      <p:sp>
        <p:nvSpPr>
          <p:cNvPr id="3" name="Text Placeholder 2"/>
          <p:cNvSpPr>
            <a:spLocks noGrp="1"/>
          </p:cNvSpPr>
          <p:nvPr>
            <p:ph type="body" idx="1"/>
          </p:nvPr>
        </p:nvSpPr>
        <p:spPr>
          <a:xfrm>
            <a:off x="872067" y="2675467"/>
            <a:ext cx="7408333" cy="3450696"/>
          </a:xfrm>
          <a:prstGeom prst="rect">
            <a:avLst/>
          </a:prstGeom>
        </p:spPr>
        <p:txBody>
          <a:bodyPr vert="horz" lIns="91440" tIns="45720" rIns="91440" bIns="45720" rtlCol="0">
            <a:normAutofit/>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en-US" dirty="0"/>
          </a:p>
        </p:txBody>
      </p:sp>
    </p:spTree>
  </p:cSld>
  <p:clrMap bg1="lt1" tx1="dk1" bg2="lt2" tx2="dk2" accent1="accent1" accent2="accent2" accent3="accent3" accent4="accent4" accent5="accent5" accent6="accent6" hlink="hlink" folHlink="folHlink"/>
  <p:sldLayoutIdLst>
    <p:sldLayoutId id="2147484741" r:id="rId1"/>
    <p:sldLayoutId id="2147484742" r:id="rId2"/>
    <p:sldLayoutId id="2147484743" r:id="rId3"/>
    <p:sldLayoutId id="2147484744" r:id="rId4"/>
    <p:sldLayoutId id="2147484745" r:id="rId5"/>
    <p:sldLayoutId id="2147484746" r:id="rId6"/>
    <p:sldLayoutId id="2147484747" r:id="rId7"/>
    <p:sldLayoutId id="2147484748" r:id="rId8"/>
    <p:sldLayoutId id="2147484749" r:id="rId9"/>
    <p:sldLayoutId id="2147484750" r:id="rId10"/>
    <p:sldLayoutId id="2147484751" r:id="rId11"/>
    <p:sldLayoutId id="2147484753" r:id="rId12"/>
    <p:sldLayoutId id="2147484754" r:id="rId13"/>
    <p:sldLayoutId id="2147484763" r:id="rId14"/>
    <p:sldLayoutId id="2147484764" r:id="rId15"/>
    <p:sldLayoutId id="2147484765" r:id="rId16"/>
    <p:sldLayoutId id="2147484766" r:id="rId17"/>
    <p:sldLayoutId id="2147484767" r:id="rId18"/>
    <p:sldLayoutId id="2147484768" r:id="rId19"/>
    <p:sldLayoutId id="2147484791" r:id="rId20"/>
  </p:sldLayoutIdLst>
  <p:hf hdr="0" ftr="0" dt="0"/>
  <p:txStyles>
    <p:titleStyle>
      <a:lvl1pPr algn="ctr" defTabSz="914400" rtl="0" eaLnBrk="1" latinLnBrk="0" hangingPunct="1">
        <a:spcBef>
          <a:spcPct val="0"/>
        </a:spcBef>
        <a:buNone/>
        <a:defRPr sz="4400" kern="1200">
          <a:solidFill>
            <a:srgbClr val="FFFFFF"/>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74320" indent="-274320" algn="l" defTabSz="914400" rtl="0" eaLnBrk="1" latinLnBrk="0" hangingPunct="1">
        <a:spcBef>
          <a:spcPct val="20000"/>
        </a:spcBef>
        <a:buClr>
          <a:schemeClr val="accent1"/>
        </a:buClr>
        <a:buSzPct val="100000"/>
        <a:buFont typeface="Symbol" pitchFamily="18" charset="2"/>
        <a:buChar char=""/>
        <a:defRPr sz="2400" kern="1200">
          <a:solidFill>
            <a:schemeClr val="tx2"/>
          </a:solidFill>
          <a:latin typeface="+mn-lt"/>
          <a:ea typeface="+mn-ea"/>
          <a:cs typeface="+mn-cs"/>
        </a:defRPr>
      </a:lvl1pPr>
      <a:lvl2pPr marL="576263" indent="-274320" algn="l" defTabSz="914400" rtl="0" eaLnBrk="1" latinLnBrk="0" hangingPunct="1">
        <a:spcBef>
          <a:spcPct val="20000"/>
        </a:spcBef>
        <a:buClr>
          <a:schemeClr val="accent1"/>
        </a:buClr>
        <a:buSzPct val="100000"/>
        <a:buFont typeface="Symbol" pitchFamily="18" charset="2"/>
        <a:buChar char=""/>
        <a:defRPr sz="2200" kern="1200">
          <a:solidFill>
            <a:schemeClr val="tx2"/>
          </a:solidFill>
          <a:latin typeface="+mn-lt"/>
          <a:ea typeface="+mn-ea"/>
          <a:cs typeface="+mn-cs"/>
        </a:defRPr>
      </a:lvl2pPr>
      <a:lvl3pPr marL="855663" indent="-228600" algn="l" defTabSz="914400" rtl="0" eaLnBrk="1" latinLnBrk="0" hangingPunct="1">
        <a:spcBef>
          <a:spcPct val="20000"/>
        </a:spcBef>
        <a:buClr>
          <a:schemeClr val="accent1"/>
        </a:buClr>
        <a:buSzPct val="100000"/>
        <a:buFont typeface="Symbol" pitchFamily="18" charset="2"/>
        <a:buChar char=""/>
        <a:defRPr sz="2000" kern="1200">
          <a:solidFill>
            <a:schemeClr val="tx2"/>
          </a:solidFill>
          <a:latin typeface="+mn-lt"/>
          <a:ea typeface="+mn-ea"/>
          <a:cs typeface="+mn-cs"/>
        </a:defRPr>
      </a:lvl3pPr>
      <a:lvl4pPr marL="1143000" indent="-228600" algn="l" defTabSz="914400" rtl="0" eaLnBrk="1" latinLnBrk="0" hangingPunct="1">
        <a:spcBef>
          <a:spcPct val="20000"/>
        </a:spcBef>
        <a:buClr>
          <a:schemeClr val="accent1"/>
        </a:buClr>
        <a:buSzPct val="100000"/>
        <a:buFont typeface="Symbol" pitchFamily="18" charset="2"/>
        <a:buChar char=""/>
        <a:defRPr sz="1800" kern="1200">
          <a:solidFill>
            <a:schemeClr val="tx2"/>
          </a:solidFill>
          <a:latin typeface="+mn-lt"/>
          <a:ea typeface="+mn-ea"/>
          <a:cs typeface="+mn-cs"/>
        </a:defRPr>
      </a:lvl4pPr>
      <a:lvl5pPr marL="1463040" indent="-228600" algn="l" defTabSz="914400" rtl="0" eaLnBrk="1" latinLnBrk="0" hangingPunct="1">
        <a:spcBef>
          <a:spcPct val="20000"/>
        </a:spcBef>
        <a:buClr>
          <a:schemeClr val="accent1"/>
        </a:buClr>
        <a:buSzPct val="100000"/>
        <a:buFont typeface="Symbol" pitchFamily="18" charset="2"/>
        <a:buChar char=""/>
        <a:defRPr sz="1600" kern="1200">
          <a:solidFill>
            <a:schemeClr val="tx2"/>
          </a:solidFill>
          <a:latin typeface="+mn-lt"/>
          <a:ea typeface="+mn-ea"/>
          <a:cs typeface="+mn-cs"/>
        </a:defRPr>
      </a:lvl5pPr>
      <a:lvl6pPr marL="178308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6pPr>
      <a:lvl7pPr marL="210312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7pPr>
      <a:lvl8pPr marL="242316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8pPr>
      <a:lvl9pPr marL="274320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7" name="Rectangle 5"/>
          <p:cNvSpPr>
            <a:spLocks noChangeArrowheads="1"/>
          </p:cNvSpPr>
          <p:nvPr userDrawn="1"/>
        </p:nvSpPr>
        <p:spPr bwMode="auto">
          <a:xfrm>
            <a:off x="0" y="6"/>
            <a:ext cx="9144000" cy="7794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800" b="0" dirty="0">
              <a:solidFill>
                <a:srgbClr val="FFFFFF"/>
              </a:solidFill>
              <a:ea typeface="ＭＳ Ｐゴシック" pitchFamily="-111" charset="-128"/>
            </a:endParaRPr>
          </a:p>
        </p:txBody>
      </p:sp>
      <p:sp>
        <p:nvSpPr>
          <p:cNvPr id="8" name="Rectangle 7"/>
          <p:cNvSpPr/>
          <p:nvPr userDrawn="1"/>
        </p:nvSpPr>
        <p:spPr bwMode="auto">
          <a:xfrm>
            <a:off x="0" y="6442081"/>
            <a:ext cx="9144000" cy="4159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800" b="0">
              <a:solidFill>
                <a:srgbClr val="FFFFFF"/>
              </a:solidFill>
              <a:ea typeface="ＭＳ Ｐゴシック" pitchFamily="-111" charset="-128"/>
            </a:endParaRPr>
          </a:p>
        </p:txBody>
      </p:sp>
      <p:sp>
        <p:nvSpPr>
          <p:cNvPr id="9" name="Rectangle 21"/>
          <p:cNvSpPr>
            <a:spLocks noChangeArrowheads="1"/>
          </p:cNvSpPr>
          <p:nvPr userDrawn="1"/>
        </p:nvSpPr>
        <p:spPr bwMode="auto">
          <a:xfrm>
            <a:off x="228601" y="6502400"/>
            <a:ext cx="3890010" cy="107950"/>
          </a:xfrm>
          <a:prstGeom prst="rect">
            <a:avLst/>
          </a:prstGeom>
          <a:noFill/>
          <a:ln w="9525">
            <a:noFill/>
            <a:miter lim="800000"/>
            <a:headEnd/>
            <a:tailEnd/>
          </a:ln>
        </p:spPr>
        <p:txBody>
          <a:bodyPr wrap="square" lIns="0" tIns="0" rIns="0" bIns="0" anchor="b">
            <a:spAutoFit/>
          </a:bodyPr>
          <a:lstStyle/>
          <a:p>
            <a:r>
              <a:rPr lang="en-US" sz="700" b="0" dirty="0" smtClean="0">
                <a:solidFill>
                  <a:srgbClr val="FFFFFF"/>
                </a:solidFill>
                <a:latin typeface="Adobe Clean" pitchFamily="-111" charset="0"/>
                <a:ea typeface="+mn-ea"/>
              </a:rPr>
              <a:t>© 2012 Adobe Systems </a:t>
            </a:r>
            <a:r>
              <a:rPr lang="en-US" sz="700" b="0" dirty="0">
                <a:solidFill>
                  <a:srgbClr val="FFFFFF"/>
                </a:solidFill>
                <a:latin typeface="Adobe Clean" pitchFamily="-111" charset="0"/>
                <a:ea typeface="+mn-ea"/>
              </a:rPr>
              <a:t>Incorporated.  All Rights Reserved. </a:t>
            </a:r>
            <a:r>
              <a:rPr lang="en-US" sz="700" b="0" dirty="0" smtClean="0">
                <a:solidFill>
                  <a:srgbClr val="FFFFFF"/>
                </a:solidFill>
                <a:latin typeface="Adobe Clean" pitchFamily="-111" charset="0"/>
                <a:ea typeface="+mn-ea"/>
              </a:rPr>
              <a:t> Adobe Confidential.</a:t>
            </a:r>
            <a:endParaRPr lang="en-US" sz="700" b="0" dirty="0">
              <a:solidFill>
                <a:srgbClr val="FFFFFF"/>
              </a:solidFill>
              <a:latin typeface="Adobe Clean" pitchFamily="-111" charset="0"/>
              <a:ea typeface="+mn-ea"/>
            </a:endParaRPr>
          </a:p>
        </p:txBody>
      </p:sp>
      <p:grpSp>
        <p:nvGrpSpPr>
          <p:cNvPr id="10" name="Group 9"/>
          <p:cNvGrpSpPr/>
          <p:nvPr userDrawn="1"/>
        </p:nvGrpSpPr>
        <p:grpSpPr>
          <a:xfrm>
            <a:off x="8786303" y="6528880"/>
            <a:ext cx="204225" cy="256615"/>
            <a:chOff x="8786300" y="6528874"/>
            <a:chExt cx="204225" cy="256615"/>
          </a:xfrm>
        </p:grpSpPr>
        <p:sp>
          <p:nvSpPr>
            <p:cNvPr id="11" name="Freeform 10"/>
            <p:cNvSpPr>
              <a:spLocks noEditPoints="1"/>
            </p:cNvSpPr>
            <p:nvPr/>
          </p:nvSpPr>
          <p:spPr bwMode="auto">
            <a:xfrm>
              <a:off x="8788450" y="6725362"/>
              <a:ext cx="36545" cy="60127"/>
            </a:xfrm>
            <a:custGeom>
              <a:avLst/>
              <a:gdLst>
                <a:gd name="T0" fmla="*/ 540229938 w 212"/>
                <a:gd name="T1" fmla="*/ 2083798107 h 332"/>
                <a:gd name="T2" fmla="*/ 426475886 w 212"/>
                <a:gd name="T3" fmla="*/ 2147483647 h 332"/>
                <a:gd name="T4" fmla="*/ 0 w 212"/>
                <a:gd name="T5" fmla="*/ 2147483647 h 332"/>
                <a:gd name="T6" fmla="*/ 525996886 w 212"/>
                <a:gd name="T7" fmla="*/ 0 h 332"/>
                <a:gd name="T8" fmla="*/ 1037797444 w 212"/>
                <a:gd name="T9" fmla="*/ 0 h 332"/>
                <a:gd name="T10" fmla="*/ 1506935762 w 212"/>
                <a:gd name="T11" fmla="*/ 2147483647 h 332"/>
                <a:gd name="T12" fmla="*/ 1094656011 w 212"/>
                <a:gd name="T13" fmla="*/ 2147483647 h 332"/>
                <a:gd name="T14" fmla="*/ 980938876 w 212"/>
                <a:gd name="T15" fmla="*/ 2083798107 h 332"/>
                <a:gd name="T16" fmla="*/ 540229938 w 212"/>
                <a:gd name="T17" fmla="*/ 2083798107 h 332"/>
                <a:gd name="T18" fmla="*/ 938276636 w 212"/>
                <a:gd name="T19" fmla="*/ 1703423933 h 332"/>
                <a:gd name="T20" fmla="*/ 852988688 w 212"/>
                <a:gd name="T21" fmla="*/ 1108041259 h 332"/>
                <a:gd name="T22" fmla="*/ 852988688 w 212"/>
                <a:gd name="T23" fmla="*/ 1108041259 h 332"/>
                <a:gd name="T24" fmla="*/ 767700933 w 212"/>
                <a:gd name="T25" fmla="*/ 479618371 h 332"/>
                <a:gd name="T26" fmla="*/ 767700933 w 212"/>
                <a:gd name="T27" fmla="*/ 479618371 h 332"/>
                <a:gd name="T28" fmla="*/ 767700933 w 212"/>
                <a:gd name="T29" fmla="*/ 479618371 h 332"/>
                <a:gd name="T30" fmla="*/ 682376261 w 212"/>
                <a:gd name="T31" fmla="*/ 1108041259 h 332"/>
                <a:gd name="T32" fmla="*/ 582855261 w 212"/>
                <a:gd name="T33" fmla="*/ 1703423933 h 332"/>
                <a:gd name="T34" fmla="*/ 938276636 w 212"/>
                <a:gd name="T35" fmla="*/ 1703423933 h 33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12"/>
                <a:gd name="T55" fmla="*/ 0 h 332"/>
                <a:gd name="T56" fmla="*/ 212 w 212"/>
                <a:gd name="T57" fmla="*/ 332 h 33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12" h="332">
                  <a:moveTo>
                    <a:pt x="76" y="252"/>
                  </a:moveTo>
                  <a:lnTo>
                    <a:pt x="60" y="332"/>
                  </a:lnTo>
                  <a:lnTo>
                    <a:pt x="0" y="332"/>
                  </a:lnTo>
                  <a:lnTo>
                    <a:pt x="74" y="0"/>
                  </a:lnTo>
                  <a:lnTo>
                    <a:pt x="146" y="0"/>
                  </a:lnTo>
                  <a:lnTo>
                    <a:pt x="212" y="332"/>
                  </a:lnTo>
                  <a:lnTo>
                    <a:pt x="154" y="332"/>
                  </a:lnTo>
                  <a:lnTo>
                    <a:pt x="138" y="252"/>
                  </a:lnTo>
                  <a:lnTo>
                    <a:pt x="76" y="252"/>
                  </a:lnTo>
                  <a:close/>
                  <a:moveTo>
                    <a:pt x="132" y="206"/>
                  </a:moveTo>
                  <a:lnTo>
                    <a:pt x="120" y="134"/>
                  </a:lnTo>
                  <a:lnTo>
                    <a:pt x="108" y="58"/>
                  </a:lnTo>
                  <a:lnTo>
                    <a:pt x="96" y="134"/>
                  </a:lnTo>
                  <a:lnTo>
                    <a:pt x="82" y="206"/>
                  </a:lnTo>
                  <a:lnTo>
                    <a:pt x="132" y="206"/>
                  </a:lnTo>
                  <a:close/>
                </a:path>
              </a:pathLst>
            </a:custGeom>
            <a:solidFill>
              <a:srgbClr val="FFFFFF"/>
            </a:solidFill>
            <a:ln w="9525">
              <a:noFill/>
              <a:round/>
              <a:headEnd/>
              <a:tailEnd/>
            </a:ln>
          </p:spPr>
          <p:txBody>
            <a:bodyPr/>
            <a:lstStyle/>
            <a:p>
              <a:endParaRPr lang="en-US" sz="1800" b="0" dirty="0">
                <a:solidFill>
                  <a:srgbClr val="FFFFFF"/>
                </a:solidFill>
                <a:latin typeface="Arial" charset="0"/>
                <a:ea typeface="+mn-ea"/>
              </a:endParaRPr>
            </a:p>
          </p:txBody>
        </p:sp>
        <p:sp>
          <p:nvSpPr>
            <p:cNvPr id="12" name="Freeform 11"/>
            <p:cNvSpPr>
              <a:spLocks noEditPoints="1"/>
            </p:cNvSpPr>
            <p:nvPr/>
          </p:nvSpPr>
          <p:spPr bwMode="auto">
            <a:xfrm>
              <a:off x="8828220" y="6724288"/>
              <a:ext cx="32246" cy="61201"/>
            </a:xfrm>
            <a:custGeom>
              <a:avLst/>
              <a:gdLst>
                <a:gd name="T0" fmla="*/ 1389229327 w 182"/>
                <a:gd name="T1" fmla="*/ 2110823318 h 346"/>
                <a:gd name="T2" fmla="*/ 1404655613 w 182"/>
                <a:gd name="T3" fmla="*/ 2147483647 h 346"/>
                <a:gd name="T4" fmla="*/ 972444917 w 182"/>
                <a:gd name="T5" fmla="*/ 2147483647 h 346"/>
                <a:gd name="T6" fmla="*/ 972444917 w 182"/>
                <a:gd name="T7" fmla="*/ 2147483647 h 346"/>
                <a:gd name="T8" fmla="*/ 818103406 w 182"/>
                <a:gd name="T9" fmla="*/ 2147483647 h 346"/>
                <a:gd name="T10" fmla="*/ 648296677 w 182"/>
                <a:gd name="T11" fmla="*/ 2147483647 h 346"/>
                <a:gd name="T12" fmla="*/ 586552207 w 182"/>
                <a:gd name="T13" fmla="*/ 2147483647 h 346"/>
                <a:gd name="T14" fmla="*/ 447637180 w 182"/>
                <a:gd name="T15" fmla="*/ 2147483647 h 346"/>
                <a:gd name="T16" fmla="*/ 324148240 w 182"/>
                <a:gd name="T17" fmla="*/ 2147483647 h 346"/>
                <a:gd name="T18" fmla="*/ 154341511 w 182"/>
                <a:gd name="T19" fmla="*/ 2147483647 h 346"/>
                <a:gd name="T20" fmla="*/ 46317986 w 182"/>
                <a:gd name="T21" fmla="*/ 2095415750 h 346"/>
                <a:gd name="T22" fmla="*/ 0 w 182"/>
                <a:gd name="T23" fmla="*/ 1710229130 h 346"/>
                <a:gd name="T24" fmla="*/ 15426286 w 182"/>
                <a:gd name="T25" fmla="*/ 1479117000 h 346"/>
                <a:gd name="T26" fmla="*/ 108062456 w 182"/>
                <a:gd name="T27" fmla="*/ 1124745318 h 346"/>
                <a:gd name="T28" fmla="*/ 277830253 w 182"/>
                <a:gd name="T29" fmla="*/ 878225818 h 346"/>
                <a:gd name="T30" fmla="*/ 478489751 w 182"/>
                <a:gd name="T31" fmla="*/ 770373438 h 346"/>
                <a:gd name="T32" fmla="*/ 601978493 w 182"/>
                <a:gd name="T33" fmla="*/ 754966068 h 346"/>
                <a:gd name="T34" fmla="*/ 802677120 w 182"/>
                <a:gd name="T35" fmla="*/ 801188375 h 346"/>
                <a:gd name="T36" fmla="*/ 910700447 w 182"/>
                <a:gd name="T37" fmla="*/ 939855693 h 346"/>
                <a:gd name="T38" fmla="*/ 926165862 w 182"/>
                <a:gd name="T39" fmla="*/ 0 h 346"/>
                <a:gd name="T40" fmla="*/ 926165862 w 182"/>
                <a:gd name="T41" fmla="*/ 1494524568 h 346"/>
                <a:gd name="T42" fmla="*/ 926165862 w 182"/>
                <a:gd name="T43" fmla="*/ 1386672188 h 346"/>
                <a:gd name="T44" fmla="*/ 895274161 w 182"/>
                <a:gd name="T45" fmla="*/ 1294227375 h 346"/>
                <a:gd name="T46" fmla="*/ 802677120 w 182"/>
                <a:gd name="T47" fmla="*/ 1155560255 h 346"/>
                <a:gd name="T48" fmla="*/ 725467235 w 182"/>
                <a:gd name="T49" fmla="*/ 1140152688 h 346"/>
                <a:gd name="T50" fmla="*/ 663722963 w 182"/>
                <a:gd name="T51" fmla="*/ 1155560255 h 346"/>
                <a:gd name="T52" fmla="*/ 555699438 w 182"/>
                <a:gd name="T53" fmla="*/ 1248005068 h 346"/>
                <a:gd name="T54" fmla="*/ 493955166 w 182"/>
                <a:gd name="T55" fmla="*/ 1402079755 h 346"/>
                <a:gd name="T56" fmla="*/ 463063465 w 182"/>
                <a:gd name="T57" fmla="*/ 1725636500 h 346"/>
                <a:gd name="T58" fmla="*/ 478489751 w 182"/>
                <a:gd name="T59" fmla="*/ 1848896250 h 346"/>
                <a:gd name="T60" fmla="*/ 509381452 w 182"/>
                <a:gd name="T61" fmla="*/ 2064600813 h 346"/>
                <a:gd name="T62" fmla="*/ 571125922 w 182"/>
                <a:gd name="T63" fmla="*/ 2147483647 h 346"/>
                <a:gd name="T64" fmla="*/ 663722963 w 182"/>
                <a:gd name="T65" fmla="*/ 2147483647 h 346"/>
                <a:gd name="T66" fmla="*/ 710040950 w 182"/>
                <a:gd name="T67" fmla="*/ 2147483647 h 346"/>
                <a:gd name="T68" fmla="*/ 818103406 w 182"/>
                <a:gd name="T69" fmla="*/ 2147483647 h 346"/>
                <a:gd name="T70" fmla="*/ 910700447 w 182"/>
                <a:gd name="T71" fmla="*/ 2095415750 h 346"/>
                <a:gd name="T72" fmla="*/ 926165862 w 182"/>
                <a:gd name="T73" fmla="*/ 2049193443 h 346"/>
                <a:gd name="T74" fmla="*/ 926165862 w 182"/>
                <a:gd name="T75" fmla="*/ 1494524568 h 3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82"/>
                <a:gd name="T115" fmla="*/ 0 h 346"/>
                <a:gd name="T116" fmla="*/ 182 w 182"/>
                <a:gd name="T117" fmla="*/ 346 h 34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82" h="346">
                  <a:moveTo>
                    <a:pt x="180" y="0"/>
                  </a:moveTo>
                  <a:lnTo>
                    <a:pt x="180" y="274"/>
                  </a:lnTo>
                  <a:lnTo>
                    <a:pt x="182" y="342"/>
                  </a:lnTo>
                  <a:lnTo>
                    <a:pt x="130" y="342"/>
                  </a:lnTo>
                  <a:lnTo>
                    <a:pt x="126" y="314"/>
                  </a:lnTo>
                  <a:lnTo>
                    <a:pt x="118" y="328"/>
                  </a:lnTo>
                  <a:lnTo>
                    <a:pt x="106" y="338"/>
                  </a:lnTo>
                  <a:lnTo>
                    <a:pt x="92" y="344"/>
                  </a:lnTo>
                  <a:lnTo>
                    <a:pt x="84" y="346"/>
                  </a:lnTo>
                  <a:lnTo>
                    <a:pt x="76" y="346"/>
                  </a:lnTo>
                  <a:lnTo>
                    <a:pt x="66" y="346"/>
                  </a:lnTo>
                  <a:lnTo>
                    <a:pt x="58" y="344"/>
                  </a:lnTo>
                  <a:lnTo>
                    <a:pt x="50" y="342"/>
                  </a:lnTo>
                  <a:lnTo>
                    <a:pt x="42" y="338"/>
                  </a:lnTo>
                  <a:lnTo>
                    <a:pt x="30" y="326"/>
                  </a:lnTo>
                  <a:lnTo>
                    <a:pt x="20" y="310"/>
                  </a:lnTo>
                  <a:lnTo>
                    <a:pt x="12" y="292"/>
                  </a:lnTo>
                  <a:lnTo>
                    <a:pt x="6" y="272"/>
                  </a:lnTo>
                  <a:lnTo>
                    <a:pt x="2" y="248"/>
                  </a:lnTo>
                  <a:lnTo>
                    <a:pt x="0" y="222"/>
                  </a:lnTo>
                  <a:lnTo>
                    <a:pt x="2" y="192"/>
                  </a:lnTo>
                  <a:lnTo>
                    <a:pt x="6" y="168"/>
                  </a:lnTo>
                  <a:lnTo>
                    <a:pt x="14" y="146"/>
                  </a:lnTo>
                  <a:lnTo>
                    <a:pt x="24" y="128"/>
                  </a:lnTo>
                  <a:lnTo>
                    <a:pt x="36" y="114"/>
                  </a:lnTo>
                  <a:lnTo>
                    <a:pt x="48" y="106"/>
                  </a:lnTo>
                  <a:lnTo>
                    <a:pt x="62" y="100"/>
                  </a:lnTo>
                  <a:lnTo>
                    <a:pt x="78" y="98"/>
                  </a:lnTo>
                  <a:lnTo>
                    <a:pt x="92" y="100"/>
                  </a:lnTo>
                  <a:lnTo>
                    <a:pt x="104" y="104"/>
                  </a:lnTo>
                  <a:lnTo>
                    <a:pt x="112" y="112"/>
                  </a:lnTo>
                  <a:lnTo>
                    <a:pt x="118" y="122"/>
                  </a:lnTo>
                  <a:lnTo>
                    <a:pt x="120" y="122"/>
                  </a:lnTo>
                  <a:lnTo>
                    <a:pt x="120" y="0"/>
                  </a:lnTo>
                  <a:lnTo>
                    <a:pt x="180" y="0"/>
                  </a:lnTo>
                  <a:close/>
                  <a:moveTo>
                    <a:pt x="120" y="194"/>
                  </a:moveTo>
                  <a:lnTo>
                    <a:pt x="120" y="194"/>
                  </a:lnTo>
                  <a:lnTo>
                    <a:pt x="120" y="180"/>
                  </a:lnTo>
                  <a:lnTo>
                    <a:pt x="116" y="168"/>
                  </a:lnTo>
                  <a:lnTo>
                    <a:pt x="110" y="158"/>
                  </a:lnTo>
                  <a:lnTo>
                    <a:pt x="104" y="150"/>
                  </a:lnTo>
                  <a:lnTo>
                    <a:pt x="98" y="148"/>
                  </a:lnTo>
                  <a:lnTo>
                    <a:pt x="94" y="148"/>
                  </a:lnTo>
                  <a:lnTo>
                    <a:pt x="86" y="150"/>
                  </a:lnTo>
                  <a:lnTo>
                    <a:pt x="78" y="154"/>
                  </a:lnTo>
                  <a:lnTo>
                    <a:pt x="72" y="162"/>
                  </a:lnTo>
                  <a:lnTo>
                    <a:pt x="68" y="170"/>
                  </a:lnTo>
                  <a:lnTo>
                    <a:pt x="64" y="182"/>
                  </a:lnTo>
                  <a:lnTo>
                    <a:pt x="62" y="194"/>
                  </a:lnTo>
                  <a:lnTo>
                    <a:pt x="60" y="224"/>
                  </a:lnTo>
                  <a:lnTo>
                    <a:pt x="62" y="240"/>
                  </a:lnTo>
                  <a:lnTo>
                    <a:pt x="64" y="254"/>
                  </a:lnTo>
                  <a:lnTo>
                    <a:pt x="66" y="268"/>
                  </a:lnTo>
                  <a:lnTo>
                    <a:pt x="70" y="278"/>
                  </a:lnTo>
                  <a:lnTo>
                    <a:pt x="74" y="286"/>
                  </a:lnTo>
                  <a:lnTo>
                    <a:pt x="80" y="292"/>
                  </a:lnTo>
                  <a:lnTo>
                    <a:pt x="86" y="296"/>
                  </a:lnTo>
                  <a:lnTo>
                    <a:pt x="92" y="298"/>
                  </a:lnTo>
                  <a:lnTo>
                    <a:pt x="100" y="296"/>
                  </a:lnTo>
                  <a:lnTo>
                    <a:pt x="106" y="292"/>
                  </a:lnTo>
                  <a:lnTo>
                    <a:pt x="112" y="284"/>
                  </a:lnTo>
                  <a:lnTo>
                    <a:pt x="118" y="272"/>
                  </a:lnTo>
                  <a:lnTo>
                    <a:pt x="120" y="266"/>
                  </a:lnTo>
                  <a:lnTo>
                    <a:pt x="120" y="258"/>
                  </a:lnTo>
                  <a:lnTo>
                    <a:pt x="120" y="194"/>
                  </a:lnTo>
                  <a:close/>
                </a:path>
              </a:pathLst>
            </a:custGeom>
            <a:solidFill>
              <a:srgbClr val="FFFFFF"/>
            </a:solidFill>
            <a:ln w="9525">
              <a:noFill/>
              <a:round/>
              <a:headEnd/>
              <a:tailEnd/>
            </a:ln>
          </p:spPr>
          <p:txBody>
            <a:bodyPr/>
            <a:lstStyle/>
            <a:p>
              <a:endParaRPr lang="en-US" sz="1800" b="0">
                <a:solidFill>
                  <a:srgbClr val="FFFFFF"/>
                </a:solidFill>
                <a:latin typeface="Arial" charset="0"/>
                <a:ea typeface="+mn-ea"/>
              </a:endParaRPr>
            </a:p>
          </p:txBody>
        </p:sp>
        <p:sp>
          <p:nvSpPr>
            <p:cNvPr id="13" name="Freeform 12"/>
            <p:cNvSpPr>
              <a:spLocks noEditPoints="1"/>
            </p:cNvSpPr>
            <p:nvPr/>
          </p:nvSpPr>
          <p:spPr bwMode="auto">
            <a:xfrm>
              <a:off x="8865840" y="6741467"/>
              <a:ext cx="31171" cy="44022"/>
            </a:xfrm>
            <a:custGeom>
              <a:avLst/>
              <a:gdLst>
                <a:gd name="T0" fmla="*/ 627434408 w 182"/>
                <a:gd name="T1" fmla="*/ 1930842020 h 248"/>
                <a:gd name="T2" fmla="*/ 376467904 w 182"/>
                <a:gd name="T3" fmla="*/ 1868540196 h 248"/>
                <a:gd name="T4" fmla="*/ 167323101 w 182"/>
                <a:gd name="T5" fmla="*/ 1681713805 h 248"/>
                <a:gd name="T6" fmla="*/ 41821701 w 182"/>
                <a:gd name="T7" fmla="*/ 1385839502 h 248"/>
                <a:gd name="T8" fmla="*/ 0 w 182"/>
                <a:gd name="T9" fmla="*/ 965440631 h 248"/>
                <a:gd name="T10" fmla="*/ 13940631 w 182"/>
                <a:gd name="T11" fmla="*/ 731868152 h 248"/>
                <a:gd name="T12" fmla="*/ 111560960 w 182"/>
                <a:gd name="T13" fmla="*/ 358136488 h 248"/>
                <a:gd name="T14" fmla="*/ 292788014 w 182"/>
                <a:gd name="T15" fmla="*/ 124564206 h 248"/>
                <a:gd name="T16" fmla="*/ 515873448 w 182"/>
                <a:gd name="T17" fmla="*/ 15555735 h 248"/>
                <a:gd name="T18" fmla="*/ 641374848 w 182"/>
                <a:gd name="T19" fmla="*/ 0 h 248"/>
                <a:gd name="T20" fmla="*/ 906281982 w 182"/>
                <a:gd name="T21" fmla="*/ 62301626 h 248"/>
                <a:gd name="T22" fmla="*/ 1101486154 w 182"/>
                <a:gd name="T23" fmla="*/ 249128215 h 248"/>
                <a:gd name="T24" fmla="*/ 1226987554 w 182"/>
                <a:gd name="T25" fmla="*/ 560558055 h 248"/>
                <a:gd name="T26" fmla="*/ 1268809256 w 182"/>
                <a:gd name="T27" fmla="*/ 965440631 h 248"/>
                <a:gd name="T28" fmla="*/ 1254868816 w 182"/>
                <a:gd name="T29" fmla="*/ 1105560573 h 248"/>
                <a:gd name="T30" fmla="*/ 1226987554 w 182"/>
                <a:gd name="T31" fmla="*/ 1339133053 h 248"/>
                <a:gd name="T32" fmla="*/ 1171225413 w 182"/>
                <a:gd name="T33" fmla="*/ 1525998687 h 248"/>
                <a:gd name="T34" fmla="*/ 1087545523 w 182"/>
                <a:gd name="T35" fmla="*/ 1681713805 h 248"/>
                <a:gd name="T36" fmla="*/ 948103493 w 182"/>
                <a:gd name="T37" fmla="*/ 1837428725 h 248"/>
                <a:gd name="T38" fmla="*/ 738958881 w 182"/>
                <a:gd name="T39" fmla="*/ 1930842020 h 248"/>
                <a:gd name="T40" fmla="*/ 627434408 w 182"/>
                <a:gd name="T41" fmla="*/ 1930842020 h 248"/>
                <a:gd name="T42" fmla="*/ 641374848 w 182"/>
                <a:gd name="T43" fmla="*/ 1572705334 h 248"/>
                <a:gd name="T44" fmla="*/ 738958881 w 182"/>
                <a:gd name="T45" fmla="*/ 1525998687 h 248"/>
                <a:gd name="T46" fmla="*/ 794757509 w 182"/>
                <a:gd name="T47" fmla="*/ 1370283766 h 248"/>
                <a:gd name="T48" fmla="*/ 836579211 w 182"/>
                <a:gd name="T49" fmla="*/ 965440631 h 248"/>
                <a:gd name="T50" fmla="*/ 836579211 w 182"/>
                <a:gd name="T51" fmla="*/ 762979821 h 248"/>
                <a:gd name="T52" fmla="*/ 794757509 w 182"/>
                <a:gd name="T53" fmla="*/ 560558055 h 248"/>
                <a:gd name="T54" fmla="*/ 738958881 w 182"/>
                <a:gd name="T55" fmla="*/ 404843135 h 248"/>
                <a:gd name="T56" fmla="*/ 627434408 w 182"/>
                <a:gd name="T57" fmla="*/ 358136488 h 248"/>
                <a:gd name="T58" fmla="*/ 571672076 w 182"/>
                <a:gd name="T59" fmla="*/ 373692421 h 248"/>
                <a:gd name="T60" fmla="*/ 487992377 w 182"/>
                <a:gd name="T61" fmla="*/ 482700694 h 248"/>
                <a:gd name="T62" fmla="*/ 446170676 w 182"/>
                <a:gd name="T63" fmla="*/ 654010791 h 248"/>
                <a:gd name="T64" fmla="*/ 418289605 w 182"/>
                <a:gd name="T65" fmla="*/ 965440631 h 248"/>
                <a:gd name="T66" fmla="*/ 432230045 w 182"/>
                <a:gd name="T67" fmla="*/ 1198973868 h 248"/>
                <a:gd name="T68" fmla="*/ 460111307 w 182"/>
                <a:gd name="T69" fmla="*/ 1385839502 h 248"/>
                <a:gd name="T70" fmla="*/ 529850566 w 182"/>
                <a:gd name="T71" fmla="*/ 1525998687 h 248"/>
                <a:gd name="T72" fmla="*/ 641374848 w 182"/>
                <a:gd name="T73" fmla="*/ 1572705334 h 24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2"/>
                <a:gd name="T112" fmla="*/ 0 h 248"/>
                <a:gd name="T113" fmla="*/ 182 w 182"/>
                <a:gd name="T114" fmla="*/ 248 h 24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2" h="248">
                  <a:moveTo>
                    <a:pt x="90" y="248"/>
                  </a:moveTo>
                  <a:lnTo>
                    <a:pt x="90" y="248"/>
                  </a:lnTo>
                  <a:lnTo>
                    <a:pt x="70" y="246"/>
                  </a:lnTo>
                  <a:lnTo>
                    <a:pt x="54" y="240"/>
                  </a:lnTo>
                  <a:lnTo>
                    <a:pt x="38" y="230"/>
                  </a:lnTo>
                  <a:lnTo>
                    <a:pt x="24" y="216"/>
                  </a:lnTo>
                  <a:lnTo>
                    <a:pt x="14" y="198"/>
                  </a:lnTo>
                  <a:lnTo>
                    <a:pt x="6" y="178"/>
                  </a:lnTo>
                  <a:lnTo>
                    <a:pt x="2" y="152"/>
                  </a:lnTo>
                  <a:lnTo>
                    <a:pt x="0" y="124"/>
                  </a:lnTo>
                  <a:lnTo>
                    <a:pt x="2" y="94"/>
                  </a:lnTo>
                  <a:lnTo>
                    <a:pt x="8" y="68"/>
                  </a:lnTo>
                  <a:lnTo>
                    <a:pt x="16" y="46"/>
                  </a:lnTo>
                  <a:lnTo>
                    <a:pt x="28" y="30"/>
                  </a:lnTo>
                  <a:lnTo>
                    <a:pt x="42" y="16"/>
                  </a:lnTo>
                  <a:lnTo>
                    <a:pt x="58" y="6"/>
                  </a:lnTo>
                  <a:lnTo>
                    <a:pt x="74" y="2"/>
                  </a:lnTo>
                  <a:lnTo>
                    <a:pt x="92" y="0"/>
                  </a:lnTo>
                  <a:lnTo>
                    <a:pt x="112" y="2"/>
                  </a:lnTo>
                  <a:lnTo>
                    <a:pt x="130" y="8"/>
                  </a:lnTo>
                  <a:lnTo>
                    <a:pt x="144" y="18"/>
                  </a:lnTo>
                  <a:lnTo>
                    <a:pt x="158" y="32"/>
                  </a:lnTo>
                  <a:lnTo>
                    <a:pt x="168" y="50"/>
                  </a:lnTo>
                  <a:lnTo>
                    <a:pt x="176" y="72"/>
                  </a:lnTo>
                  <a:lnTo>
                    <a:pt x="180" y="96"/>
                  </a:lnTo>
                  <a:lnTo>
                    <a:pt x="182" y="124"/>
                  </a:lnTo>
                  <a:lnTo>
                    <a:pt x="180" y="142"/>
                  </a:lnTo>
                  <a:lnTo>
                    <a:pt x="178" y="158"/>
                  </a:lnTo>
                  <a:lnTo>
                    <a:pt x="176" y="172"/>
                  </a:lnTo>
                  <a:lnTo>
                    <a:pt x="172" y="184"/>
                  </a:lnTo>
                  <a:lnTo>
                    <a:pt x="168" y="196"/>
                  </a:lnTo>
                  <a:lnTo>
                    <a:pt x="162" y="206"/>
                  </a:lnTo>
                  <a:lnTo>
                    <a:pt x="156" y="216"/>
                  </a:lnTo>
                  <a:lnTo>
                    <a:pt x="150" y="224"/>
                  </a:lnTo>
                  <a:lnTo>
                    <a:pt x="136" y="236"/>
                  </a:lnTo>
                  <a:lnTo>
                    <a:pt x="120" y="244"/>
                  </a:lnTo>
                  <a:lnTo>
                    <a:pt x="106" y="248"/>
                  </a:lnTo>
                  <a:lnTo>
                    <a:pt x="92" y="248"/>
                  </a:lnTo>
                  <a:lnTo>
                    <a:pt x="90" y="248"/>
                  </a:lnTo>
                  <a:close/>
                  <a:moveTo>
                    <a:pt x="92" y="202"/>
                  </a:moveTo>
                  <a:lnTo>
                    <a:pt x="92" y="202"/>
                  </a:lnTo>
                  <a:lnTo>
                    <a:pt x="100" y="200"/>
                  </a:lnTo>
                  <a:lnTo>
                    <a:pt x="106" y="196"/>
                  </a:lnTo>
                  <a:lnTo>
                    <a:pt x="112" y="188"/>
                  </a:lnTo>
                  <a:lnTo>
                    <a:pt x="114" y="176"/>
                  </a:lnTo>
                  <a:lnTo>
                    <a:pt x="120" y="152"/>
                  </a:lnTo>
                  <a:lnTo>
                    <a:pt x="120" y="124"/>
                  </a:lnTo>
                  <a:lnTo>
                    <a:pt x="120" y="98"/>
                  </a:lnTo>
                  <a:lnTo>
                    <a:pt x="118" y="84"/>
                  </a:lnTo>
                  <a:lnTo>
                    <a:pt x="114" y="72"/>
                  </a:lnTo>
                  <a:lnTo>
                    <a:pt x="110" y="62"/>
                  </a:lnTo>
                  <a:lnTo>
                    <a:pt x="106" y="52"/>
                  </a:lnTo>
                  <a:lnTo>
                    <a:pt x="100" y="48"/>
                  </a:lnTo>
                  <a:lnTo>
                    <a:pt x="90" y="46"/>
                  </a:lnTo>
                  <a:lnTo>
                    <a:pt x="82" y="48"/>
                  </a:lnTo>
                  <a:lnTo>
                    <a:pt x="76" y="52"/>
                  </a:lnTo>
                  <a:lnTo>
                    <a:pt x="70" y="62"/>
                  </a:lnTo>
                  <a:lnTo>
                    <a:pt x="66" y="72"/>
                  </a:lnTo>
                  <a:lnTo>
                    <a:pt x="64" y="84"/>
                  </a:lnTo>
                  <a:lnTo>
                    <a:pt x="62" y="98"/>
                  </a:lnTo>
                  <a:lnTo>
                    <a:pt x="60" y="124"/>
                  </a:lnTo>
                  <a:lnTo>
                    <a:pt x="62" y="154"/>
                  </a:lnTo>
                  <a:lnTo>
                    <a:pt x="64" y="166"/>
                  </a:lnTo>
                  <a:lnTo>
                    <a:pt x="66" y="178"/>
                  </a:lnTo>
                  <a:lnTo>
                    <a:pt x="70" y="188"/>
                  </a:lnTo>
                  <a:lnTo>
                    <a:pt x="76" y="196"/>
                  </a:lnTo>
                  <a:lnTo>
                    <a:pt x="82" y="200"/>
                  </a:lnTo>
                  <a:lnTo>
                    <a:pt x="92" y="202"/>
                  </a:lnTo>
                  <a:close/>
                </a:path>
              </a:pathLst>
            </a:custGeom>
            <a:solidFill>
              <a:srgbClr val="FFFFFF"/>
            </a:solidFill>
            <a:ln w="9525">
              <a:noFill/>
              <a:round/>
              <a:headEnd/>
              <a:tailEnd/>
            </a:ln>
          </p:spPr>
          <p:txBody>
            <a:bodyPr/>
            <a:lstStyle/>
            <a:p>
              <a:endParaRPr lang="en-US" sz="1800" b="0">
                <a:solidFill>
                  <a:srgbClr val="FFFFFF"/>
                </a:solidFill>
                <a:latin typeface="Arial" charset="0"/>
                <a:ea typeface="+mn-ea"/>
              </a:endParaRPr>
            </a:p>
          </p:txBody>
        </p:sp>
        <p:sp>
          <p:nvSpPr>
            <p:cNvPr id="14" name="Freeform 13"/>
            <p:cNvSpPr>
              <a:spLocks noEditPoints="1"/>
            </p:cNvSpPr>
            <p:nvPr/>
          </p:nvSpPr>
          <p:spPr bwMode="auto">
            <a:xfrm>
              <a:off x="8904535" y="6724288"/>
              <a:ext cx="31171" cy="61201"/>
            </a:xfrm>
            <a:custGeom>
              <a:avLst/>
              <a:gdLst>
                <a:gd name="T0" fmla="*/ 432230045 w 182"/>
                <a:gd name="T1" fmla="*/ 0 h 346"/>
                <a:gd name="T2" fmla="*/ 432230045 w 182"/>
                <a:gd name="T3" fmla="*/ 970670630 h 346"/>
                <a:gd name="T4" fmla="*/ 501932817 w 182"/>
                <a:gd name="T5" fmla="*/ 878225818 h 346"/>
                <a:gd name="T6" fmla="*/ 669256109 w 182"/>
                <a:gd name="T7" fmla="*/ 770373438 h 346"/>
                <a:gd name="T8" fmla="*/ 780816879 w 182"/>
                <a:gd name="T9" fmla="*/ 754966068 h 346"/>
                <a:gd name="T10" fmla="*/ 892341352 w 182"/>
                <a:gd name="T11" fmla="*/ 770373438 h 346"/>
                <a:gd name="T12" fmla="*/ 1073605084 w 182"/>
                <a:gd name="T13" fmla="*/ 909040755 h 346"/>
                <a:gd name="T14" fmla="*/ 1199106484 w 182"/>
                <a:gd name="T15" fmla="*/ 1140152688 h 346"/>
                <a:gd name="T16" fmla="*/ 1254868816 w 182"/>
                <a:gd name="T17" fmla="*/ 1479117000 h 346"/>
                <a:gd name="T18" fmla="*/ 1268809256 w 182"/>
                <a:gd name="T19" fmla="*/ 1664006625 h 346"/>
                <a:gd name="T20" fmla="*/ 1226987554 w 182"/>
                <a:gd name="T21" fmla="*/ 2095415750 h 346"/>
                <a:gd name="T22" fmla="*/ 1101486154 w 182"/>
                <a:gd name="T23" fmla="*/ 2147483647 h 346"/>
                <a:gd name="T24" fmla="*/ 934163053 w 182"/>
                <a:gd name="T25" fmla="*/ 2147483647 h 346"/>
                <a:gd name="T26" fmla="*/ 725018250 w 182"/>
                <a:gd name="T27" fmla="*/ 2147483647 h 346"/>
                <a:gd name="T28" fmla="*/ 613493777 w 182"/>
                <a:gd name="T29" fmla="*/ 2147483647 h 346"/>
                <a:gd name="T30" fmla="*/ 460111307 w 182"/>
                <a:gd name="T31" fmla="*/ 2147483647 h 346"/>
                <a:gd name="T32" fmla="*/ 376467904 w 182"/>
                <a:gd name="T33" fmla="*/ 2147483647 h 346"/>
                <a:gd name="T34" fmla="*/ 0 w 182"/>
                <a:gd name="T35" fmla="*/ 2147483647 h 346"/>
                <a:gd name="T36" fmla="*/ 13940631 w 182"/>
                <a:gd name="T37" fmla="*/ 2110823318 h 346"/>
                <a:gd name="T38" fmla="*/ 432230045 w 182"/>
                <a:gd name="T39" fmla="*/ 1972156000 h 346"/>
                <a:gd name="T40" fmla="*/ 432230045 w 182"/>
                <a:gd name="T41" fmla="*/ 2049193443 h 346"/>
                <a:gd name="T42" fmla="*/ 446170676 w 182"/>
                <a:gd name="T43" fmla="*/ 2095415750 h 346"/>
                <a:gd name="T44" fmla="*/ 529850566 w 182"/>
                <a:gd name="T45" fmla="*/ 2147483647 h 346"/>
                <a:gd name="T46" fmla="*/ 613493777 w 182"/>
                <a:gd name="T47" fmla="*/ 2147483647 h 346"/>
                <a:gd name="T48" fmla="*/ 669256109 w 182"/>
                <a:gd name="T49" fmla="*/ 2147483647 h 346"/>
                <a:gd name="T50" fmla="*/ 752935808 w 182"/>
                <a:gd name="T51" fmla="*/ 2147483647 h 346"/>
                <a:gd name="T52" fmla="*/ 808698140 w 182"/>
                <a:gd name="T53" fmla="*/ 2049193443 h 346"/>
                <a:gd name="T54" fmla="*/ 836579211 w 182"/>
                <a:gd name="T55" fmla="*/ 1694821563 h 346"/>
                <a:gd name="T56" fmla="*/ 836579211 w 182"/>
                <a:gd name="T57" fmla="*/ 1479117000 h 346"/>
                <a:gd name="T58" fmla="*/ 794757509 w 182"/>
                <a:gd name="T59" fmla="*/ 1294227375 h 346"/>
                <a:gd name="T60" fmla="*/ 711077619 w 182"/>
                <a:gd name="T61" fmla="*/ 1186375193 h 346"/>
                <a:gd name="T62" fmla="*/ 613493777 w 182"/>
                <a:gd name="T63" fmla="*/ 1140152688 h 346"/>
                <a:gd name="T64" fmla="*/ 557731636 w 182"/>
                <a:gd name="T65" fmla="*/ 1155560255 h 346"/>
                <a:gd name="T66" fmla="*/ 474051746 w 182"/>
                <a:gd name="T67" fmla="*/ 1263412438 h 346"/>
                <a:gd name="T68" fmla="*/ 446170676 w 182"/>
                <a:gd name="T69" fmla="*/ 1340449880 h 346"/>
                <a:gd name="T70" fmla="*/ 432230045 w 182"/>
                <a:gd name="T71" fmla="*/ 1972156000 h 34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82"/>
                <a:gd name="T109" fmla="*/ 0 h 346"/>
                <a:gd name="T110" fmla="*/ 182 w 182"/>
                <a:gd name="T111" fmla="*/ 346 h 34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82" h="346">
                  <a:moveTo>
                    <a:pt x="2" y="0"/>
                  </a:moveTo>
                  <a:lnTo>
                    <a:pt x="62" y="0"/>
                  </a:lnTo>
                  <a:lnTo>
                    <a:pt x="62" y="126"/>
                  </a:lnTo>
                  <a:lnTo>
                    <a:pt x="72" y="114"/>
                  </a:lnTo>
                  <a:lnTo>
                    <a:pt x="84" y="104"/>
                  </a:lnTo>
                  <a:lnTo>
                    <a:pt x="96" y="100"/>
                  </a:lnTo>
                  <a:lnTo>
                    <a:pt x="112" y="98"/>
                  </a:lnTo>
                  <a:lnTo>
                    <a:pt x="122" y="98"/>
                  </a:lnTo>
                  <a:lnTo>
                    <a:pt x="128" y="100"/>
                  </a:lnTo>
                  <a:lnTo>
                    <a:pt x="142" y="106"/>
                  </a:lnTo>
                  <a:lnTo>
                    <a:pt x="154" y="118"/>
                  </a:lnTo>
                  <a:lnTo>
                    <a:pt x="164" y="132"/>
                  </a:lnTo>
                  <a:lnTo>
                    <a:pt x="172" y="148"/>
                  </a:lnTo>
                  <a:lnTo>
                    <a:pt x="176" y="170"/>
                  </a:lnTo>
                  <a:lnTo>
                    <a:pt x="180" y="192"/>
                  </a:lnTo>
                  <a:lnTo>
                    <a:pt x="182" y="216"/>
                  </a:lnTo>
                  <a:lnTo>
                    <a:pt x="180" y="246"/>
                  </a:lnTo>
                  <a:lnTo>
                    <a:pt x="176" y="272"/>
                  </a:lnTo>
                  <a:lnTo>
                    <a:pt x="168" y="294"/>
                  </a:lnTo>
                  <a:lnTo>
                    <a:pt x="158" y="314"/>
                  </a:lnTo>
                  <a:lnTo>
                    <a:pt x="148" y="328"/>
                  </a:lnTo>
                  <a:lnTo>
                    <a:pt x="134" y="338"/>
                  </a:lnTo>
                  <a:lnTo>
                    <a:pt x="120" y="344"/>
                  </a:lnTo>
                  <a:lnTo>
                    <a:pt x="104" y="346"/>
                  </a:lnTo>
                  <a:lnTo>
                    <a:pt x="88" y="344"/>
                  </a:lnTo>
                  <a:lnTo>
                    <a:pt x="76" y="340"/>
                  </a:lnTo>
                  <a:lnTo>
                    <a:pt x="66" y="328"/>
                  </a:lnTo>
                  <a:lnTo>
                    <a:pt x="56" y="314"/>
                  </a:lnTo>
                  <a:lnTo>
                    <a:pt x="54" y="314"/>
                  </a:lnTo>
                  <a:lnTo>
                    <a:pt x="50" y="342"/>
                  </a:lnTo>
                  <a:lnTo>
                    <a:pt x="0" y="342"/>
                  </a:lnTo>
                  <a:lnTo>
                    <a:pt x="2" y="274"/>
                  </a:lnTo>
                  <a:lnTo>
                    <a:pt x="2" y="0"/>
                  </a:lnTo>
                  <a:close/>
                  <a:moveTo>
                    <a:pt x="62" y="256"/>
                  </a:moveTo>
                  <a:lnTo>
                    <a:pt x="62" y="256"/>
                  </a:lnTo>
                  <a:lnTo>
                    <a:pt x="62" y="266"/>
                  </a:lnTo>
                  <a:lnTo>
                    <a:pt x="64" y="272"/>
                  </a:lnTo>
                  <a:lnTo>
                    <a:pt x="68" y="284"/>
                  </a:lnTo>
                  <a:lnTo>
                    <a:pt x="76" y="292"/>
                  </a:lnTo>
                  <a:lnTo>
                    <a:pt x="82" y="296"/>
                  </a:lnTo>
                  <a:lnTo>
                    <a:pt x="88" y="298"/>
                  </a:lnTo>
                  <a:lnTo>
                    <a:pt x="96" y="296"/>
                  </a:lnTo>
                  <a:lnTo>
                    <a:pt x="104" y="292"/>
                  </a:lnTo>
                  <a:lnTo>
                    <a:pt x="108" y="286"/>
                  </a:lnTo>
                  <a:lnTo>
                    <a:pt x="114" y="276"/>
                  </a:lnTo>
                  <a:lnTo>
                    <a:pt x="116" y="266"/>
                  </a:lnTo>
                  <a:lnTo>
                    <a:pt x="120" y="252"/>
                  </a:lnTo>
                  <a:lnTo>
                    <a:pt x="120" y="220"/>
                  </a:lnTo>
                  <a:lnTo>
                    <a:pt x="120" y="192"/>
                  </a:lnTo>
                  <a:lnTo>
                    <a:pt x="116" y="178"/>
                  </a:lnTo>
                  <a:lnTo>
                    <a:pt x="114" y="168"/>
                  </a:lnTo>
                  <a:lnTo>
                    <a:pt x="108" y="160"/>
                  </a:lnTo>
                  <a:lnTo>
                    <a:pt x="102" y="154"/>
                  </a:lnTo>
                  <a:lnTo>
                    <a:pt x="96" y="150"/>
                  </a:lnTo>
                  <a:lnTo>
                    <a:pt x="88" y="148"/>
                  </a:lnTo>
                  <a:lnTo>
                    <a:pt x="80" y="150"/>
                  </a:lnTo>
                  <a:lnTo>
                    <a:pt x="72" y="156"/>
                  </a:lnTo>
                  <a:lnTo>
                    <a:pt x="68" y="164"/>
                  </a:lnTo>
                  <a:lnTo>
                    <a:pt x="64" y="174"/>
                  </a:lnTo>
                  <a:lnTo>
                    <a:pt x="62" y="190"/>
                  </a:lnTo>
                  <a:lnTo>
                    <a:pt x="62" y="256"/>
                  </a:lnTo>
                  <a:close/>
                </a:path>
              </a:pathLst>
            </a:custGeom>
            <a:solidFill>
              <a:srgbClr val="FFFFFF"/>
            </a:solidFill>
            <a:ln w="9525">
              <a:noFill/>
              <a:round/>
              <a:headEnd/>
              <a:tailEnd/>
            </a:ln>
          </p:spPr>
          <p:txBody>
            <a:bodyPr/>
            <a:lstStyle/>
            <a:p>
              <a:endParaRPr lang="en-US" sz="1800" b="0">
                <a:solidFill>
                  <a:srgbClr val="FFFFFF"/>
                </a:solidFill>
                <a:latin typeface="Arial" charset="0"/>
                <a:ea typeface="+mn-ea"/>
              </a:endParaRPr>
            </a:p>
          </p:txBody>
        </p:sp>
        <p:sp>
          <p:nvSpPr>
            <p:cNvPr id="15" name="Freeform 14"/>
            <p:cNvSpPr>
              <a:spLocks noEditPoints="1"/>
            </p:cNvSpPr>
            <p:nvPr/>
          </p:nvSpPr>
          <p:spPr bwMode="auto">
            <a:xfrm>
              <a:off x="8942156" y="6741467"/>
              <a:ext cx="31171" cy="44022"/>
            </a:xfrm>
            <a:custGeom>
              <a:avLst/>
              <a:gdLst>
                <a:gd name="T0" fmla="*/ 447139395 w 176"/>
                <a:gd name="T1" fmla="*/ 1109628385 h 250"/>
                <a:gd name="T2" fmla="*/ 493383008 w 176"/>
                <a:gd name="T3" fmla="*/ 1307239371 h 250"/>
                <a:gd name="T4" fmla="*/ 570455762 w 176"/>
                <a:gd name="T5" fmla="*/ 1444043966 h 250"/>
                <a:gd name="T6" fmla="*/ 693811441 w 176"/>
                <a:gd name="T7" fmla="*/ 1520042172 h 250"/>
                <a:gd name="T8" fmla="*/ 863410535 w 176"/>
                <a:gd name="T9" fmla="*/ 1550464734 h 250"/>
                <a:gd name="T10" fmla="*/ 955936875 w 176"/>
                <a:gd name="T11" fmla="*/ 1535272721 h 250"/>
                <a:gd name="T12" fmla="*/ 1202608921 w 176"/>
                <a:gd name="T13" fmla="*/ 1474466528 h 250"/>
                <a:gd name="T14" fmla="*/ 1264267204 w 176"/>
                <a:gd name="T15" fmla="*/ 1808881912 h 250"/>
                <a:gd name="T16" fmla="*/ 1048424299 w 176"/>
                <a:gd name="T17" fmla="*/ 1869688302 h 250"/>
                <a:gd name="T18" fmla="*/ 770923112 w 176"/>
                <a:gd name="T19" fmla="*/ 1900072131 h 250"/>
                <a:gd name="T20" fmla="*/ 601324018 w 176"/>
                <a:gd name="T21" fmla="*/ 1884880118 h 250"/>
                <a:gd name="T22" fmla="*/ 308369245 w 176"/>
                <a:gd name="T23" fmla="*/ 1763267535 h 250"/>
                <a:gd name="T24" fmla="*/ 107941009 w 176"/>
                <a:gd name="T25" fmla="*/ 1520042172 h 250"/>
                <a:gd name="T26" fmla="*/ 15414472 w 176"/>
                <a:gd name="T27" fmla="*/ 1185626788 h 250"/>
                <a:gd name="T28" fmla="*/ 0 w 176"/>
                <a:gd name="T29" fmla="*/ 988054535 h 250"/>
                <a:gd name="T30" fmla="*/ 61658282 w 176"/>
                <a:gd name="T31" fmla="*/ 577640747 h 250"/>
                <a:gd name="T32" fmla="*/ 215842905 w 176"/>
                <a:gd name="T33" fmla="*/ 273609191 h 250"/>
                <a:gd name="T34" fmla="*/ 447139395 w 176"/>
                <a:gd name="T35" fmla="*/ 75998206 h 250"/>
                <a:gd name="T36" fmla="*/ 724640582 w 176"/>
                <a:gd name="T37" fmla="*/ 0 h 250"/>
                <a:gd name="T38" fmla="*/ 863410535 w 176"/>
                <a:gd name="T39" fmla="*/ 15192013 h 250"/>
                <a:gd name="T40" fmla="*/ 1094668109 w 176"/>
                <a:gd name="T41" fmla="*/ 136804596 h 250"/>
                <a:gd name="T42" fmla="*/ 1264267204 w 176"/>
                <a:gd name="T43" fmla="*/ 364799213 h 250"/>
                <a:gd name="T44" fmla="*/ 1341379072 w 176"/>
                <a:gd name="T45" fmla="*/ 668830966 h 250"/>
                <a:gd name="T46" fmla="*/ 1356793544 w 176"/>
                <a:gd name="T47" fmla="*/ 866441755 h 250"/>
                <a:gd name="T48" fmla="*/ 1341379072 w 176"/>
                <a:gd name="T49" fmla="*/ 1109628385 h 250"/>
                <a:gd name="T50" fmla="*/ 925068818 w 176"/>
                <a:gd name="T51" fmla="*/ 790443549 h 250"/>
                <a:gd name="T52" fmla="*/ 909654346 w 176"/>
                <a:gd name="T53" fmla="*/ 608024576 h 250"/>
                <a:gd name="T54" fmla="*/ 863410535 w 176"/>
                <a:gd name="T55" fmla="*/ 471219980 h 250"/>
                <a:gd name="T56" fmla="*/ 801752253 w 176"/>
                <a:gd name="T57" fmla="*/ 380029959 h 250"/>
                <a:gd name="T58" fmla="*/ 693811441 w 176"/>
                <a:gd name="T59" fmla="*/ 349607397 h 250"/>
                <a:gd name="T60" fmla="*/ 647567631 w 176"/>
                <a:gd name="T61" fmla="*/ 349607397 h 250"/>
                <a:gd name="T62" fmla="*/ 555041291 w 176"/>
                <a:gd name="T63" fmla="*/ 425605603 h 250"/>
                <a:gd name="T64" fmla="*/ 477968536 w 176"/>
                <a:gd name="T65" fmla="*/ 638408405 h 250"/>
                <a:gd name="T66" fmla="*/ 925068818 w 176"/>
                <a:gd name="T67" fmla="*/ 790443549 h 25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76"/>
                <a:gd name="T103" fmla="*/ 0 h 250"/>
                <a:gd name="T104" fmla="*/ 176 w 176"/>
                <a:gd name="T105" fmla="*/ 250 h 25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76" h="250">
                  <a:moveTo>
                    <a:pt x="58" y="146"/>
                  </a:moveTo>
                  <a:lnTo>
                    <a:pt x="58" y="146"/>
                  </a:lnTo>
                  <a:lnTo>
                    <a:pt x="60" y="160"/>
                  </a:lnTo>
                  <a:lnTo>
                    <a:pt x="64" y="172"/>
                  </a:lnTo>
                  <a:lnTo>
                    <a:pt x="68" y="182"/>
                  </a:lnTo>
                  <a:lnTo>
                    <a:pt x="74" y="190"/>
                  </a:lnTo>
                  <a:lnTo>
                    <a:pt x="82" y="196"/>
                  </a:lnTo>
                  <a:lnTo>
                    <a:pt x="90" y="200"/>
                  </a:lnTo>
                  <a:lnTo>
                    <a:pt x="100" y="202"/>
                  </a:lnTo>
                  <a:lnTo>
                    <a:pt x="112" y="204"/>
                  </a:lnTo>
                  <a:lnTo>
                    <a:pt x="124" y="202"/>
                  </a:lnTo>
                  <a:lnTo>
                    <a:pt x="136" y="200"/>
                  </a:lnTo>
                  <a:lnTo>
                    <a:pt x="156" y="194"/>
                  </a:lnTo>
                  <a:lnTo>
                    <a:pt x="164" y="238"/>
                  </a:lnTo>
                  <a:lnTo>
                    <a:pt x="152" y="242"/>
                  </a:lnTo>
                  <a:lnTo>
                    <a:pt x="136" y="246"/>
                  </a:lnTo>
                  <a:lnTo>
                    <a:pt x="118" y="248"/>
                  </a:lnTo>
                  <a:lnTo>
                    <a:pt x="100" y="250"/>
                  </a:lnTo>
                  <a:lnTo>
                    <a:pt x="78" y="248"/>
                  </a:lnTo>
                  <a:lnTo>
                    <a:pt x="58" y="242"/>
                  </a:lnTo>
                  <a:lnTo>
                    <a:pt x="40" y="232"/>
                  </a:lnTo>
                  <a:lnTo>
                    <a:pt x="26" y="218"/>
                  </a:lnTo>
                  <a:lnTo>
                    <a:pt x="14" y="200"/>
                  </a:lnTo>
                  <a:lnTo>
                    <a:pt x="6" y="180"/>
                  </a:lnTo>
                  <a:lnTo>
                    <a:pt x="2" y="156"/>
                  </a:lnTo>
                  <a:lnTo>
                    <a:pt x="0" y="130"/>
                  </a:lnTo>
                  <a:lnTo>
                    <a:pt x="2" y="102"/>
                  </a:lnTo>
                  <a:lnTo>
                    <a:pt x="8" y="76"/>
                  </a:lnTo>
                  <a:lnTo>
                    <a:pt x="16" y="54"/>
                  </a:lnTo>
                  <a:lnTo>
                    <a:pt x="28" y="36"/>
                  </a:lnTo>
                  <a:lnTo>
                    <a:pt x="42" y="20"/>
                  </a:lnTo>
                  <a:lnTo>
                    <a:pt x="58" y="10"/>
                  </a:lnTo>
                  <a:lnTo>
                    <a:pt x="76" y="4"/>
                  </a:lnTo>
                  <a:lnTo>
                    <a:pt x="94" y="0"/>
                  </a:lnTo>
                  <a:lnTo>
                    <a:pt x="112" y="2"/>
                  </a:lnTo>
                  <a:lnTo>
                    <a:pt x="130" y="8"/>
                  </a:lnTo>
                  <a:lnTo>
                    <a:pt x="142" y="18"/>
                  </a:lnTo>
                  <a:lnTo>
                    <a:pt x="154" y="32"/>
                  </a:lnTo>
                  <a:lnTo>
                    <a:pt x="164" y="48"/>
                  </a:lnTo>
                  <a:lnTo>
                    <a:pt x="170" y="66"/>
                  </a:lnTo>
                  <a:lnTo>
                    <a:pt x="174" y="88"/>
                  </a:lnTo>
                  <a:lnTo>
                    <a:pt x="176" y="114"/>
                  </a:lnTo>
                  <a:lnTo>
                    <a:pt x="174" y="134"/>
                  </a:lnTo>
                  <a:lnTo>
                    <a:pt x="174" y="146"/>
                  </a:lnTo>
                  <a:lnTo>
                    <a:pt x="58" y="146"/>
                  </a:lnTo>
                  <a:close/>
                  <a:moveTo>
                    <a:pt x="120" y="104"/>
                  </a:moveTo>
                  <a:lnTo>
                    <a:pt x="120" y="104"/>
                  </a:lnTo>
                  <a:lnTo>
                    <a:pt x="118" y="80"/>
                  </a:lnTo>
                  <a:lnTo>
                    <a:pt x="116" y="70"/>
                  </a:lnTo>
                  <a:lnTo>
                    <a:pt x="112" y="62"/>
                  </a:lnTo>
                  <a:lnTo>
                    <a:pt x="108" y="54"/>
                  </a:lnTo>
                  <a:lnTo>
                    <a:pt x="104" y="50"/>
                  </a:lnTo>
                  <a:lnTo>
                    <a:pt x="98" y="46"/>
                  </a:lnTo>
                  <a:lnTo>
                    <a:pt x="90" y="46"/>
                  </a:lnTo>
                  <a:lnTo>
                    <a:pt x="84" y="46"/>
                  </a:lnTo>
                  <a:lnTo>
                    <a:pt x="76" y="50"/>
                  </a:lnTo>
                  <a:lnTo>
                    <a:pt x="72" y="56"/>
                  </a:lnTo>
                  <a:lnTo>
                    <a:pt x="66" y="64"/>
                  </a:lnTo>
                  <a:lnTo>
                    <a:pt x="62" y="84"/>
                  </a:lnTo>
                  <a:lnTo>
                    <a:pt x="58" y="104"/>
                  </a:lnTo>
                  <a:lnTo>
                    <a:pt x="120" y="104"/>
                  </a:lnTo>
                  <a:close/>
                </a:path>
              </a:pathLst>
            </a:custGeom>
            <a:solidFill>
              <a:srgbClr val="FFFFFF"/>
            </a:solidFill>
            <a:ln w="9525">
              <a:noFill/>
              <a:round/>
              <a:headEnd/>
              <a:tailEnd/>
            </a:ln>
          </p:spPr>
          <p:txBody>
            <a:bodyPr/>
            <a:lstStyle/>
            <a:p>
              <a:endParaRPr lang="en-US" sz="1800" b="0">
                <a:solidFill>
                  <a:srgbClr val="FFFFFF"/>
                </a:solidFill>
                <a:latin typeface="Arial" charset="0"/>
                <a:ea typeface="+mn-ea"/>
              </a:endParaRPr>
            </a:p>
          </p:txBody>
        </p:sp>
        <p:sp>
          <p:nvSpPr>
            <p:cNvPr id="16" name="Freeform 15"/>
            <p:cNvSpPr>
              <a:spLocks/>
            </p:cNvSpPr>
            <p:nvPr/>
          </p:nvSpPr>
          <p:spPr bwMode="auto">
            <a:xfrm>
              <a:off x="8904535" y="6528874"/>
              <a:ext cx="68791" cy="165350"/>
            </a:xfrm>
            <a:custGeom>
              <a:avLst/>
              <a:gdLst>
                <a:gd name="T0" fmla="*/ 0 w 386"/>
                <a:gd name="T1" fmla="*/ 0 h 920"/>
                <a:gd name="T2" fmla="*/ 2147483647 w 386"/>
                <a:gd name="T3" fmla="*/ 0 h 920"/>
                <a:gd name="T4" fmla="*/ 2147483647 w 386"/>
                <a:gd name="T5" fmla="*/ 2147483647 h 920"/>
                <a:gd name="T6" fmla="*/ 0 w 386"/>
                <a:gd name="T7" fmla="*/ 0 h 920"/>
                <a:gd name="T8" fmla="*/ 0 60000 65536"/>
                <a:gd name="T9" fmla="*/ 0 60000 65536"/>
                <a:gd name="T10" fmla="*/ 0 60000 65536"/>
                <a:gd name="T11" fmla="*/ 0 60000 65536"/>
                <a:gd name="T12" fmla="*/ 0 w 386"/>
                <a:gd name="T13" fmla="*/ 0 h 920"/>
                <a:gd name="T14" fmla="*/ 386 w 386"/>
                <a:gd name="T15" fmla="*/ 920 h 920"/>
              </a:gdLst>
              <a:ahLst/>
              <a:cxnLst>
                <a:cxn ang="T8">
                  <a:pos x="T0" y="T1"/>
                </a:cxn>
                <a:cxn ang="T9">
                  <a:pos x="T2" y="T3"/>
                </a:cxn>
                <a:cxn ang="T10">
                  <a:pos x="T4" y="T5"/>
                </a:cxn>
                <a:cxn ang="T11">
                  <a:pos x="T6" y="T7"/>
                </a:cxn>
              </a:cxnLst>
              <a:rect l="T12" t="T13" r="T14" b="T15"/>
              <a:pathLst>
                <a:path w="386" h="920">
                  <a:moveTo>
                    <a:pt x="0" y="0"/>
                  </a:moveTo>
                  <a:lnTo>
                    <a:pt x="386" y="0"/>
                  </a:lnTo>
                  <a:lnTo>
                    <a:pt x="386" y="920"/>
                  </a:lnTo>
                  <a:lnTo>
                    <a:pt x="0" y="0"/>
                  </a:lnTo>
                  <a:close/>
                </a:path>
              </a:pathLst>
            </a:custGeom>
            <a:solidFill>
              <a:srgbClr val="FFFFFF"/>
            </a:solidFill>
            <a:ln w="9525">
              <a:noFill/>
              <a:round/>
              <a:headEnd/>
              <a:tailEnd/>
            </a:ln>
          </p:spPr>
          <p:txBody>
            <a:bodyPr/>
            <a:lstStyle/>
            <a:p>
              <a:endParaRPr lang="en-US" sz="1800" b="0">
                <a:solidFill>
                  <a:srgbClr val="FFFFFF"/>
                </a:solidFill>
                <a:latin typeface="Arial" charset="0"/>
                <a:ea typeface="+mn-ea"/>
              </a:endParaRPr>
            </a:p>
          </p:txBody>
        </p:sp>
        <p:sp>
          <p:nvSpPr>
            <p:cNvPr id="17" name="Freeform 16"/>
            <p:cNvSpPr>
              <a:spLocks/>
            </p:cNvSpPr>
            <p:nvPr/>
          </p:nvSpPr>
          <p:spPr bwMode="auto">
            <a:xfrm>
              <a:off x="8786300" y="6528874"/>
              <a:ext cx="68791" cy="165350"/>
            </a:xfrm>
            <a:custGeom>
              <a:avLst/>
              <a:gdLst>
                <a:gd name="T0" fmla="*/ 2147483647 w 386"/>
                <a:gd name="T1" fmla="*/ 0 h 920"/>
                <a:gd name="T2" fmla="*/ 0 w 386"/>
                <a:gd name="T3" fmla="*/ 0 h 920"/>
                <a:gd name="T4" fmla="*/ 0 w 386"/>
                <a:gd name="T5" fmla="*/ 2147483647 h 920"/>
                <a:gd name="T6" fmla="*/ 2147483647 w 386"/>
                <a:gd name="T7" fmla="*/ 0 h 920"/>
                <a:gd name="T8" fmla="*/ 0 60000 65536"/>
                <a:gd name="T9" fmla="*/ 0 60000 65536"/>
                <a:gd name="T10" fmla="*/ 0 60000 65536"/>
                <a:gd name="T11" fmla="*/ 0 60000 65536"/>
                <a:gd name="T12" fmla="*/ 0 w 386"/>
                <a:gd name="T13" fmla="*/ 0 h 920"/>
                <a:gd name="T14" fmla="*/ 386 w 386"/>
                <a:gd name="T15" fmla="*/ 920 h 920"/>
              </a:gdLst>
              <a:ahLst/>
              <a:cxnLst>
                <a:cxn ang="T8">
                  <a:pos x="T0" y="T1"/>
                </a:cxn>
                <a:cxn ang="T9">
                  <a:pos x="T2" y="T3"/>
                </a:cxn>
                <a:cxn ang="T10">
                  <a:pos x="T4" y="T5"/>
                </a:cxn>
                <a:cxn ang="T11">
                  <a:pos x="T6" y="T7"/>
                </a:cxn>
              </a:cxnLst>
              <a:rect l="T12" t="T13" r="T14" b="T15"/>
              <a:pathLst>
                <a:path w="386" h="920">
                  <a:moveTo>
                    <a:pt x="386" y="0"/>
                  </a:moveTo>
                  <a:lnTo>
                    <a:pt x="0" y="0"/>
                  </a:lnTo>
                  <a:lnTo>
                    <a:pt x="0" y="920"/>
                  </a:lnTo>
                  <a:lnTo>
                    <a:pt x="386" y="0"/>
                  </a:lnTo>
                  <a:close/>
                </a:path>
              </a:pathLst>
            </a:custGeom>
            <a:solidFill>
              <a:srgbClr val="FFFFFF"/>
            </a:solidFill>
            <a:ln w="9525">
              <a:noFill/>
              <a:round/>
              <a:headEnd/>
              <a:tailEnd/>
            </a:ln>
          </p:spPr>
          <p:txBody>
            <a:bodyPr/>
            <a:lstStyle/>
            <a:p>
              <a:endParaRPr lang="en-US" sz="1800" b="0">
                <a:solidFill>
                  <a:srgbClr val="FFFFFF"/>
                </a:solidFill>
                <a:latin typeface="Arial" charset="0"/>
                <a:ea typeface="+mn-ea"/>
              </a:endParaRPr>
            </a:p>
          </p:txBody>
        </p:sp>
        <p:sp>
          <p:nvSpPr>
            <p:cNvPr id="18" name="Freeform 17"/>
            <p:cNvSpPr>
              <a:spLocks/>
            </p:cNvSpPr>
            <p:nvPr/>
          </p:nvSpPr>
          <p:spPr bwMode="auto">
            <a:xfrm>
              <a:off x="8849717" y="6589001"/>
              <a:ext cx="74166" cy="105223"/>
            </a:xfrm>
            <a:custGeom>
              <a:avLst/>
              <a:gdLst>
                <a:gd name="T0" fmla="*/ 1336771916 w 416"/>
                <a:gd name="T1" fmla="*/ 0 h 582"/>
                <a:gd name="T2" fmla="*/ 2147483647 w 416"/>
                <a:gd name="T3" fmla="*/ 2147483647 h 582"/>
                <a:gd name="T4" fmla="*/ 1997308539 w 416"/>
                <a:gd name="T5" fmla="*/ 2147483647 h 582"/>
                <a:gd name="T6" fmla="*/ 1415424145 w 416"/>
                <a:gd name="T7" fmla="*/ 2147483647 h 582"/>
                <a:gd name="T8" fmla="*/ 0 w 416"/>
                <a:gd name="T9" fmla="*/ 2147483647 h 582"/>
                <a:gd name="T10" fmla="*/ 1336771916 w 416"/>
                <a:gd name="T11" fmla="*/ 0 h 582"/>
                <a:gd name="T12" fmla="*/ 0 60000 65536"/>
                <a:gd name="T13" fmla="*/ 0 60000 65536"/>
                <a:gd name="T14" fmla="*/ 0 60000 65536"/>
                <a:gd name="T15" fmla="*/ 0 60000 65536"/>
                <a:gd name="T16" fmla="*/ 0 60000 65536"/>
                <a:gd name="T17" fmla="*/ 0 60000 65536"/>
                <a:gd name="T18" fmla="*/ 0 w 416"/>
                <a:gd name="T19" fmla="*/ 0 h 582"/>
                <a:gd name="T20" fmla="*/ 416 w 416"/>
                <a:gd name="T21" fmla="*/ 582 h 582"/>
              </a:gdLst>
              <a:ahLst/>
              <a:cxnLst>
                <a:cxn ang="T12">
                  <a:pos x="T0" y="T1"/>
                </a:cxn>
                <a:cxn ang="T13">
                  <a:pos x="T2" y="T3"/>
                </a:cxn>
                <a:cxn ang="T14">
                  <a:pos x="T4" y="T5"/>
                </a:cxn>
                <a:cxn ang="T15">
                  <a:pos x="T6" y="T7"/>
                </a:cxn>
                <a:cxn ang="T16">
                  <a:pos x="T8" y="T9"/>
                </a:cxn>
                <a:cxn ang="T17">
                  <a:pos x="T10" y="T11"/>
                </a:cxn>
              </a:cxnLst>
              <a:rect l="T18" t="T19" r="T20" b="T21"/>
              <a:pathLst>
                <a:path w="416" h="582">
                  <a:moveTo>
                    <a:pt x="170" y="0"/>
                  </a:moveTo>
                  <a:lnTo>
                    <a:pt x="416" y="582"/>
                  </a:lnTo>
                  <a:lnTo>
                    <a:pt x="254" y="582"/>
                  </a:lnTo>
                  <a:lnTo>
                    <a:pt x="180" y="396"/>
                  </a:lnTo>
                  <a:lnTo>
                    <a:pt x="0" y="396"/>
                  </a:lnTo>
                  <a:lnTo>
                    <a:pt x="170" y="0"/>
                  </a:lnTo>
                  <a:close/>
                </a:path>
              </a:pathLst>
            </a:custGeom>
            <a:solidFill>
              <a:srgbClr val="FFFFFF"/>
            </a:solidFill>
            <a:ln w="9525">
              <a:noFill/>
              <a:round/>
              <a:headEnd/>
              <a:tailEnd/>
            </a:ln>
          </p:spPr>
          <p:txBody>
            <a:bodyPr/>
            <a:lstStyle/>
            <a:p>
              <a:endParaRPr lang="en-US" sz="1800" b="0">
                <a:solidFill>
                  <a:srgbClr val="FFFFFF"/>
                </a:solidFill>
                <a:latin typeface="Arial" charset="0"/>
                <a:ea typeface="+mn-ea"/>
              </a:endParaRPr>
            </a:p>
          </p:txBody>
        </p:sp>
        <p:sp>
          <p:nvSpPr>
            <p:cNvPr id="19" name="Freeform 18"/>
            <p:cNvSpPr>
              <a:spLocks noEditPoints="1"/>
            </p:cNvSpPr>
            <p:nvPr/>
          </p:nvSpPr>
          <p:spPr bwMode="auto">
            <a:xfrm>
              <a:off x="8977626" y="6528874"/>
              <a:ext cx="12899" cy="12884"/>
            </a:xfrm>
            <a:custGeom>
              <a:avLst/>
              <a:gdLst>
                <a:gd name="T0" fmla="*/ 287240651 w 72"/>
                <a:gd name="T1" fmla="*/ 0 h 72"/>
                <a:gd name="T2" fmla="*/ 398918740 w 72"/>
                <a:gd name="T3" fmla="*/ 15968860 h 72"/>
                <a:gd name="T4" fmla="*/ 494665623 w 72"/>
                <a:gd name="T5" fmla="*/ 79764775 h 72"/>
                <a:gd name="T6" fmla="*/ 558470370 w 72"/>
                <a:gd name="T7" fmla="*/ 175498211 h 72"/>
                <a:gd name="T8" fmla="*/ 574441339 w 72"/>
                <a:gd name="T9" fmla="*/ 287160744 h 72"/>
                <a:gd name="T10" fmla="*/ 574441339 w 72"/>
                <a:gd name="T11" fmla="*/ 335027562 h 72"/>
                <a:gd name="T12" fmla="*/ 526567997 w 72"/>
                <a:gd name="T13" fmla="*/ 446690095 h 72"/>
                <a:gd name="T14" fmla="*/ 446792281 w 72"/>
                <a:gd name="T15" fmla="*/ 526454871 h 72"/>
                <a:gd name="T16" fmla="*/ 351045398 w 72"/>
                <a:gd name="T17" fmla="*/ 558352829 h 72"/>
                <a:gd name="T18" fmla="*/ 287240651 w 72"/>
                <a:gd name="T19" fmla="*/ 574321688 h 72"/>
                <a:gd name="T20" fmla="*/ 175522599 w 72"/>
                <a:gd name="T21" fmla="*/ 542423730 h 72"/>
                <a:gd name="T22" fmla="*/ 79775715 w 72"/>
                <a:gd name="T23" fmla="*/ 494556913 h 72"/>
                <a:gd name="T24" fmla="*/ 15971169 w 72"/>
                <a:gd name="T25" fmla="*/ 398823278 h 72"/>
                <a:gd name="T26" fmla="*/ 0 w 72"/>
                <a:gd name="T27" fmla="*/ 287160744 h 72"/>
                <a:gd name="T28" fmla="*/ 0 w 72"/>
                <a:gd name="T29" fmla="*/ 223365028 h 72"/>
                <a:gd name="T30" fmla="*/ 47873542 w 72"/>
                <a:gd name="T31" fmla="*/ 127631393 h 72"/>
                <a:gd name="T32" fmla="*/ 127649257 w 72"/>
                <a:gd name="T33" fmla="*/ 47866818 h 72"/>
                <a:gd name="T34" fmla="*/ 223396141 w 72"/>
                <a:gd name="T35" fmla="*/ 0 h 72"/>
                <a:gd name="T36" fmla="*/ 287240651 w 72"/>
                <a:gd name="T37" fmla="*/ 0 h 72"/>
                <a:gd name="T38" fmla="*/ 287240651 w 72"/>
                <a:gd name="T39" fmla="*/ 47866818 h 72"/>
                <a:gd name="T40" fmla="*/ 207424972 w 72"/>
                <a:gd name="T41" fmla="*/ 63795716 h 72"/>
                <a:gd name="T42" fmla="*/ 79775715 w 72"/>
                <a:gd name="T43" fmla="*/ 191427309 h 72"/>
                <a:gd name="T44" fmla="*/ 63844511 w 72"/>
                <a:gd name="T45" fmla="*/ 287160744 h 72"/>
                <a:gd name="T46" fmla="*/ 127649257 w 72"/>
                <a:gd name="T47" fmla="*/ 446690095 h 72"/>
                <a:gd name="T48" fmla="*/ 239367309 w 72"/>
                <a:gd name="T49" fmla="*/ 510525772 h 72"/>
                <a:gd name="T50" fmla="*/ 287240651 w 72"/>
                <a:gd name="T51" fmla="*/ 526454871 h 72"/>
                <a:gd name="T52" fmla="*/ 382947571 w 72"/>
                <a:gd name="T53" fmla="*/ 510525772 h 72"/>
                <a:gd name="T54" fmla="*/ 494665623 w 72"/>
                <a:gd name="T55" fmla="*/ 382894379 h 72"/>
                <a:gd name="T56" fmla="*/ 510596828 w 72"/>
                <a:gd name="T57" fmla="*/ 287160744 h 72"/>
                <a:gd name="T58" fmla="*/ 446792281 w 72"/>
                <a:gd name="T59" fmla="*/ 111662534 h 72"/>
                <a:gd name="T60" fmla="*/ 335074229 w 72"/>
                <a:gd name="T61" fmla="*/ 47866818 h 72"/>
                <a:gd name="T62" fmla="*/ 287240651 w 72"/>
                <a:gd name="T63" fmla="*/ 47866818 h 72"/>
                <a:gd name="T64" fmla="*/ 175522599 w 72"/>
                <a:gd name="T65" fmla="*/ 446690095 h 72"/>
                <a:gd name="T66" fmla="*/ 175522599 w 72"/>
                <a:gd name="T67" fmla="*/ 127631393 h 72"/>
                <a:gd name="T68" fmla="*/ 271269483 w 72"/>
                <a:gd name="T69" fmla="*/ 127631393 h 72"/>
                <a:gd name="T70" fmla="*/ 382947571 w 72"/>
                <a:gd name="T71" fmla="*/ 143600453 h 72"/>
                <a:gd name="T72" fmla="*/ 398918740 w 72"/>
                <a:gd name="T73" fmla="*/ 175498211 h 72"/>
                <a:gd name="T74" fmla="*/ 398918740 w 72"/>
                <a:gd name="T75" fmla="*/ 223365028 h 72"/>
                <a:gd name="T76" fmla="*/ 382947571 w 72"/>
                <a:gd name="T77" fmla="*/ 271191885 h 72"/>
                <a:gd name="T78" fmla="*/ 351045398 w 72"/>
                <a:gd name="T79" fmla="*/ 287160744 h 72"/>
                <a:gd name="T80" fmla="*/ 382947571 w 72"/>
                <a:gd name="T81" fmla="*/ 319058702 h 72"/>
                <a:gd name="T82" fmla="*/ 398918740 w 72"/>
                <a:gd name="T83" fmla="*/ 366925520 h 72"/>
                <a:gd name="T84" fmla="*/ 351045398 w 72"/>
                <a:gd name="T85" fmla="*/ 446690095 h 72"/>
                <a:gd name="T86" fmla="*/ 335074229 w 72"/>
                <a:gd name="T87" fmla="*/ 366925520 h 72"/>
                <a:gd name="T88" fmla="*/ 319143024 w 72"/>
                <a:gd name="T89" fmla="*/ 335027562 h 72"/>
                <a:gd name="T90" fmla="*/ 239367309 w 72"/>
                <a:gd name="T91" fmla="*/ 319058702 h 72"/>
                <a:gd name="T92" fmla="*/ 239367309 w 72"/>
                <a:gd name="T93" fmla="*/ 271191885 h 72"/>
                <a:gd name="T94" fmla="*/ 271269483 w 72"/>
                <a:gd name="T95" fmla="*/ 271191885 h 72"/>
                <a:gd name="T96" fmla="*/ 335074229 w 72"/>
                <a:gd name="T97" fmla="*/ 239294127 h 72"/>
                <a:gd name="T98" fmla="*/ 351045398 w 72"/>
                <a:gd name="T99" fmla="*/ 223365028 h 72"/>
                <a:gd name="T100" fmla="*/ 335074229 w 72"/>
                <a:gd name="T101" fmla="*/ 175498211 h 72"/>
                <a:gd name="T102" fmla="*/ 271269483 w 72"/>
                <a:gd name="T103" fmla="*/ 159529351 h 72"/>
                <a:gd name="T104" fmla="*/ 239367309 w 72"/>
                <a:gd name="T105" fmla="*/ 175498211 h 7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2"/>
                <a:gd name="T160" fmla="*/ 0 h 72"/>
                <a:gd name="T161" fmla="*/ 72 w 72"/>
                <a:gd name="T162" fmla="*/ 72 h 7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2" h="72">
                  <a:moveTo>
                    <a:pt x="36" y="0"/>
                  </a:moveTo>
                  <a:lnTo>
                    <a:pt x="36" y="0"/>
                  </a:lnTo>
                  <a:lnTo>
                    <a:pt x="44" y="0"/>
                  </a:lnTo>
                  <a:lnTo>
                    <a:pt x="50" y="2"/>
                  </a:lnTo>
                  <a:lnTo>
                    <a:pt x="56" y="6"/>
                  </a:lnTo>
                  <a:lnTo>
                    <a:pt x="62" y="10"/>
                  </a:lnTo>
                  <a:lnTo>
                    <a:pt x="66" y="16"/>
                  </a:lnTo>
                  <a:lnTo>
                    <a:pt x="70" y="22"/>
                  </a:lnTo>
                  <a:lnTo>
                    <a:pt x="72" y="28"/>
                  </a:lnTo>
                  <a:lnTo>
                    <a:pt x="72" y="36"/>
                  </a:lnTo>
                  <a:lnTo>
                    <a:pt x="72" y="42"/>
                  </a:lnTo>
                  <a:lnTo>
                    <a:pt x="70" y="50"/>
                  </a:lnTo>
                  <a:lnTo>
                    <a:pt x="66" y="56"/>
                  </a:lnTo>
                  <a:lnTo>
                    <a:pt x="62" y="62"/>
                  </a:lnTo>
                  <a:lnTo>
                    <a:pt x="56" y="66"/>
                  </a:lnTo>
                  <a:lnTo>
                    <a:pt x="50" y="68"/>
                  </a:lnTo>
                  <a:lnTo>
                    <a:pt x="44" y="70"/>
                  </a:lnTo>
                  <a:lnTo>
                    <a:pt x="36" y="72"/>
                  </a:lnTo>
                  <a:lnTo>
                    <a:pt x="28" y="70"/>
                  </a:lnTo>
                  <a:lnTo>
                    <a:pt x="22" y="68"/>
                  </a:lnTo>
                  <a:lnTo>
                    <a:pt x="16" y="66"/>
                  </a:lnTo>
                  <a:lnTo>
                    <a:pt x="10" y="62"/>
                  </a:lnTo>
                  <a:lnTo>
                    <a:pt x="6" y="56"/>
                  </a:lnTo>
                  <a:lnTo>
                    <a:pt x="2" y="50"/>
                  </a:lnTo>
                  <a:lnTo>
                    <a:pt x="0" y="42"/>
                  </a:lnTo>
                  <a:lnTo>
                    <a:pt x="0" y="36"/>
                  </a:lnTo>
                  <a:lnTo>
                    <a:pt x="0" y="28"/>
                  </a:lnTo>
                  <a:lnTo>
                    <a:pt x="2" y="22"/>
                  </a:lnTo>
                  <a:lnTo>
                    <a:pt x="6" y="16"/>
                  </a:lnTo>
                  <a:lnTo>
                    <a:pt x="10" y="10"/>
                  </a:lnTo>
                  <a:lnTo>
                    <a:pt x="16" y="6"/>
                  </a:lnTo>
                  <a:lnTo>
                    <a:pt x="22" y="2"/>
                  </a:lnTo>
                  <a:lnTo>
                    <a:pt x="28" y="0"/>
                  </a:lnTo>
                  <a:lnTo>
                    <a:pt x="36" y="0"/>
                  </a:lnTo>
                  <a:close/>
                  <a:moveTo>
                    <a:pt x="36" y="6"/>
                  </a:moveTo>
                  <a:lnTo>
                    <a:pt x="36" y="6"/>
                  </a:lnTo>
                  <a:lnTo>
                    <a:pt x="30" y="6"/>
                  </a:lnTo>
                  <a:lnTo>
                    <a:pt x="26" y="8"/>
                  </a:lnTo>
                  <a:lnTo>
                    <a:pt x="16" y="14"/>
                  </a:lnTo>
                  <a:lnTo>
                    <a:pt x="10" y="24"/>
                  </a:lnTo>
                  <a:lnTo>
                    <a:pt x="8" y="36"/>
                  </a:lnTo>
                  <a:lnTo>
                    <a:pt x="10" y="48"/>
                  </a:lnTo>
                  <a:lnTo>
                    <a:pt x="16" y="56"/>
                  </a:lnTo>
                  <a:lnTo>
                    <a:pt x="26" y="64"/>
                  </a:lnTo>
                  <a:lnTo>
                    <a:pt x="30" y="64"/>
                  </a:lnTo>
                  <a:lnTo>
                    <a:pt x="36" y="66"/>
                  </a:lnTo>
                  <a:lnTo>
                    <a:pt x="42" y="66"/>
                  </a:lnTo>
                  <a:lnTo>
                    <a:pt x="48" y="64"/>
                  </a:lnTo>
                  <a:lnTo>
                    <a:pt x="56" y="56"/>
                  </a:lnTo>
                  <a:lnTo>
                    <a:pt x="62" y="48"/>
                  </a:lnTo>
                  <a:lnTo>
                    <a:pt x="64" y="36"/>
                  </a:lnTo>
                  <a:lnTo>
                    <a:pt x="62" y="24"/>
                  </a:lnTo>
                  <a:lnTo>
                    <a:pt x="56" y="14"/>
                  </a:lnTo>
                  <a:lnTo>
                    <a:pt x="48" y="8"/>
                  </a:lnTo>
                  <a:lnTo>
                    <a:pt x="42" y="6"/>
                  </a:lnTo>
                  <a:lnTo>
                    <a:pt x="36" y="6"/>
                  </a:lnTo>
                  <a:close/>
                  <a:moveTo>
                    <a:pt x="30" y="56"/>
                  </a:moveTo>
                  <a:lnTo>
                    <a:pt x="22" y="56"/>
                  </a:lnTo>
                  <a:lnTo>
                    <a:pt x="22" y="16"/>
                  </a:lnTo>
                  <a:lnTo>
                    <a:pt x="34" y="16"/>
                  </a:lnTo>
                  <a:lnTo>
                    <a:pt x="42" y="16"/>
                  </a:lnTo>
                  <a:lnTo>
                    <a:pt x="48" y="18"/>
                  </a:lnTo>
                  <a:lnTo>
                    <a:pt x="50" y="22"/>
                  </a:lnTo>
                  <a:lnTo>
                    <a:pt x="50" y="28"/>
                  </a:lnTo>
                  <a:lnTo>
                    <a:pt x="50" y="30"/>
                  </a:lnTo>
                  <a:lnTo>
                    <a:pt x="48" y="34"/>
                  </a:lnTo>
                  <a:lnTo>
                    <a:pt x="44" y="36"/>
                  </a:lnTo>
                  <a:lnTo>
                    <a:pt x="48" y="40"/>
                  </a:lnTo>
                  <a:lnTo>
                    <a:pt x="50" y="46"/>
                  </a:lnTo>
                  <a:lnTo>
                    <a:pt x="52" y="56"/>
                  </a:lnTo>
                  <a:lnTo>
                    <a:pt x="44" y="56"/>
                  </a:lnTo>
                  <a:lnTo>
                    <a:pt x="42" y="46"/>
                  </a:lnTo>
                  <a:lnTo>
                    <a:pt x="40" y="42"/>
                  </a:lnTo>
                  <a:lnTo>
                    <a:pt x="34" y="40"/>
                  </a:lnTo>
                  <a:lnTo>
                    <a:pt x="30" y="40"/>
                  </a:lnTo>
                  <a:lnTo>
                    <a:pt x="30" y="56"/>
                  </a:lnTo>
                  <a:close/>
                  <a:moveTo>
                    <a:pt x="30" y="34"/>
                  </a:moveTo>
                  <a:lnTo>
                    <a:pt x="34" y="34"/>
                  </a:lnTo>
                  <a:lnTo>
                    <a:pt x="40" y="32"/>
                  </a:lnTo>
                  <a:lnTo>
                    <a:pt x="42" y="30"/>
                  </a:lnTo>
                  <a:lnTo>
                    <a:pt x="44" y="28"/>
                  </a:lnTo>
                  <a:lnTo>
                    <a:pt x="44" y="26"/>
                  </a:lnTo>
                  <a:lnTo>
                    <a:pt x="42" y="22"/>
                  </a:lnTo>
                  <a:lnTo>
                    <a:pt x="38" y="22"/>
                  </a:lnTo>
                  <a:lnTo>
                    <a:pt x="34" y="20"/>
                  </a:lnTo>
                  <a:lnTo>
                    <a:pt x="30" y="22"/>
                  </a:lnTo>
                  <a:lnTo>
                    <a:pt x="30" y="34"/>
                  </a:lnTo>
                  <a:close/>
                </a:path>
              </a:pathLst>
            </a:custGeom>
            <a:solidFill>
              <a:srgbClr val="FFFFFF"/>
            </a:solidFill>
            <a:ln w="9525">
              <a:noFill/>
              <a:round/>
              <a:headEnd/>
              <a:tailEnd/>
            </a:ln>
          </p:spPr>
          <p:txBody>
            <a:bodyPr/>
            <a:lstStyle/>
            <a:p>
              <a:endParaRPr lang="en-US" sz="1800" b="0">
                <a:solidFill>
                  <a:srgbClr val="FFFFFF"/>
                </a:solidFill>
                <a:latin typeface="Arial" charset="0"/>
                <a:ea typeface="+mn-ea"/>
              </a:endParaRPr>
            </a:p>
          </p:txBody>
        </p:sp>
      </p:grpSp>
      <p:sp>
        <p:nvSpPr>
          <p:cNvPr id="2" name="Title Placeholder 1"/>
          <p:cNvSpPr>
            <a:spLocks noGrp="1"/>
          </p:cNvSpPr>
          <p:nvPr>
            <p:ph type="title"/>
          </p:nvPr>
        </p:nvSpPr>
        <p:spPr>
          <a:xfrm>
            <a:off x="228600" y="184150"/>
            <a:ext cx="8686800" cy="41116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228600" y="990600"/>
            <a:ext cx="8686800" cy="51816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191000" y="6629400"/>
            <a:ext cx="762000" cy="168274"/>
          </a:xfrm>
          <a:prstGeom prst="rect">
            <a:avLst/>
          </a:prstGeom>
        </p:spPr>
        <p:txBody>
          <a:bodyPr vert="horz" lIns="91440" tIns="45720" rIns="91440" bIns="45720" rtlCol="0" anchor="ctr"/>
          <a:lstStyle>
            <a:lvl1pPr algn="ctr">
              <a:defRPr sz="800">
                <a:solidFill>
                  <a:schemeClr val="bg1"/>
                </a:solidFill>
              </a:defRPr>
            </a:lvl1pPr>
          </a:lstStyle>
          <a:p>
            <a:fld id="{F68393F7-3B86-4C59-AC6F-00662FB5042C}" type="datetime1">
              <a:rPr lang="en-US" altLang="zh-TW" b="0" smtClean="0">
                <a:solidFill>
                  <a:prstClr val="white"/>
                </a:solidFill>
                <a:latin typeface="Arial" charset="0"/>
                <a:ea typeface="+mn-ea"/>
              </a:rPr>
              <a:t>8/5/2015</a:t>
            </a:fld>
            <a:endParaRPr lang="en-US" b="0" dirty="0">
              <a:solidFill>
                <a:prstClr val="white"/>
              </a:solidFill>
              <a:latin typeface="Arial" charset="0"/>
              <a:ea typeface="+mn-ea"/>
            </a:endParaRPr>
          </a:p>
        </p:txBody>
      </p:sp>
      <p:sp>
        <p:nvSpPr>
          <p:cNvPr id="5" name="Footer Placeholder 4"/>
          <p:cNvSpPr>
            <a:spLocks noGrp="1"/>
          </p:cNvSpPr>
          <p:nvPr>
            <p:ph type="ftr" sz="quarter" idx="3"/>
          </p:nvPr>
        </p:nvSpPr>
        <p:spPr>
          <a:xfrm>
            <a:off x="211136" y="6629400"/>
            <a:ext cx="3903664" cy="168274"/>
          </a:xfrm>
          <a:prstGeom prst="rect">
            <a:avLst/>
          </a:prstGeom>
        </p:spPr>
        <p:txBody>
          <a:bodyPr vert="horz" lIns="0" tIns="45720" rIns="91440" bIns="45720" rtlCol="0" anchor="ctr"/>
          <a:lstStyle>
            <a:lvl1pPr algn="l">
              <a:defRPr sz="800">
                <a:solidFill>
                  <a:schemeClr val="bg1"/>
                </a:solidFill>
              </a:defRPr>
            </a:lvl1pPr>
          </a:lstStyle>
          <a:p>
            <a:endParaRPr lang="en-US" b="0" dirty="0">
              <a:solidFill>
                <a:prstClr val="white"/>
              </a:solidFill>
              <a:latin typeface="Arial" charset="0"/>
              <a:ea typeface="+mn-ea"/>
            </a:endParaRPr>
          </a:p>
        </p:txBody>
      </p:sp>
      <p:sp>
        <p:nvSpPr>
          <p:cNvPr id="6" name="Slide Number Placeholder 5"/>
          <p:cNvSpPr>
            <a:spLocks noGrp="1"/>
          </p:cNvSpPr>
          <p:nvPr>
            <p:ph type="sldNum" sz="quarter" idx="4"/>
          </p:nvPr>
        </p:nvSpPr>
        <p:spPr>
          <a:xfrm>
            <a:off x="4191000" y="6477000"/>
            <a:ext cx="762000" cy="168274"/>
          </a:xfrm>
          <a:prstGeom prst="rect">
            <a:avLst/>
          </a:prstGeom>
        </p:spPr>
        <p:txBody>
          <a:bodyPr vert="horz" lIns="91440" tIns="45720" rIns="91440" bIns="45720" rtlCol="0" anchor="ctr"/>
          <a:lstStyle>
            <a:lvl1pPr algn="r">
              <a:defRPr sz="800">
                <a:solidFill>
                  <a:schemeClr val="bg1"/>
                </a:solidFill>
              </a:defRPr>
            </a:lvl1pPr>
          </a:lstStyle>
          <a:p>
            <a:pPr algn="ctr"/>
            <a:fld id="{90156F56-D5AE-4C6F-B826-C69D1BC521BB}" type="slidenum">
              <a:rPr lang="en-US" b="0" smtClean="0">
                <a:solidFill>
                  <a:prstClr val="white"/>
                </a:solidFill>
                <a:latin typeface="Arial" charset="0"/>
                <a:ea typeface="+mn-ea"/>
              </a:rPr>
              <a:pPr algn="ctr"/>
              <a:t>‹#›</a:t>
            </a:fld>
            <a:endParaRPr lang="en-US" b="0" dirty="0">
              <a:solidFill>
                <a:prstClr val="white"/>
              </a:solidFill>
              <a:latin typeface="Arial" charset="0"/>
              <a:ea typeface="+mn-ea"/>
            </a:endParaRPr>
          </a:p>
        </p:txBody>
      </p:sp>
    </p:spTree>
    <p:extLst>
      <p:ext uri="{BB962C8B-B14F-4D97-AF65-F5344CB8AC3E}">
        <p14:creationId xmlns:p14="http://schemas.microsoft.com/office/powerpoint/2010/main" val="1187548940"/>
      </p:ext>
    </p:extLst>
  </p:cSld>
  <p:clrMap bg1="lt1" tx1="dk1" bg2="lt2" tx2="dk2" accent1="accent1" accent2="accent2" accent3="accent3" accent4="accent4" accent5="accent5" accent6="accent6" hlink="hlink" folHlink="folHlink"/>
  <p:sldLayoutIdLst>
    <p:sldLayoutId id="2147484758" r:id="rId1"/>
    <p:sldLayoutId id="2147484759" r:id="rId2"/>
    <p:sldLayoutId id="2147484760" r:id="rId3"/>
    <p:sldLayoutId id="2147484761" r:id="rId4"/>
    <p:sldLayoutId id="2147484762" r:id="rId5"/>
  </p:sldLayoutIdLst>
  <p:transition spd="slow">
    <p:fade/>
  </p:transition>
  <p:timing>
    <p:tnLst>
      <p:par>
        <p:cTn id="1" dur="indefinite" restart="never" nodeType="tmRoot"/>
      </p:par>
    </p:tnLst>
  </p:timing>
  <p:hf hdr="0" ftr="0" dt="0"/>
  <p:txStyles>
    <p:titleStyle>
      <a:lvl1pPr algn="l" defTabSz="914400" rtl="0" eaLnBrk="1" latinLnBrk="0" hangingPunct="1">
        <a:spcBef>
          <a:spcPct val="0"/>
        </a:spcBef>
        <a:buNone/>
        <a:defRPr sz="2400" kern="1200">
          <a:solidFill>
            <a:schemeClr val="bg2"/>
          </a:solidFill>
          <a:latin typeface="+mj-lt"/>
          <a:ea typeface="+mj-ea"/>
          <a:cs typeface="+mj-cs"/>
        </a:defRPr>
      </a:lvl1pPr>
    </p:titleStyle>
    <p:bodyStyle>
      <a:lvl1pPr marL="231775" indent="-231775" algn="l" defTabSz="914400" rtl="0" eaLnBrk="1" latinLnBrk="0" hangingPunct="1">
        <a:spcBef>
          <a:spcPts val="600"/>
        </a:spcBef>
        <a:buClr>
          <a:schemeClr val="accent4"/>
        </a:buClr>
        <a:buSzPct val="70000"/>
        <a:buFont typeface="Wingdings" pitchFamily="2" charset="2"/>
        <a:buChar char="§"/>
        <a:defRPr sz="2000" kern="1200">
          <a:solidFill>
            <a:schemeClr val="tx1"/>
          </a:solidFill>
          <a:latin typeface="+mn-lt"/>
          <a:ea typeface="+mn-ea"/>
          <a:cs typeface="+mn-cs"/>
        </a:defRPr>
      </a:lvl1pPr>
      <a:lvl2pPr marL="463550" indent="-231775" algn="l" defTabSz="914400" rtl="0" eaLnBrk="1" latinLnBrk="0" hangingPunct="1">
        <a:spcBef>
          <a:spcPts val="600"/>
        </a:spcBef>
        <a:buClr>
          <a:schemeClr val="accent4"/>
        </a:buClr>
        <a:buSzPct val="70000"/>
        <a:buFont typeface="Wingdings" pitchFamily="2" charset="2"/>
        <a:buChar char="§"/>
        <a:defRPr sz="1800" kern="1200">
          <a:solidFill>
            <a:schemeClr val="tx1"/>
          </a:solidFill>
          <a:latin typeface="+mn-lt"/>
          <a:ea typeface="+mn-ea"/>
          <a:cs typeface="+mn-cs"/>
        </a:defRPr>
      </a:lvl2pPr>
      <a:lvl3pPr marL="631825" indent="-168275" algn="l" defTabSz="914400" rtl="0" eaLnBrk="1" latinLnBrk="0" hangingPunct="1">
        <a:spcBef>
          <a:spcPts val="600"/>
        </a:spcBef>
        <a:buClr>
          <a:schemeClr val="accent4"/>
        </a:buClr>
        <a:buSzPct val="70000"/>
        <a:buFont typeface="Wingdings" pitchFamily="2" charset="2"/>
        <a:buChar char="§"/>
        <a:defRPr sz="1600" kern="1200">
          <a:solidFill>
            <a:schemeClr val="tx1"/>
          </a:solidFill>
          <a:latin typeface="+mn-lt"/>
          <a:ea typeface="+mn-ea"/>
          <a:cs typeface="+mn-cs"/>
        </a:defRPr>
      </a:lvl3pPr>
      <a:lvl4pPr marL="798513" indent="-166688" algn="l" defTabSz="914400" rtl="0" eaLnBrk="1" latinLnBrk="0" hangingPunct="1">
        <a:spcBef>
          <a:spcPts val="600"/>
        </a:spcBef>
        <a:buClr>
          <a:schemeClr val="accent4"/>
        </a:buClr>
        <a:buSzPct val="70000"/>
        <a:buFont typeface="Wingdings" pitchFamily="2" charset="2"/>
        <a:buChar char="§"/>
        <a:defRPr sz="1600" kern="1200">
          <a:solidFill>
            <a:schemeClr val="tx1"/>
          </a:solidFill>
          <a:latin typeface="+mn-lt"/>
          <a:ea typeface="+mn-ea"/>
          <a:cs typeface="+mn-cs"/>
        </a:defRPr>
      </a:lvl4pPr>
      <a:lvl5pPr marL="914400" indent="-115888" algn="l" defTabSz="914400" rtl="0" eaLnBrk="1" latinLnBrk="0" hangingPunct="1">
        <a:spcBef>
          <a:spcPts val="600"/>
        </a:spcBef>
        <a:buClr>
          <a:schemeClr val="accent4"/>
        </a:buClr>
        <a:buSzPct val="70000"/>
        <a:buFont typeface="Wingdings" pitchFamily="2" charset="2"/>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7" y="228600"/>
            <a:ext cx="8363938" cy="560795"/>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6" y="1447800"/>
            <a:ext cx="8366320" cy="149117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Slide Number Placeholder 2"/>
          <p:cNvSpPr>
            <a:spLocks noGrp="1"/>
          </p:cNvSpPr>
          <p:nvPr>
            <p:ph type="sldNum" sz="quarter" idx="4"/>
          </p:nvPr>
        </p:nvSpPr>
        <p:spPr>
          <a:xfrm>
            <a:off x="8585452" y="6429377"/>
            <a:ext cx="171495" cy="93487"/>
          </a:xfrm>
          <a:prstGeom prst="rect">
            <a:avLst/>
          </a:prstGeom>
          <a:noFill/>
        </p:spPr>
        <p:txBody>
          <a:bodyPr wrap="square" lIns="0" tIns="0" rIns="0" bIns="0" rtlCol="0">
            <a:spAutoFit/>
          </a:bodyPr>
          <a:lstStyle>
            <a:lvl1pPr algn="l">
              <a:defRPr lang="en-US" sz="675" spc="-15" baseline="0" smtClean="0">
                <a:gradFill>
                  <a:gsLst>
                    <a:gs pos="0">
                      <a:schemeClr val="tx1"/>
                    </a:gs>
                    <a:gs pos="100000">
                      <a:schemeClr val="tx1"/>
                    </a:gs>
                  </a:gsLst>
                  <a:lin ang="5400000" scaled="0"/>
                </a:gradFill>
              </a:defRPr>
            </a:lvl1pPr>
          </a:lstStyle>
          <a:p>
            <a:pPr defTabSz="685512" fontAlgn="auto">
              <a:lnSpc>
                <a:spcPct val="90000"/>
              </a:lnSpc>
              <a:spcBef>
                <a:spcPts val="0"/>
              </a:spcBef>
              <a:spcAft>
                <a:spcPts val="0"/>
              </a:spcAft>
            </a:pPr>
            <a:fld id="{1BC86A1F-E589-44B2-A543-2EC98F5547A7}" type="slidenum">
              <a:rPr altLang="zh-TW" b="0">
                <a:gradFill>
                  <a:gsLst>
                    <a:gs pos="0">
                      <a:srgbClr val="505050"/>
                    </a:gs>
                    <a:gs pos="100000">
                      <a:srgbClr val="505050"/>
                    </a:gs>
                  </a:gsLst>
                  <a:lin ang="5400000" scaled="0"/>
                </a:gradFill>
                <a:latin typeface="Segoe UI"/>
                <a:ea typeface="+mn-ea"/>
              </a:rPr>
              <a:pPr defTabSz="685512" fontAlgn="auto">
                <a:lnSpc>
                  <a:spcPct val="90000"/>
                </a:lnSpc>
                <a:spcBef>
                  <a:spcPts val="0"/>
                </a:spcBef>
                <a:spcAft>
                  <a:spcPts val="0"/>
                </a:spcAft>
              </a:pPr>
              <a:t>‹#›</a:t>
            </a:fld>
            <a:endParaRPr lang="zh-TW" altLang="en-US" b="0" dirty="0">
              <a:gradFill>
                <a:gsLst>
                  <a:gs pos="0">
                    <a:srgbClr val="505050"/>
                  </a:gs>
                  <a:gs pos="100000">
                    <a:srgbClr val="505050"/>
                  </a:gs>
                </a:gsLst>
                <a:lin ang="5400000" scaled="0"/>
              </a:gradFill>
              <a:latin typeface="Segoe UI"/>
              <a:ea typeface="+mn-ea"/>
            </a:endParaRPr>
          </a:p>
        </p:txBody>
      </p:sp>
      <p:sp>
        <p:nvSpPr>
          <p:cNvPr id="5" name="TextBox 4"/>
          <p:cNvSpPr txBox="1"/>
          <p:nvPr/>
        </p:nvSpPr>
        <p:spPr>
          <a:xfrm>
            <a:off x="5568427" y="6426995"/>
            <a:ext cx="2841959" cy="93487"/>
          </a:xfrm>
          <a:prstGeom prst="rect">
            <a:avLst/>
          </a:prstGeom>
          <a:noFill/>
        </p:spPr>
        <p:txBody>
          <a:bodyPr wrap="square" lIns="0" tIns="0" rIns="0" bIns="0" rtlCol="0">
            <a:spAutoFit/>
          </a:bodyPr>
          <a:lstStyle>
            <a:defPPr>
              <a:defRPr lang="en-US"/>
            </a:defPPr>
            <a:lvl1pPr algn="r">
              <a:lnSpc>
                <a:spcPct val="90000"/>
              </a:lnSpc>
              <a:defRPr sz="900" spc="-20" baseline="0">
                <a:gradFill>
                  <a:gsLst>
                    <a:gs pos="0">
                      <a:schemeClr val="tx1"/>
                    </a:gs>
                    <a:gs pos="100000">
                      <a:schemeClr val="tx1"/>
                    </a:gs>
                  </a:gsLst>
                  <a:lin ang="5400000" scaled="0"/>
                </a:gradFill>
              </a:defRPr>
            </a:lvl1pPr>
          </a:lstStyle>
          <a:p>
            <a:pPr defTabSz="685512" fontAlgn="auto">
              <a:spcBef>
                <a:spcPts val="0"/>
              </a:spcBef>
              <a:spcAft>
                <a:spcPts val="0"/>
              </a:spcAft>
            </a:pPr>
            <a:r>
              <a:rPr lang="en-US" sz="675" b="0" spc="-38" dirty="0" smtClean="0">
                <a:gradFill>
                  <a:gsLst>
                    <a:gs pos="2917">
                      <a:srgbClr val="505050"/>
                    </a:gs>
                    <a:gs pos="30000">
                      <a:srgbClr val="505050"/>
                    </a:gs>
                  </a:gsLst>
                  <a:lin ang="5400000" scaled="0"/>
                </a:gradFill>
                <a:latin typeface="Segoe UI"/>
                <a:ea typeface="+mn-ea"/>
              </a:rPr>
              <a:t>Windows Server OEM Licensing</a:t>
            </a:r>
          </a:p>
        </p:txBody>
      </p:sp>
      <p:sp>
        <p:nvSpPr>
          <p:cNvPr id="8" name="TextBox 7"/>
          <p:cNvSpPr txBox="1"/>
          <p:nvPr/>
        </p:nvSpPr>
        <p:spPr>
          <a:xfrm>
            <a:off x="8413959" y="6454777"/>
            <a:ext cx="171495" cy="62325"/>
          </a:xfrm>
          <a:prstGeom prst="rect">
            <a:avLst/>
          </a:prstGeom>
          <a:noFill/>
        </p:spPr>
        <p:txBody>
          <a:bodyPr wrap="square" lIns="0" tIns="0" rIns="0" bIns="0" rtlCol="0">
            <a:spAutoFit/>
          </a:bodyPr>
          <a:lstStyle/>
          <a:p>
            <a:pPr algn="ctr" defTabSz="685512" fontAlgn="auto">
              <a:lnSpc>
                <a:spcPct val="90000"/>
              </a:lnSpc>
              <a:spcBef>
                <a:spcPts val="0"/>
              </a:spcBef>
              <a:spcAft>
                <a:spcPts val="0"/>
              </a:spcAft>
            </a:pPr>
            <a:r>
              <a:rPr lang="en-US" sz="675" b="0" spc="-15" baseline="10000" dirty="0" smtClean="0">
                <a:gradFill>
                  <a:gsLst>
                    <a:gs pos="0">
                      <a:srgbClr val="00188F"/>
                    </a:gs>
                    <a:gs pos="100000">
                      <a:srgbClr val="00188F"/>
                    </a:gs>
                  </a:gsLst>
                  <a:lin ang="5400000" scaled="0"/>
                </a:gradFill>
                <a:latin typeface="Segoe UI Light"/>
                <a:ea typeface="+mn-ea"/>
              </a:rPr>
              <a:t>||</a:t>
            </a:r>
            <a:endParaRPr lang="en-US" sz="675" b="0" spc="-15" baseline="10000" dirty="0">
              <a:gradFill>
                <a:gsLst>
                  <a:gs pos="0">
                    <a:srgbClr val="00188F"/>
                  </a:gs>
                  <a:gs pos="100000">
                    <a:srgbClr val="00188F"/>
                  </a:gs>
                </a:gsLst>
                <a:lin ang="5400000" scaled="0"/>
              </a:gradFill>
              <a:latin typeface="Segoe UI Light"/>
              <a:ea typeface="+mn-ea"/>
            </a:endParaRPr>
          </a:p>
        </p:txBody>
      </p:sp>
      <p:sp>
        <p:nvSpPr>
          <p:cNvPr id="7" name="TextBox 6"/>
          <p:cNvSpPr txBox="1"/>
          <p:nvPr/>
        </p:nvSpPr>
        <p:spPr>
          <a:xfrm>
            <a:off x="3364007" y="6602444"/>
            <a:ext cx="2029353" cy="145424"/>
          </a:xfrm>
          <a:prstGeom prst="rect">
            <a:avLst/>
          </a:prstGeom>
          <a:noFill/>
        </p:spPr>
        <p:txBody>
          <a:bodyPr wrap="square" lIns="0" tIns="0" rIns="0" bIns="0" rtlCol="0">
            <a:spAutoFit/>
          </a:bodyPr>
          <a:lstStyle/>
          <a:p>
            <a:pPr defTabSz="685512" fontAlgn="auto">
              <a:lnSpc>
                <a:spcPct val="90000"/>
              </a:lnSpc>
              <a:spcBef>
                <a:spcPts val="0"/>
              </a:spcBef>
              <a:spcAft>
                <a:spcPts val="0"/>
              </a:spcAft>
            </a:pPr>
            <a:r>
              <a:rPr lang="en-US" sz="1050" b="0" spc="-38" dirty="0" smtClean="0">
                <a:gradFill>
                  <a:gsLst>
                    <a:gs pos="2917">
                      <a:srgbClr val="505050"/>
                    </a:gs>
                    <a:gs pos="30000">
                      <a:srgbClr val="505050"/>
                    </a:gs>
                  </a:gsLst>
                  <a:lin ang="5400000" scaled="0"/>
                </a:gradFill>
                <a:latin typeface="Segoe UI"/>
                <a:ea typeface="+mn-ea"/>
              </a:rPr>
              <a:t>Microsoft Confidential – Under NDA </a:t>
            </a:r>
          </a:p>
        </p:txBody>
      </p:sp>
    </p:spTree>
    <p:extLst>
      <p:ext uri="{BB962C8B-B14F-4D97-AF65-F5344CB8AC3E}">
        <p14:creationId xmlns:p14="http://schemas.microsoft.com/office/powerpoint/2010/main" val="2437966801"/>
      </p:ext>
    </p:extLst>
  </p:cSld>
  <p:clrMap bg1="lt1" tx1="dk1" bg2="lt2" tx2="dk2" accent1="accent1" accent2="accent2" accent3="accent3" accent4="accent4" accent5="accent5" accent6="accent6" hlink="hlink" folHlink="folHlink"/>
  <p:sldLayoutIdLst>
    <p:sldLayoutId id="2147484770" r:id="rId1"/>
    <p:sldLayoutId id="2147484771" r:id="rId2"/>
    <p:sldLayoutId id="2147484772" r:id="rId3"/>
    <p:sldLayoutId id="2147484773" r:id="rId4"/>
    <p:sldLayoutId id="2147484774" r:id="rId5"/>
    <p:sldLayoutId id="2147484775" r:id="rId6"/>
    <p:sldLayoutId id="2147484776" r:id="rId7"/>
    <p:sldLayoutId id="2147484777" r:id="rId8"/>
    <p:sldLayoutId id="2147484778" r:id="rId9"/>
    <p:sldLayoutId id="2147484779" r:id="rId10"/>
    <p:sldLayoutId id="2147484780" r:id="rId11"/>
    <p:sldLayoutId id="2147484781" r:id="rId12"/>
    <p:sldLayoutId id="2147484782" r:id="rId13"/>
    <p:sldLayoutId id="2147484783" r:id="rId14"/>
    <p:sldLayoutId id="2147484784" r:id="rId15"/>
    <p:sldLayoutId id="2147484785" r:id="rId16"/>
    <p:sldLayoutId id="2147484786" r:id="rId17"/>
    <p:sldLayoutId id="2147484787" r:id="rId18"/>
  </p:sldLayoutIdLst>
  <p:transition>
    <p:fade/>
  </p:transition>
  <p:timing>
    <p:tnLst>
      <p:par>
        <p:cTn id="1" dur="indefinite" restart="never" nodeType="tmRoot"/>
      </p:par>
    </p:tnLst>
  </p:timing>
  <p:hf hdr="0" ftr="0" dt="0"/>
  <p:txStyles>
    <p:titleStyle>
      <a:lvl1pPr algn="l" defTabSz="685512" rtl="0" eaLnBrk="1" latinLnBrk="0" hangingPunct="1">
        <a:lnSpc>
          <a:spcPct val="90000"/>
        </a:lnSpc>
        <a:spcBef>
          <a:spcPct val="0"/>
        </a:spcBef>
        <a:buNone/>
        <a:defRPr lang="en-US" sz="4049" b="0" kern="1200" cap="none" spc="-75"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254697" marR="0" indent="-254697" algn="l" defTabSz="685512" rtl="0" eaLnBrk="1" fontAlgn="auto" latinLnBrk="0" hangingPunct="1">
        <a:lnSpc>
          <a:spcPct val="90000"/>
        </a:lnSpc>
        <a:spcBef>
          <a:spcPct val="20000"/>
        </a:spcBef>
        <a:spcAft>
          <a:spcPts val="0"/>
        </a:spcAft>
        <a:buClrTx/>
        <a:buSzPct val="90000"/>
        <a:buFont typeface="Arial" pitchFamily="34" charset="0"/>
        <a:buChar char="•"/>
        <a:tabLst/>
        <a:defRPr sz="2700" kern="1200" spc="-52" baseline="0">
          <a:gradFill>
            <a:gsLst>
              <a:gs pos="1250">
                <a:schemeClr val="tx1"/>
              </a:gs>
              <a:gs pos="100000">
                <a:schemeClr val="tx1"/>
              </a:gs>
            </a:gsLst>
            <a:lin ang="5400000" scaled="0"/>
          </a:gradFill>
          <a:latin typeface="+mj-lt"/>
          <a:ea typeface="+mn-ea"/>
          <a:cs typeface="+mn-cs"/>
        </a:defRPr>
      </a:lvl1pPr>
      <a:lvl2pPr marL="429653" marR="0" indent="-174957" algn="l" defTabSz="685512"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98658" marR="0" indent="-169005" algn="l" defTabSz="685512" rtl="0" eaLnBrk="1" fontAlgn="auto" latinLnBrk="0" hangingPunct="1">
        <a:lnSpc>
          <a:spcPct val="90000"/>
        </a:lnSpc>
        <a:spcBef>
          <a:spcPct val="20000"/>
        </a:spcBef>
        <a:spcAft>
          <a:spcPts val="0"/>
        </a:spcAft>
        <a:buClrTx/>
        <a:buSzPct val="90000"/>
        <a:buFont typeface="Wingdings" pitchFamily="2" charset="2"/>
        <a:buChar char=""/>
        <a:tabLst>
          <a:tab pos="598658" algn="l"/>
        </a:tabLst>
        <a:defRPr sz="1800" kern="1200" spc="0" baseline="0">
          <a:gradFill>
            <a:gsLst>
              <a:gs pos="1250">
                <a:schemeClr val="tx1"/>
              </a:gs>
              <a:gs pos="100000">
                <a:schemeClr val="tx1"/>
              </a:gs>
            </a:gsLst>
            <a:lin ang="5400000" scaled="0"/>
          </a:gradFill>
          <a:latin typeface="+mn-lt"/>
          <a:ea typeface="+mn-ea"/>
          <a:cs typeface="+mn-cs"/>
        </a:defRPr>
      </a:lvl3pPr>
      <a:lvl4pPr marL="772422" marR="0" indent="-173766" algn="l" defTabSz="685512"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941427" marR="0" indent="-169005" algn="l" defTabSz="685512" rtl="0" eaLnBrk="1" fontAlgn="auto" latinLnBrk="0" hangingPunct="1">
        <a:lnSpc>
          <a:spcPct val="90000"/>
        </a:lnSpc>
        <a:spcBef>
          <a:spcPct val="20000"/>
        </a:spcBef>
        <a:spcAft>
          <a:spcPts val="0"/>
        </a:spcAft>
        <a:buClrTx/>
        <a:buSzPct val="90000"/>
        <a:buFont typeface="Wingdings" pitchFamily="2" charset="2"/>
        <a:buChar char=""/>
        <a:tabLst>
          <a:tab pos="941427" algn="l"/>
        </a:tabLst>
        <a:defRPr sz="1500" kern="1200" spc="0" baseline="0">
          <a:gradFill>
            <a:gsLst>
              <a:gs pos="1250">
                <a:schemeClr val="tx1"/>
              </a:gs>
              <a:gs pos="100000">
                <a:schemeClr val="tx1"/>
              </a:gs>
            </a:gsLst>
            <a:lin ang="5400000" scaled="0"/>
          </a:gradFill>
          <a:latin typeface="+mn-lt"/>
          <a:ea typeface="+mn-ea"/>
          <a:cs typeface="+mn-cs"/>
        </a:defRPr>
      </a:lvl5pPr>
      <a:lvl6pPr marL="1885158" indent="-171379" algn="l" defTabSz="68551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914" indent="-171379" algn="l" defTabSz="68551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671" indent="-171379" algn="l" defTabSz="68551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427" indent="-171379" algn="l" defTabSz="68551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512" rtl="0" eaLnBrk="1" latinLnBrk="0" hangingPunct="1">
        <a:defRPr sz="1350" kern="1200">
          <a:solidFill>
            <a:schemeClr val="tx1"/>
          </a:solidFill>
          <a:latin typeface="+mn-lt"/>
          <a:ea typeface="+mn-ea"/>
          <a:cs typeface="+mn-cs"/>
        </a:defRPr>
      </a:lvl1pPr>
      <a:lvl2pPr marL="342756" algn="l" defTabSz="685512" rtl="0" eaLnBrk="1" latinLnBrk="0" hangingPunct="1">
        <a:defRPr sz="1350" kern="1200">
          <a:solidFill>
            <a:schemeClr val="tx1"/>
          </a:solidFill>
          <a:latin typeface="+mn-lt"/>
          <a:ea typeface="+mn-ea"/>
          <a:cs typeface="+mn-cs"/>
        </a:defRPr>
      </a:lvl2pPr>
      <a:lvl3pPr marL="685512" algn="l" defTabSz="685512" rtl="0" eaLnBrk="1" latinLnBrk="0" hangingPunct="1">
        <a:defRPr sz="1350" kern="1200">
          <a:solidFill>
            <a:schemeClr val="tx1"/>
          </a:solidFill>
          <a:latin typeface="+mn-lt"/>
          <a:ea typeface="+mn-ea"/>
          <a:cs typeface="+mn-cs"/>
        </a:defRPr>
      </a:lvl3pPr>
      <a:lvl4pPr marL="1028269" algn="l" defTabSz="685512" rtl="0" eaLnBrk="1" latinLnBrk="0" hangingPunct="1">
        <a:defRPr sz="1350" kern="1200">
          <a:solidFill>
            <a:schemeClr val="tx1"/>
          </a:solidFill>
          <a:latin typeface="+mn-lt"/>
          <a:ea typeface="+mn-ea"/>
          <a:cs typeface="+mn-cs"/>
        </a:defRPr>
      </a:lvl4pPr>
      <a:lvl5pPr marL="1371023" algn="l" defTabSz="685512" rtl="0" eaLnBrk="1" latinLnBrk="0" hangingPunct="1">
        <a:defRPr sz="1350" kern="1200">
          <a:solidFill>
            <a:schemeClr val="tx1"/>
          </a:solidFill>
          <a:latin typeface="+mn-lt"/>
          <a:ea typeface="+mn-ea"/>
          <a:cs typeface="+mn-cs"/>
        </a:defRPr>
      </a:lvl5pPr>
      <a:lvl6pPr marL="1713780" algn="l" defTabSz="685512" rtl="0" eaLnBrk="1" latinLnBrk="0" hangingPunct="1">
        <a:defRPr sz="1350" kern="1200">
          <a:solidFill>
            <a:schemeClr val="tx1"/>
          </a:solidFill>
          <a:latin typeface="+mn-lt"/>
          <a:ea typeface="+mn-ea"/>
          <a:cs typeface="+mn-cs"/>
        </a:defRPr>
      </a:lvl6pPr>
      <a:lvl7pPr marL="2056536" algn="l" defTabSz="685512" rtl="0" eaLnBrk="1" latinLnBrk="0" hangingPunct="1">
        <a:defRPr sz="1350" kern="1200">
          <a:solidFill>
            <a:schemeClr val="tx1"/>
          </a:solidFill>
          <a:latin typeface="+mn-lt"/>
          <a:ea typeface="+mn-ea"/>
          <a:cs typeface="+mn-cs"/>
        </a:defRPr>
      </a:lvl7pPr>
      <a:lvl8pPr marL="2399291" algn="l" defTabSz="685512" rtl="0" eaLnBrk="1" latinLnBrk="0" hangingPunct="1">
        <a:defRPr sz="1350" kern="1200">
          <a:solidFill>
            <a:schemeClr val="tx1"/>
          </a:solidFill>
          <a:latin typeface="+mn-lt"/>
          <a:ea typeface="+mn-ea"/>
          <a:cs typeface="+mn-cs"/>
        </a:defRPr>
      </a:lvl8pPr>
      <a:lvl9pPr marL="2742048" algn="l" defTabSz="685512"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BFBFB">
            <a:alpha val="0"/>
          </a:srgbClr>
        </a:solidFill>
        <a:effectLst/>
      </p:bgPr>
    </p:bg>
    <p:spTree>
      <p:nvGrpSpPr>
        <p:cNvPr id="1" name=""/>
        <p:cNvGrpSpPr/>
        <p:nvPr/>
      </p:nvGrpSpPr>
      <p:grpSpPr>
        <a:xfrm>
          <a:off x="0" y="0"/>
          <a:ext cx="0" cy="0"/>
          <a:chOff x="0" y="0"/>
          <a:chExt cx="0" cy="0"/>
        </a:xfrm>
      </p:grpSpPr>
      <p:sp>
        <p:nvSpPr>
          <p:cNvPr id="8" name="Title Placeholder 7"/>
          <p:cNvSpPr>
            <a:spLocks noGrp="1"/>
          </p:cNvSpPr>
          <p:nvPr>
            <p:ph type="title"/>
          </p:nvPr>
        </p:nvSpPr>
        <p:spPr>
          <a:xfrm>
            <a:off x="363540" y="1718735"/>
            <a:ext cx="1939396" cy="4146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lnSpc>
                <a:spcPct val="90000"/>
              </a:lnSpc>
              <a:spcAft>
                <a:spcPct val="0"/>
              </a:spcAft>
            </a:pPr>
            <a:r>
              <a:rPr lang="en-US" smtClean="0"/>
              <a:t>Click to edit Master title style</a:t>
            </a:r>
            <a:endParaRPr lang="en-US" dirty="0"/>
          </a:p>
        </p:txBody>
      </p:sp>
      <p:sp>
        <p:nvSpPr>
          <p:cNvPr id="17" name="Text Placeholder 16"/>
          <p:cNvSpPr>
            <a:spLocks noGrp="1"/>
          </p:cNvSpPr>
          <p:nvPr>
            <p:ph type="body" idx="1"/>
          </p:nvPr>
        </p:nvSpPr>
        <p:spPr>
          <a:xfrm>
            <a:off x="2743205" y="1718738"/>
            <a:ext cx="5962651" cy="4146551"/>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73573943"/>
      </p:ext>
    </p:extLst>
  </p:cSld>
  <p:clrMap bg1="lt1" tx1="dk1" bg2="lt2" tx2="dk2" accent1="accent1" accent2="accent2" accent3="accent3" accent4="accent4" accent5="accent5" accent6="accent6" hlink="hlink" folHlink="folHlink"/>
  <p:sldLayoutIdLst>
    <p:sldLayoutId id="2147484789" r:id="rId1"/>
    <p:sldLayoutId id="2147484790" r:id="rId2"/>
  </p:sldLayoutIdLst>
  <p:timing>
    <p:tnLst>
      <p:par>
        <p:cTn id="1" dur="indefinite" restart="never" nodeType="tmRoot"/>
      </p:par>
    </p:tnLst>
  </p:timing>
  <p:hf hdr="0" ftr="0" dt="0"/>
  <p:txStyles>
    <p:titleStyle>
      <a:lvl1pPr algn="l" defTabSz="914088" rtl="0" eaLnBrk="1" latinLnBrk="0" hangingPunct="1">
        <a:spcBef>
          <a:spcPct val="0"/>
        </a:spcBef>
        <a:spcAft>
          <a:spcPts val="1200"/>
        </a:spcAft>
        <a:buNone/>
        <a:defRPr lang="en-US" sz="1397" kern="1200" dirty="0" smtClean="0">
          <a:solidFill>
            <a:schemeClr val="bg1"/>
          </a:solidFill>
          <a:latin typeface="+mj-lt"/>
          <a:ea typeface="ＭＳ Ｐゴシック" charset="0"/>
          <a:cs typeface="Segoe UI" pitchFamily="34" charset="0"/>
        </a:defRPr>
      </a:lvl1pPr>
    </p:titleStyle>
    <p:bodyStyle>
      <a:lvl1pPr marL="0" indent="0" algn="l" defTabSz="914088" rtl="0" eaLnBrk="1" fontAlgn="base" latinLnBrk="0" hangingPunct="1">
        <a:lnSpc>
          <a:spcPct val="95000"/>
        </a:lnSpc>
        <a:spcBef>
          <a:spcPts val="0"/>
        </a:spcBef>
        <a:spcAft>
          <a:spcPts val="1200"/>
        </a:spcAft>
        <a:buClr>
          <a:schemeClr val="accent1"/>
        </a:buClr>
        <a:buSzPct val="110000"/>
        <a:buFont typeface="Avenir LT Pro 45 Book" charset="0"/>
        <a:buNone/>
        <a:defRPr lang="en-US" sz="2427" b="0" kern="1200" cap="none" baseline="0" dirty="0" smtClean="0">
          <a:solidFill>
            <a:schemeClr val="bg1"/>
          </a:solidFill>
          <a:latin typeface="Segoe UI Light"/>
          <a:ea typeface="ＭＳ Ｐゴシック" charset="0"/>
          <a:cs typeface="Segoe UI Light"/>
        </a:defRPr>
      </a:lvl1pPr>
      <a:lvl2pPr marL="225347" indent="-225347" algn="l" defTabSz="914088" rtl="0" eaLnBrk="1" latinLnBrk="0" hangingPunct="1">
        <a:lnSpc>
          <a:spcPct val="95000"/>
        </a:lnSpc>
        <a:spcBef>
          <a:spcPts val="0"/>
        </a:spcBef>
        <a:spcAft>
          <a:spcPts val="1200"/>
        </a:spcAft>
        <a:buClrTx/>
        <a:buFont typeface="Arial" pitchFamily="34" charset="0"/>
        <a:buChar char="•"/>
        <a:defRPr lang="en-US" sz="1397" b="0" kern="1200" dirty="0" smtClean="0">
          <a:solidFill>
            <a:schemeClr val="bg1"/>
          </a:solidFill>
          <a:latin typeface="+mn-lt"/>
          <a:ea typeface="+mn-ea"/>
          <a:cs typeface="+mn-cs"/>
        </a:defRPr>
      </a:lvl2pPr>
      <a:lvl3pPr marL="457044" indent="-228524" algn="l" defTabSz="914088" rtl="0" eaLnBrk="1" latinLnBrk="0" hangingPunct="1">
        <a:lnSpc>
          <a:spcPct val="95000"/>
        </a:lnSpc>
        <a:spcBef>
          <a:spcPts val="0"/>
        </a:spcBef>
        <a:spcAft>
          <a:spcPts val="1200"/>
        </a:spcAft>
        <a:buFont typeface="Lucida Grande"/>
        <a:buChar char="-"/>
        <a:defRPr lang="en-US" sz="1397" b="0" kern="1200" dirty="0" smtClean="0">
          <a:solidFill>
            <a:schemeClr val="bg1"/>
          </a:solidFill>
          <a:latin typeface="+mn-lt"/>
          <a:ea typeface="+mn-ea"/>
          <a:cs typeface="+mn-cs"/>
        </a:defRPr>
      </a:lvl3pPr>
      <a:lvl4pPr marL="626849" indent="-169805" algn="l" defTabSz="914088" rtl="0" eaLnBrk="1" latinLnBrk="0" hangingPunct="1">
        <a:lnSpc>
          <a:spcPct val="95000"/>
        </a:lnSpc>
        <a:spcBef>
          <a:spcPts val="0"/>
        </a:spcBef>
        <a:spcAft>
          <a:spcPts val="1200"/>
        </a:spcAft>
        <a:buFont typeface="Arial" pitchFamily="34" charset="0"/>
        <a:buChar char="•"/>
        <a:defRPr lang="en-US" sz="1397" b="0" kern="1200" dirty="0" smtClean="0">
          <a:solidFill>
            <a:schemeClr val="bg1"/>
          </a:solidFill>
          <a:latin typeface="+mn-lt"/>
          <a:ea typeface="+mn-ea"/>
          <a:cs typeface="+mn-cs"/>
        </a:defRPr>
      </a:lvl4pPr>
      <a:lvl5pPr marL="914088" indent="-228524" algn="l" defTabSz="914088" rtl="0" eaLnBrk="1" latinLnBrk="0" hangingPunct="1">
        <a:lnSpc>
          <a:spcPct val="95000"/>
        </a:lnSpc>
        <a:spcBef>
          <a:spcPts val="0"/>
        </a:spcBef>
        <a:spcAft>
          <a:spcPts val="1200"/>
        </a:spcAft>
        <a:buFont typeface="Lucida Grande"/>
        <a:buChar char="-"/>
        <a:defRPr lang="en-US" sz="1397" b="0" kern="1200" dirty="0">
          <a:solidFill>
            <a:schemeClr val="bg1"/>
          </a:solidFill>
          <a:latin typeface="+mn-lt"/>
          <a:ea typeface="+mn-ea"/>
          <a:cs typeface="+mn-cs"/>
        </a:defRPr>
      </a:lvl5pPr>
      <a:lvl6pPr marL="2513739" indent="-228524" algn="l" defTabSz="914088" rtl="0" eaLnBrk="1" latinLnBrk="0" hangingPunct="1">
        <a:spcBef>
          <a:spcPct val="20000"/>
        </a:spcBef>
        <a:buFont typeface="Arial" pitchFamily="34" charset="0"/>
        <a:buChar char="•"/>
        <a:defRPr sz="2132" kern="1200">
          <a:solidFill>
            <a:schemeClr val="tx1"/>
          </a:solidFill>
          <a:latin typeface="+mn-lt"/>
          <a:ea typeface="+mn-ea"/>
          <a:cs typeface="+mn-cs"/>
        </a:defRPr>
      </a:lvl6pPr>
      <a:lvl7pPr marL="2970783" indent="-228524" algn="l" defTabSz="914088" rtl="0" eaLnBrk="1" latinLnBrk="0" hangingPunct="1">
        <a:spcBef>
          <a:spcPct val="20000"/>
        </a:spcBef>
        <a:buFont typeface="Arial" pitchFamily="34" charset="0"/>
        <a:buChar char="•"/>
        <a:defRPr sz="2132" kern="1200">
          <a:solidFill>
            <a:schemeClr val="tx1"/>
          </a:solidFill>
          <a:latin typeface="+mn-lt"/>
          <a:ea typeface="+mn-ea"/>
          <a:cs typeface="+mn-cs"/>
        </a:defRPr>
      </a:lvl7pPr>
      <a:lvl8pPr marL="3427827" indent="-228524" algn="l" defTabSz="914088" rtl="0" eaLnBrk="1" latinLnBrk="0" hangingPunct="1">
        <a:spcBef>
          <a:spcPct val="20000"/>
        </a:spcBef>
        <a:buFont typeface="Arial" pitchFamily="34" charset="0"/>
        <a:buChar char="•"/>
        <a:defRPr sz="2132" kern="1200">
          <a:solidFill>
            <a:schemeClr val="tx1"/>
          </a:solidFill>
          <a:latin typeface="+mn-lt"/>
          <a:ea typeface="+mn-ea"/>
          <a:cs typeface="+mn-cs"/>
        </a:defRPr>
      </a:lvl8pPr>
      <a:lvl9pPr marL="3884870" indent="-228524" algn="l" defTabSz="914088" rtl="0" eaLnBrk="1" latinLnBrk="0" hangingPunct="1">
        <a:spcBef>
          <a:spcPct val="20000"/>
        </a:spcBef>
        <a:buFont typeface="Arial" pitchFamily="34" charset="0"/>
        <a:buChar char="•"/>
        <a:defRPr sz="2132" kern="1200">
          <a:solidFill>
            <a:schemeClr val="tx1"/>
          </a:solidFill>
          <a:latin typeface="+mn-lt"/>
          <a:ea typeface="+mn-ea"/>
          <a:cs typeface="+mn-cs"/>
        </a:defRPr>
      </a:lvl9pPr>
    </p:bodyStyle>
    <p:otherStyle>
      <a:defPPr>
        <a:defRPr lang="en-US"/>
      </a:defPPr>
      <a:lvl1pPr marL="0" algn="l" defTabSz="914088" rtl="0" eaLnBrk="1" latinLnBrk="0" hangingPunct="1">
        <a:defRPr sz="1765" kern="1200">
          <a:solidFill>
            <a:schemeClr val="tx1"/>
          </a:solidFill>
          <a:latin typeface="+mn-lt"/>
          <a:ea typeface="+mn-ea"/>
          <a:cs typeface="+mn-cs"/>
        </a:defRPr>
      </a:lvl1pPr>
      <a:lvl2pPr marL="457044" algn="l" defTabSz="914088" rtl="0" eaLnBrk="1" latinLnBrk="0" hangingPunct="1">
        <a:defRPr sz="1765" kern="1200">
          <a:solidFill>
            <a:schemeClr val="tx1"/>
          </a:solidFill>
          <a:latin typeface="+mn-lt"/>
          <a:ea typeface="+mn-ea"/>
          <a:cs typeface="+mn-cs"/>
        </a:defRPr>
      </a:lvl2pPr>
      <a:lvl3pPr marL="914088" algn="l" defTabSz="914088" rtl="0" eaLnBrk="1" latinLnBrk="0" hangingPunct="1">
        <a:defRPr sz="1765" kern="1200">
          <a:solidFill>
            <a:schemeClr val="tx1"/>
          </a:solidFill>
          <a:latin typeface="+mn-lt"/>
          <a:ea typeface="+mn-ea"/>
          <a:cs typeface="+mn-cs"/>
        </a:defRPr>
      </a:lvl3pPr>
      <a:lvl4pPr marL="1371131" algn="l" defTabSz="914088" rtl="0" eaLnBrk="1" latinLnBrk="0" hangingPunct="1">
        <a:defRPr sz="1765" kern="1200">
          <a:solidFill>
            <a:schemeClr val="tx1"/>
          </a:solidFill>
          <a:latin typeface="+mn-lt"/>
          <a:ea typeface="+mn-ea"/>
          <a:cs typeface="+mn-cs"/>
        </a:defRPr>
      </a:lvl4pPr>
      <a:lvl5pPr marL="1828174" algn="l" defTabSz="914088" rtl="0" eaLnBrk="1" latinLnBrk="0" hangingPunct="1">
        <a:defRPr sz="1765" kern="1200">
          <a:solidFill>
            <a:schemeClr val="tx1"/>
          </a:solidFill>
          <a:latin typeface="+mn-lt"/>
          <a:ea typeface="+mn-ea"/>
          <a:cs typeface="+mn-cs"/>
        </a:defRPr>
      </a:lvl5pPr>
      <a:lvl6pPr marL="2285217" algn="l" defTabSz="914088" rtl="0" eaLnBrk="1" latinLnBrk="0" hangingPunct="1">
        <a:defRPr sz="1765" kern="1200">
          <a:solidFill>
            <a:schemeClr val="tx1"/>
          </a:solidFill>
          <a:latin typeface="+mn-lt"/>
          <a:ea typeface="+mn-ea"/>
          <a:cs typeface="+mn-cs"/>
        </a:defRPr>
      </a:lvl6pPr>
      <a:lvl7pPr marL="2742260" algn="l" defTabSz="914088" rtl="0" eaLnBrk="1" latinLnBrk="0" hangingPunct="1">
        <a:defRPr sz="1765" kern="1200">
          <a:solidFill>
            <a:schemeClr val="tx1"/>
          </a:solidFill>
          <a:latin typeface="+mn-lt"/>
          <a:ea typeface="+mn-ea"/>
          <a:cs typeface="+mn-cs"/>
        </a:defRPr>
      </a:lvl7pPr>
      <a:lvl8pPr marL="3199305" algn="l" defTabSz="914088" rtl="0" eaLnBrk="1" latinLnBrk="0" hangingPunct="1">
        <a:defRPr sz="1765" kern="1200">
          <a:solidFill>
            <a:schemeClr val="tx1"/>
          </a:solidFill>
          <a:latin typeface="+mn-lt"/>
          <a:ea typeface="+mn-ea"/>
          <a:cs typeface="+mn-cs"/>
        </a:defRPr>
      </a:lvl8pPr>
      <a:lvl9pPr marL="3656348" algn="l" defTabSz="914088" rtl="0" eaLnBrk="1" latinLnBrk="0" hangingPunct="1">
        <a:defRPr sz="176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89511"/>
            <a:ext cx="874188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01931" y="1189178"/>
            <a:ext cx="8740140" cy="1587999"/>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rot="5400000">
            <a:off x="6049233" y="3100602"/>
            <a:ext cx="6858623" cy="657418"/>
          </a:xfrm>
          <a:prstGeom prst="rect">
            <a:avLst/>
          </a:prstGeom>
        </p:spPr>
      </p:pic>
    </p:spTree>
    <p:extLst>
      <p:ext uri="{BB962C8B-B14F-4D97-AF65-F5344CB8AC3E}">
        <p14:creationId xmlns:p14="http://schemas.microsoft.com/office/powerpoint/2010/main" val="420080784"/>
      </p:ext>
    </p:extLst>
  </p:cSld>
  <p:clrMap bg1="dk1" tx1="lt1" bg2="dk2" tx2="lt2" accent1="accent1" accent2="accent2" accent3="accent3" accent4="accent4" accent5="accent5" accent6="accent6" hlink="hlink" folHlink="folHlink"/>
  <p:sldLayoutIdLst>
    <p:sldLayoutId id="2147484794" r:id="rId1"/>
    <p:sldLayoutId id="2147484795" r:id="rId2"/>
    <p:sldLayoutId id="2147484796" r:id="rId3"/>
    <p:sldLayoutId id="2147484797" r:id="rId4"/>
    <p:sldLayoutId id="2147484798" r:id="rId5"/>
    <p:sldLayoutId id="2147484799" r:id="rId6"/>
    <p:sldLayoutId id="2147484800" r:id="rId7"/>
    <p:sldLayoutId id="2147484801" r:id="rId8"/>
    <p:sldLayoutId id="2147484802" r:id="rId9"/>
    <p:sldLayoutId id="2147484803" r:id="rId10"/>
    <p:sldLayoutId id="2147484804" r:id="rId11"/>
    <p:sldLayoutId id="2147484805" r:id="rId12"/>
    <p:sldLayoutId id="2147484806" r:id="rId13"/>
    <p:sldLayoutId id="2147484807" r:id="rId14"/>
    <p:sldLayoutId id="2147484808" r:id="rId15"/>
    <p:sldLayoutId id="2147484809" r:id="rId16"/>
    <p:sldLayoutId id="2147484810" r:id="rId17"/>
    <p:sldLayoutId id="2147484811" r:id="rId18"/>
    <p:sldLayoutId id="2147484812" r:id="rId19"/>
    <p:sldLayoutId id="2147484813" r:id="rId20"/>
    <p:sldLayoutId id="2147484814" r:id="rId21"/>
    <p:sldLayoutId id="2147484815" r:id="rId22"/>
    <p:sldLayoutId id="2147484816" r:id="rId23"/>
    <p:sldLayoutId id="2147484817" r:id="rId24"/>
  </p:sldLayoutIdLst>
  <p:transition>
    <p:fade/>
  </p:transition>
  <p:timing>
    <p:tnLst>
      <p:par>
        <p:cTn id="1" dur="indefinite" restart="never" nodeType="tmRoot"/>
      </p:par>
    </p:tnLst>
  </p:timing>
  <p:hf hdr="0" ftr="0" dt="0"/>
  <p:txStyles>
    <p:titleStyle>
      <a:lvl1pPr algn="l" defTabSz="685845" rtl="0" eaLnBrk="1" latinLnBrk="0" hangingPunct="1">
        <a:lnSpc>
          <a:spcPct val="90000"/>
        </a:lnSpc>
        <a:spcBef>
          <a:spcPct val="0"/>
        </a:spcBef>
        <a:buNone/>
        <a:defRPr lang="en-US" sz="3529" b="1" kern="1200" cap="none" spc="-75" baseline="0" dirty="0" smtClean="0">
          <a:ln w="3175">
            <a:noFill/>
          </a:ln>
          <a:gradFill>
            <a:gsLst>
              <a:gs pos="1250">
                <a:schemeClr val="tx1"/>
              </a:gs>
              <a:gs pos="100000">
                <a:schemeClr val="tx1"/>
              </a:gs>
            </a:gsLst>
            <a:lin ang="5400000" scaled="0"/>
          </a:gradFill>
          <a:effectLst/>
          <a:latin typeface="+mn-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n-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4294967295" orient="horz" pos="187">
          <p15:clr>
            <a:srgbClr val="5ACBF0"/>
          </p15:clr>
        </p15:guide>
        <p15:guide id="4294967295" pos="173">
          <p15:clr>
            <a:srgbClr val="5ACBF0"/>
          </p15:clr>
        </p15:guide>
        <p15:guide id="4294967295" pos="749">
          <p15:clr>
            <a:srgbClr val="5ACBF0"/>
          </p15:clr>
        </p15:guide>
        <p15:guide id="4294967295" pos="1325">
          <p15:clr>
            <a:srgbClr val="5ACBF0"/>
          </p15:clr>
        </p15:guide>
        <p15:guide id="4294967295" pos="1901">
          <p15:clr>
            <a:srgbClr val="5ACBF0"/>
          </p15:clr>
        </p15:guide>
        <p15:guide id="4294967295" pos="2477">
          <p15:clr>
            <a:srgbClr val="5ACBF0"/>
          </p15:clr>
        </p15:guide>
        <p15:guide id="4294967295" pos="3053">
          <p15:clr>
            <a:srgbClr val="5ACBF0"/>
          </p15:clr>
        </p15:guide>
        <p15:guide id="4294967295" pos="3629">
          <p15:clr>
            <a:srgbClr val="5ACBF0"/>
          </p15:clr>
        </p15:guide>
        <p15:guide id="4294967295" pos="4205">
          <p15:clr>
            <a:srgbClr val="5ACBF0"/>
          </p15:clr>
        </p15:guide>
        <p15:guide id="4294967295" pos="4781">
          <p15:clr>
            <a:srgbClr val="5ACBF0"/>
          </p15:clr>
        </p15:guide>
        <p15:guide id="4294967295" pos="5357">
          <p15:clr>
            <a:srgbClr val="5ACBF0"/>
          </p15:clr>
        </p15:guide>
        <p15:guide id="4294967295" pos="5933">
          <p15:clr>
            <a:srgbClr val="5ACBF0"/>
          </p15:clr>
        </p15:guide>
        <p15:guide id="4294967295" pos="6509">
          <p15:clr>
            <a:srgbClr val="5ACBF0"/>
          </p15:clr>
        </p15:guide>
        <p15:guide id="4294967295" pos="7085">
          <p15:clr>
            <a:srgbClr val="5ACBF0"/>
          </p15:clr>
        </p15:guide>
        <p15:guide id="4294967295" pos="7661">
          <p15:clr>
            <a:srgbClr val="5ACBF0"/>
          </p15:clr>
        </p15:guide>
        <p15:guide id="4294967295" pos="288">
          <p15:clr>
            <a:srgbClr val="C35EA4"/>
          </p15:clr>
        </p15:guide>
        <p15:guide id="4294967295" pos="7546">
          <p15:clr>
            <a:srgbClr val="C35EA4"/>
          </p15:clr>
        </p15:guide>
        <p15:guide id="4294967295" orient="horz" pos="763">
          <p15:clr>
            <a:srgbClr val="5ACBF0"/>
          </p15:clr>
        </p15:guide>
        <p15:guide id="4294967295" orient="horz" pos="1339">
          <p15:clr>
            <a:srgbClr val="5ACBF0"/>
          </p15:clr>
        </p15:guide>
        <p15:guide id="4294967295" orient="horz" pos="1915">
          <p15:clr>
            <a:srgbClr val="5ACBF0"/>
          </p15:clr>
        </p15:guide>
        <p15:guide id="4294967295" orient="horz" pos="2491">
          <p15:clr>
            <a:srgbClr val="5ACBF0"/>
          </p15:clr>
        </p15:guide>
        <p15:guide id="4294967295" orient="horz" pos="3067">
          <p15:clr>
            <a:srgbClr val="5ACBF0"/>
          </p15:clr>
        </p15:guide>
        <p15:guide id="4294967295" orient="horz" pos="3643">
          <p15:clr>
            <a:srgbClr val="5ACBF0"/>
          </p15:clr>
        </p15:guide>
        <p15:guide id="4294967295" orient="horz" pos="4219">
          <p15:clr>
            <a:srgbClr val="5ACBF0"/>
          </p15:clr>
        </p15:guide>
        <p15:guide id="4294967295" orient="horz" pos="302">
          <p15:clr>
            <a:srgbClr val="C35EA4"/>
          </p15:clr>
        </p15:guide>
        <p15:guide id="4294967295"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hyperlink" Target="http://www.adobe.com/products/eulas/#server" TargetMode="Externa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hyperlink" Target="http://www.microsoftvolumelicensing.com/userights/DocumentSearch.aspx?Mode=3&amp;DocumentTypeId=3" TargetMode="External"/><Relationship Id="rId5" Type="http://schemas.openxmlformats.org/officeDocument/2006/relationships/hyperlink" Target="http://www.microsoftvolumelicensing.com/userights/DocumentSearch.aspx?Mode=3&amp;DocumentTypeId=1" TargetMode="External"/><Relationship Id="rId4" Type="http://schemas.openxmlformats.org/officeDocument/2006/relationships/hyperlink" Target="http://www.microsoft.com/en-us/legal/intellectualproperty/UseTerms/default.aspx"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8.png"/><Relationship Id="rId7" Type="http://schemas.openxmlformats.org/officeDocument/2006/relationships/image" Target="../media/image82.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81.png"/><Relationship Id="rId11" Type="http://schemas.openxmlformats.org/officeDocument/2006/relationships/image" Target="../media/image86.png"/><Relationship Id="rId5" Type="http://schemas.openxmlformats.org/officeDocument/2006/relationships/image" Target="../media/image80.png"/><Relationship Id="rId10" Type="http://schemas.openxmlformats.org/officeDocument/2006/relationships/image" Target="../media/image85.png"/><Relationship Id="rId4" Type="http://schemas.openxmlformats.org/officeDocument/2006/relationships/image" Target="../media/image79.png"/><Relationship Id="rId9" Type="http://schemas.openxmlformats.org/officeDocument/2006/relationships/image" Target="../media/image84.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jpeg"/><Relationship Id="rId1" Type="http://schemas.openxmlformats.org/officeDocument/2006/relationships/slideLayout" Target="../slideLayouts/slideLayout2.xml"/><Relationship Id="rId4" Type="http://schemas.openxmlformats.org/officeDocument/2006/relationships/image" Target="../media/image89.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90.emf"/><Relationship Id="rId2" Type="http://schemas.openxmlformats.org/officeDocument/2006/relationships/slideLayout" Target="../slideLayouts/slideLayout12.xml"/><Relationship Id="rId1" Type="http://schemas.openxmlformats.org/officeDocument/2006/relationships/vmlDrawing" Target="../drawings/vmlDrawing1.vml"/><Relationship Id="rId6" Type="http://schemas.openxmlformats.org/officeDocument/2006/relationships/package" Target="../embeddings/Microsoft_Excel_Worksheet1.xlsx"/><Relationship Id="rId5" Type="http://schemas.openxmlformats.org/officeDocument/2006/relationships/oleObject" Target="../embeddings/oleObject1.bin"/><Relationship Id="rId4" Type="http://schemas.openxmlformats.org/officeDocument/2006/relationships/image" Target="../media/image91.png"/></Relationships>
</file>

<file path=ppt/slides/_rels/slide17.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93.png"/></Relationships>
</file>

<file path=ppt/slides/_rels/slide1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5.png"/><Relationship Id="rId7" Type="http://schemas.openxmlformats.org/officeDocument/2006/relationships/image" Target="../media/image99.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 Id="rId9" Type="http://schemas.openxmlformats.org/officeDocument/2006/relationships/image" Target="../media/image101.png"/></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xml"/><Relationship Id="rId1" Type="http://schemas.openxmlformats.org/officeDocument/2006/relationships/vmlDrawing" Target="../drawings/vmlDrawing2.vml"/><Relationship Id="rId6" Type="http://schemas.openxmlformats.org/officeDocument/2006/relationships/image" Target="../media/image102.emf"/><Relationship Id="rId5" Type="http://schemas.openxmlformats.org/officeDocument/2006/relationships/oleObject" Target="../embeddings/oleObject2.bin"/><Relationship Id="rId4" Type="http://schemas.openxmlformats.org/officeDocument/2006/relationships/notesSlide" Target="../notesSlides/notesSlide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106.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05.png"/><Relationship Id="rId5" Type="http://schemas.openxmlformats.org/officeDocument/2006/relationships/image" Target="../media/image104.jpeg"/><Relationship Id="rId4" Type="http://schemas.openxmlformats.org/officeDocument/2006/relationships/image" Target="../media/image103.png"/></Relationships>
</file>

<file path=ppt/slides/_rels/slide31.xml.rels><?xml version="1.0" encoding="UTF-8" standalone="yes"?>
<Relationships xmlns="http://schemas.openxmlformats.org/package/2006/relationships"><Relationship Id="rId3" Type="http://schemas.openxmlformats.org/officeDocument/2006/relationships/image" Target="../media/image107.tiff"/><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3" Type="http://schemas.openxmlformats.org/officeDocument/2006/relationships/image" Target="../media/image110.png"/><Relationship Id="rId7" Type="http://schemas.openxmlformats.org/officeDocument/2006/relationships/image" Target="../media/image114.png"/><Relationship Id="rId2" Type="http://schemas.openxmlformats.org/officeDocument/2006/relationships/notesSlide" Target="../notesSlides/notesSlide12.xml"/><Relationship Id="rId1" Type="http://schemas.openxmlformats.org/officeDocument/2006/relationships/slideLayout" Target="../slideLayouts/slideLayout15.xml"/><Relationship Id="rId6" Type="http://schemas.openxmlformats.org/officeDocument/2006/relationships/image" Target="../media/image113.png"/><Relationship Id="rId5" Type="http://schemas.openxmlformats.org/officeDocument/2006/relationships/image" Target="../media/image112.png"/><Relationship Id="rId4" Type="http://schemas.openxmlformats.org/officeDocument/2006/relationships/image" Target="../media/image111.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8" Type="http://schemas.openxmlformats.org/officeDocument/2006/relationships/image" Target="../media/image123.png"/><Relationship Id="rId3" Type="http://schemas.openxmlformats.org/officeDocument/2006/relationships/image" Target="../media/image118.jpeg"/><Relationship Id="rId7" Type="http://schemas.openxmlformats.org/officeDocument/2006/relationships/image" Target="../media/image122.png"/><Relationship Id="rId2" Type="http://schemas.openxmlformats.org/officeDocument/2006/relationships/notesSlide" Target="../notesSlides/notesSlide15.xml"/><Relationship Id="rId1" Type="http://schemas.openxmlformats.org/officeDocument/2006/relationships/slideLayout" Target="../slideLayouts/slideLayout16.xml"/><Relationship Id="rId6" Type="http://schemas.openxmlformats.org/officeDocument/2006/relationships/image" Target="../media/image121.jpeg"/><Relationship Id="rId11" Type="http://schemas.openxmlformats.org/officeDocument/2006/relationships/image" Target="../media/image126.png"/><Relationship Id="rId5" Type="http://schemas.openxmlformats.org/officeDocument/2006/relationships/image" Target="../media/image120.jpeg"/><Relationship Id="rId10" Type="http://schemas.openxmlformats.org/officeDocument/2006/relationships/image" Target="../media/image125.png"/><Relationship Id="rId4" Type="http://schemas.openxmlformats.org/officeDocument/2006/relationships/image" Target="../media/image119.jpeg"/><Relationship Id="rId9" Type="http://schemas.openxmlformats.org/officeDocument/2006/relationships/image" Target="../media/image124.png"/></Relationships>
</file>

<file path=ppt/slides/_rels/slide42.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128.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tags" Target="../tags/tag6.xml"/><Relationship Id="rId7" Type="http://schemas.openxmlformats.org/officeDocument/2006/relationships/tags" Target="../tags/tag10.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tags" Target="../tags/tag7.xml"/></Relationships>
</file>

<file path=ppt/slides/_rels/slide4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6.xml.rels><?xml version="1.0" encoding="UTF-8" standalone="yes"?>
<Relationships xmlns="http://schemas.openxmlformats.org/package/2006/relationships"><Relationship Id="rId2" Type="http://schemas.openxmlformats.org/officeDocument/2006/relationships/image" Target="../media/image129.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17.xml"/><Relationship Id="rId1" Type="http://schemas.openxmlformats.org/officeDocument/2006/relationships/slideLayout" Target="../slideLayouts/slideLayout14.xml"/><Relationship Id="rId4" Type="http://schemas.openxmlformats.org/officeDocument/2006/relationships/image" Target="../media/image131.png"/></Relationships>
</file>

<file path=ppt/slides/_rels/slide48.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18" Type="http://schemas.openxmlformats.org/officeDocument/2006/relationships/image" Target="../media/image32.png"/><Relationship Id="rId26" Type="http://schemas.openxmlformats.org/officeDocument/2006/relationships/image" Target="../media/image40.png"/><Relationship Id="rId3" Type="http://schemas.openxmlformats.org/officeDocument/2006/relationships/image" Target="../media/image17.png"/><Relationship Id="rId21" Type="http://schemas.openxmlformats.org/officeDocument/2006/relationships/image" Target="../media/image35.png"/><Relationship Id="rId7" Type="http://schemas.openxmlformats.org/officeDocument/2006/relationships/image" Target="../media/image21.png"/><Relationship Id="rId12" Type="http://schemas.openxmlformats.org/officeDocument/2006/relationships/image" Target="../media/image26.png"/><Relationship Id="rId17" Type="http://schemas.openxmlformats.org/officeDocument/2006/relationships/image" Target="../media/image31.png"/><Relationship Id="rId25" Type="http://schemas.openxmlformats.org/officeDocument/2006/relationships/image" Target="../media/image39.png"/><Relationship Id="rId2" Type="http://schemas.openxmlformats.org/officeDocument/2006/relationships/image" Target="../media/image16.png"/><Relationship Id="rId16" Type="http://schemas.openxmlformats.org/officeDocument/2006/relationships/image" Target="../media/image30.png"/><Relationship Id="rId20" Type="http://schemas.openxmlformats.org/officeDocument/2006/relationships/image" Target="../media/image34.png"/><Relationship Id="rId1" Type="http://schemas.openxmlformats.org/officeDocument/2006/relationships/slideLayout" Target="../slideLayouts/slideLayout3.xml"/><Relationship Id="rId6" Type="http://schemas.openxmlformats.org/officeDocument/2006/relationships/image" Target="../media/image20.png"/><Relationship Id="rId11" Type="http://schemas.openxmlformats.org/officeDocument/2006/relationships/image" Target="../media/image25.png"/><Relationship Id="rId24" Type="http://schemas.openxmlformats.org/officeDocument/2006/relationships/image" Target="../media/image38.png"/><Relationship Id="rId5" Type="http://schemas.openxmlformats.org/officeDocument/2006/relationships/image" Target="../media/image19.png"/><Relationship Id="rId15" Type="http://schemas.openxmlformats.org/officeDocument/2006/relationships/image" Target="../media/image29.png"/><Relationship Id="rId23" Type="http://schemas.openxmlformats.org/officeDocument/2006/relationships/image" Target="../media/image37.png"/><Relationship Id="rId10" Type="http://schemas.openxmlformats.org/officeDocument/2006/relationships/image" Target="../media/image24.png"/><Relationship Id="rId19" Type="http://schemas.openxmlformats.org/officeDocument/2006/relationships/image" Target="../media/image33.png"/><Relationship Id="rId4" Type="http://schemas.openxmlformats.org/officeDocument/2006/relationships/image" Target="../media/image18.png"/><Relationship Id="rId9" Type="http://schemas.openxmlformats.org/officeDocument/2006/relationships/image" Target="../media/image23.png"/><Relationship Id="rId14" Type="http://schemas.openxmlformats.org/officeDocument/2006/relationships/image" Target="../media/image28.png"/><Relationship Id="rId22" Type="http://schemas.openxmlformats.org/officeDocument/2006/relationships/image" Target="../media/image36.png"/></Relationships>
</file>

<file path=ppt/slides/_rels/slide50.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20.xml"/><Relationship Id="rId1" Type="http://schemas.openxmlformats.org/officeDocument/2006/relationships/slideLayout" Target="../slideLayouts/slideLayout17.xml"/><Relationship Id="rId5" Type="http://schemas.microsoft.com/office/2007/relationships/hdphoto" Target="../media/hdphoto2.wdp"/><Relationship Id="rId4" Type="http://schemas.openxmlformats.org/officeDocument/2006/relationships/image" Target="../media/image135.png"/></Relationships>
</file>

<file path=ppt/slides/_rels/slide52.xml.rels><?xml version="1.0" encoding="UTF-8" standalone="yes"?>
<Relationships xmlns="http://schemas.openxmlformats.org/package/2006/relationships"><Relationship Id="rId3" Type="http://schemas.openxmlformats.org/officeDocument/2006/relationships/image" Target="../media/image136.png"/><Relationship Id="rId7" Type="http://schemas.openxmlformats.org/officeDocument/2006/relationships/image" Target="../media/image140.png"/><Relationship Id="rId2" Type="http://schemas.openxmlformats.org/officeDocument/2006/relationships/notesSlide" Target="../notesSlides/notesSlide21.xml"/><Relationship Id="rId1" Type="http://schemas.openxmlformats.org/officeDocument/2006/relationships/slideLayout" Target="../slideLayouts/slideLayout14.xml"/><Relationship Id="rId6" Type="http://schemas.openxmlformats.org/officeDocument/2006/relationships/image" Target="../media/image139.png"/><Relationship Id="rId5" Type="http://schemas.openxmlformats.org/officeDocument/2006/relationships/image" Target="../media/image138.png"/><Relationship Id="rId4" Type="http://schemas.openxmlformats.org/officeDocument/2006/relationships/image" Target="../media/image137.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8" Type="http://schemas.openxmlformats.org/officeDocument/2006/relationships/image" Target="../media/image142.png"/><Relationship Id="rId3" Type="http://schemas.openxmlformats.org/officeDocument/2006/relationships/tags" Target="../tags/tag12.xml"/><Relationship Id="rId7" Type="http://schemas.openxmlformats.org/officeDocument/2006/relationships/image" Target="../media/image141.emf"/><Relationship Id="rId12" Type="http://schemas.openxmlformats.org/officeDocument/2006/relationships/image" Target="../media/image145.png"/><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openxmlformats.org/officeDocument/2006/relationships/image" Target="../media/image144.png"/><Relationship Id="rId5" Type="http://schemas.openxmlformats.org/officeDocument/2006/relationships/notesSlide" Target="../notesSlides/notesSlide22.xml"/><Relationship Id="rId10" Type="http://schemas.microsoft.com/office/2007/relationships/hdphoto" Target="../media/hdphoto3.wdp"/><Relationship Id="rId4" Type="http://schemas.openxmlformats.org/officeDocument/2006/relationships/slideLayout" Target="../slideLayouts/slideLayout12.xml"/><Relationship Id="rId9" Type="http://schemas.openxmlformats.org/officeDocument/2006/relationships/image" Target="../media/image143.png"/></Relationships>
</file>

<file path=ppt/slides/_rels/slide55.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notesSlide" Target="../notesSlides/notesSlide23.xml"/><Relationship Id="rId3" Type="http://schemas.openxmlformats.org/officeDocument/2006/relationships/tags" Target="../tags/tag14.xml"/><Relationship Id="rId7" Type="http://schemas.openxmlformats.org/officeDocument/2006/relationships/tags" Target="../tags/tag18.xml"/><Relationship Id="rId12" Type="http://schemas.openxmlformats.org/officeDocument/2006/relationships/slideLayout" Target="../slideLayouts/slideLayout12.xml"/><Relationship Id="rId17" Type="http://schemas.openxmlformats.org/officeDocument/2006/relationships/image" Target="../media/image147.png"/><Relationship Id="rId2" Type="http://schemas.openxmlformats.org/officeDocument/2006/relationships/tags" Target="../tags/tag13.xml"/><Relationship Id="rId16" Type="http://schemas.openxmlformats.org/officeDocument/2006/relationships/image" Target="../media/image146.png"/><Relationship Id="rId1" Type="http://schemas.openxmlformats.org/officeDocument/2006/relationships/vmlDrawing" Target="../drawings/vmlDrawing4.vml"/><Relationship Id="rId6" Type="http://schemas.openxmlformats.org/officeDocument/2006/relationships/tags" Target="../tags/tag17.xml"/><Relationship Id="rId11" Type="http://schemas.openxmlformats.org/officeDocument/2006/relationships/tags" Target="../tags/tag22.xml"/><Relationship Id="rId5" Type="http://schemas.openxmlformats.org/officeDocument/2006/relationships/tags" Target="../tags/tag16.xml"/><Relationship Id="rId15" Type="http://schemas.openxmlformats.org/officeDocument/2006/relationships/image" Target="../media/image141.emf"/><Relationship Id="rId10" Type="http://schemas.openxmlformats.org/officeDocument/2006/relationships/tags" Target="../tags/tag21.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oleObject" Target="../embeddings/oleObject4.bin"/></Relationships>
</file>

<file path=ppt/slides/_rels/slide56.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48.png"/><Relationship Id="rId5" Type="http://schemas.openxmlformats.org/officeDocument/2006/relationships/notesSlide" Target="../notesSlides/notesSlide24.xml"/><Relationship Id="rId4" Type="http://schemas.openxmlformats.org/officeDocument/2006/relationships/slideLayout" Target="../slideLayouts/slideLayout18.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48.png"/><Relationship Id="rId5" Type="http://schemas.openxmlformats.org/officeDocument/2006/relationships/image" Target="../media/image149.png"/><Relationship Id="rId4" Type="http://schemas.openxmlformats.org/officeDocument/2006/relationships/notesSlide" Target="../notesSlides/notesSlide25.xml"/></Relationships>
</file>

<file path=ppt/slides/_rels/slide5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14.xml"/></Relationships>
</file>

<file path=ppt/slides/_rels/slide59.xml.rels><?xml version="1.0" encoding="UTF-8" standalone="yes"?>
<Relationships xmlns="http://schemas.openxmlformats.org/package/2006/relationships"><Relationship Id="rId2" Type="http://schemas.openxmlformats.org/officeDocument/2006/relationships/hyperlink" Target="http://azure.microsoft.com/zh-tw/pricing/calculator/" TargetMode="Externa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png"/><Relationship Id="rId18" Type="http://schemas.openxmlformats.org/officeDocument/2006/relationships/image" Target="../media/image57.png"/><Relationship Id="rId26" Type="http://schemas.openxmlformats.org/officeDocument/2006/relationships/image" Target="../media/image65.png"/><Relationship Id="rId3" Type="http://schemas.openxmlformats.org/officeDocument/2006/relationships/image" Target="../media/image42.png"/><Relationship Id="rId21" Type="http://schemas.openxmlformats.org/officeDocument/2006/relationships/image" Target="../media/image60.jpeg"/><Relationship Id="rId7" Type="http://schemas.openxmlformats.org/officeDocument/2006/relationships/image" Target="../media/image46.png"/><Relationship Id="rId12" Type="http://schemas.openxmlformats.org/officeDocument/2006/relationships/image" Target="../media/image51.png"/><Relationship Id="rId17" Type="http://schemas.openxmlformats.org/officeDocument/2006/relationships/image" Target="../media/image56.png"/><Relationship Id="rId25" Type="http://schemas.openxmlformats.org/officeDocument/2006/relationships/image" Target="../media/image64.jpeg"/><Relationship Id="rId2" Type="http://schemas.openxmlformats.org/officeDocument/2006/relationships/image" Target="../media/image41.png"/><Relationship Id="rId16" Type="http://schemas.openxmlformats.org/officeDocument/2006/relationships/image" Target="../media/image55.png"/><Relationship Id="rId20" Type="http://schemas.openxmlformats.org/officeDocument/2006/relationships/image" Target="../media/image59.png"/><Relationship Id="rId29" Type="http://schemas.openxmlformats.org/officeDocument/2006/relationships/image" Target="../media/image68.png"/><Relationship Id="rId1" Type="http://schemas.openxmlformats.org/officeDocument/2006/relationships/slideLayout" Target="../slideLayouts/slideLayout2.xml"/><Relationship Id="rId6" Type="http://schemas.openxmlformats.org/officeDocument/2006/relationships/image" Target="../media/image45.png"/><Relationship Id="rId11" Type="http://schemas.openxmlformats.org/officeDocument/2006/relationships/image" Target="../media/image50.png"/><Relationship Id="rId24" Type="http://schemas.openxmlformats.org/officeDocument/2006/relationships/image" Target="../media/image63.png"/><Relationship Id="rId32" Type="http://schemas.openxmlformats.org/officeDocument/2006/relationships/image" Target="../media/image71.png"/><Relationship Id="rId5" Type="http://schemas.openxmlformats.org/officeDocument/2006/relationships/image" Target="../media/image44.png"/><Relationship Id="rId15" Type="http://schemas.openxmlformats.org/officeDocument/2006/relationships/image" Target="../media/image54.png"/><Relationship Id="rId23" Type="http://schemas.openxmlformats.org/officeDocument/2006/relationships/image" Target="../media/image62.jpeg"/><Relationship Id="rId28" Type="http://schemas.openxmlformats.org/officeDocument/2006/relationships/image" Target="../media/image67.png"/><Relationship Id="rId10" Type="http://schemas.openxmlformats.org/officeDocument/2006/relationships/image" Target="../media/image49.png"/><Relationship Id="rId19" Type="http://schemas.openxmlformats.org/officeDocument/2006/relationships/image" Target="../media/image58.png"/><Relationship Id="rId31" Type="http://schemas.openxmlformats.org/officeDocument/2006/relationships/image" Target="../media/image70.png"/><Relationship Id="rId4" Type="http://schemas.openxmlformats.org/officeDocument/2006/relationships/image" Target="../media/image43.png"/><Relationship Id="rId9" Type="http://schemas.openxmlformats.org/officeDocument/2006/relationships/image" Target="../media/image48.png"/><Relationship Id="rId14" Type="http://schemas.openxmlformats.org/officeDocument/2006/relationships/image" Target="../media/image53.png"/><Relationship Id="rId22" Type="http://schemas.openxmlformats.org/officeDocument/2006/relationships/image" Target="../media/image61.png"/><Relationship Id="rId27" Type="http://schemas.openxmlformats.org/officeDocument/2006/relationships/image" Target="../media/image66.png"/><Relationship Id="rId30" Type="http://schemas.openxmlformats.org/officeDocument/2006/relationships/image" Target="../media/image69.png"/></Relationships>
</file>

<file path=ppt/slides/_rels/slide60.xml.rels><?xml version="1.0" encoding="UTF-8" standalone="yes"?>
<Relationships xmlns="http://schemas.openxmlformats.org/package/2006/relationships"><Relationship Id="rId3" Type="http://schemas.openxmlformats.org/officeDocument/2006/relationships/hyperlink" Target="http://www.microsoft.com/taiwan/licensing/" TargetMode="External"/><Relationship Id="rId2" Type="http://schemas.openxmlformats.org/officeDocument/2006/relationships/notesSlide" Target="../notesSlides/notesSlide26.xml"/><Relationship Id="rId1" Type="http://schemas.openxmlformats.org/officeDocument/2006/relationships/slideLayout" Target="../slideLayouts/slideLayout12.xml"/><Relationship Id="rId6" Type="http://schemas.openxmlformats.org/officeDocument/2006/relationships/image" Target="../media/image151.png"/><Relationship Id="rId5" Type="http://schemas.openxmlformats.org/officeDocument/2006/relationships/hyperlink" Target="http://www.microsoft.com/taiwan/rightlicensing/default.aspx" TargetMode="External"/><Relationship Id="rId4" Type="http://schemas.openxmlformats.org/officeDocument/2006/relationships/image" Target="../media/image150.pn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image" Target="../media/image152.jpe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image" Target="../media/image153.png"/><Relationship Id="rId1" Type="http://schemas.openxmlformats.org/officeDocument/2006/relationships/slideLayout" Target="../slideLayouts/slideLayout12.xml"/></Relationships>
</file>

<file path=ppt/slides/_rels/slide66.xml.rels><?xml version="1.0" encoding="UTF-8" standalone="yes"?>
<Relationships xmlns="http://schemas.openxmlformats.org/package/2006/relationships"><Relationship Id="rId3" Type="http://schemas.openxmlformats.org/officeDocument/2006/relationships/image" Target="../media/image154.jpe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68.xml.rels><?xml version="1.0" encoding="UTF-8" standalone="yes"?>
<Relationships xmlns="http://schemas.openxmlformats.org/package/2006/relationships"><Relationship Id="rId3" Type="http://schemas.openxmlformats.org/officeDocument/2006/relationships/image" Target="cid:image001.png@01C998C8.C79435B0" TargetMode="External"/><Relationship Id="rId2" Type="http://schemas.openxmlformats.org/officeDocument/2006/relationships/image" Target="../media/image155.png"/><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image" Target="cid:image002.png@01C998CB.88DDF380" TargetMode="External"/><Relationship Id="rId7" Type="http://schemas.openxmlformats.org/officeDocument/2006/relationships/diagramColors" Target="../diagrams/colors4.xml"/><Relationship Id="rId2" Type="http://schemas.openxmlformats.org/officeDocument/2006/relationships/image" Target="../media/image156.png"/><Relationship Id="rId1" Type="http://schemas.openxmlformats.org/officeDocument/2006/relationships/slideLayout" Target="../slideLayouts/slideLayout2.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7.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2.emf"/><Relationship Id="rId7" Type="http://schemas.openxmlformats.org/officeDocument/2006/relationships/image" Target="../media/image76.png"/><Relationship Id="rId2" Type="http://schemas.openxmlformats.org/officeDocument/2006/relationships/image" Target="../media/image15.png"/><Relationship Id="rId1" Type="http://schemas.openxmlformats.org/officeDocument/2006/relationships/slideLayout" Target="../slideLayouts/slideLayout2.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70.xml.rels><?xml version="1.0" encoding="UTF-8" standalone="yes"?>
<Relationships xmlns="http://schemas.openxmlformats.org/package/2006/relationships"><Relationship Id="rId8" Type="http://schemas.openxmlformats.org/officeDocument/2006/relationships/image" Target="cid:image006.png@01C998CB.7F077CF0" TargetMode="External"/><Relationship Id="rId3" Type="http://schemas.openxmlformats.org/officeDocument/2006/relationships/diagramLayout" Target="../diagrams/layout5.xml"/><Relationship Id="rId7" Type="http://schemas.openxmlformats.org/officeDocument/2006/relationships/image" Target="../media/image157.png"/><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71.xml.rels><?xml version="1.0" encoding="UTF-8" standalone="yes"?>
<Relationships xmlns="http://schemas.openxmlformats.org/package/2006/relationships"><Relationship Id="rId3" Type="http://schemas.openxmlformats.org/officeDocument/2006/relationships/image" Target="../media/image159.wmf"/><Relationship Id="rId2" Type="http://schemas.openxmlformats.org/officeDocument/2006/relationships/image" Target="../media/image158.jpeg"/><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hyperlink" Target="http://www.adobe.com/content/dotcom/tw/volume-licensing/government.html" TargetMode="Externa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ctrTitle"/>
          </p:nvPr>
        </p:nvSpPr>
        <p:spPr>
          <a:xfrm>
            <a:off x="996846" y="1797570"/>
            <a:ext cx="7772400" cy="1829761"/>
          </a:xfrm>
        </p:spPr>
        <p:txBody>
          <a:bodyPr>
            <a:normAutofit fontScale="90000"/>
          </a:bodyPr>
          <a:lstStyle/>
          <a:p>
            <a:pPr eaLnBrk="1" fontAlgn="auto" hangingPunct="1">
              <a:spcAft>
                <a:spcPts val="0"/>
              </a:spcAft>
              <a:defRPr/>
            </a:pPr>
            <a:r>
              <a:rPr lang="zh-TW" altLang="en-US" dirty="0" smtClean="0">
                <a:latin typeface="標楷體" pitchFamily="65" charset="-120"/>
                <a:ea typeface="標楷體" pitchFamily="65" charset="-120"/>
              </a:rPr>
              <a:t>主題二：政府採購常見被誤導或混淆的軟體授權概念</a:t>
            </a:r>
            <a:r>
              <a:rPr lang="en-US" altLang="zh-TW" dirty="0" smtClean="0"/>
              <a:t/>
            </a:r>
            <a:br>
              <a:rPr lang="en-US" altLang="zh-TW" dirty="0" smtClean="0"/>
            </a:br>
            <a:endParaRPr lang="zh-TW" altLang="en-US" dirty="0">
              <a:latin typeface="微軟正黑體" pitchFamily="34" charset="-12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ltLang="zh-TW" sz="2800" b="1" dirty="0">
                <a:solidFill>
                  <a:srgbClr val="FFFF00"/>
                </a:solidFill>
                <a:latin typeface="+mn-ea"/>
              </a:rPr>
              <a:t>Adobe </a:t>
            </a:r>
            <a:r>
              <a:rPr lang="zh-TW" altLang="en-US" sz="2800" b="1" dirty="0">
                <a:solidFill>
                  <a:srgbClr val="FFFF00"/>
                </a:solidFill>
                <a:latin typeface="+mn-ea"/>
              </a:rPr>
              <a:t>軟體常見授權問題 </a:t>
            </a:r>
            <a:r>
              <a:rPr lang="en-US" altLang="zh-TW" sz="2800" b="1" dirty="0">
                <a:solidFill>
                  <a:srgbClr val="FFFF00"/>
                </a:solidFill>
                <a:latin typeface="+mn-ea"/>
              </a:rPr>
              <a:t>Q&amp;A</a:t>
            </a:r>
            <a:endParaRPr lang="en-US" sz="2800" b="1" dirty="0">
              <a:solidFill>
                <a:srgbClr val="FFFF00"/>
              </a:solidFill>
              <a:latin typeface="+mn-ea"/>
            </a:endParaRPr>
          </a:p>
        </p:txBody>
      </p:sp>
      <p:sp>
        <p:nvSpPr>
          <p:cNvPr id="3" name="Content Placeholder 2"/>
          <p:cNvSpPr>
            <a:spLocks noGrp="1"/>
          </p:cNvSpPr>
          <p:nvPr>
            <p:ph idx="1"/>
          </p:nvPr>
        </p:nvSpPr>
        <p:spPr/>
        <p:txBody>
          <a:bodyPr>
            <a:normAutofit fontScale="92500" lnSpcReduction="20000"/>
          </a:bodyPr>
          <a:lstStyle/>
          <a:p>
            <a:pPr marL="457200" lvl="0" indent="-457200">
              <a:buSzPct val="100000"/>
              <a:buFont typeface="+mj-lt"/>
              <a:buAutoNum type="arabicPeriod" startAt="3"/>
            </a:pPr>
            <a:r>
              <a:rPr lang="en-US" b="1" dirty="0" err="1" smtClean="0"/>
              <a:t>組合包較便宜</a:t>
            </a:r>
            <a:r>
              <a:rPr lang="en-US" b="1" dirty="0" err="1"/>
              <a:t>，所以買一包回來將其中的產品各別分給需要的同事安裝在多台電腦上</a:t>
            </a:r>
            <a:r>
              <a:rPr lang="en-US" b="1" dirty="0"/>
              <a:t>？ </a:t>
            </a:r>
            <a:endParaRPr lang="en-US" dirty="0"/>
          </a:p>
          <a:p>
            <a:pPr lvl="1"/>
            <a:r>
              <a:rPr lang="en-US" dirty="0" err="1"/>
              <a:t>依據Adobe使用者授權規範，組合包</a:t>
            </a:r>
            <a:r>
              <a:rPr lang="en-US" dirty="0"/>
              <a:t> (Creative </a:t>
            </a:r>
            <a:r>
              <a:rPr lang="en-US" dirty="0" err="1"/>
              <a:t>Suite系列產品</a:t>
            </a:r>
            <a:r>
              <a:rPr lang="en-US" dirty="0"/>
              <a:t>) </a:t>
            </a:r>
            <a:r>
              <a:rPr lang="en-US" dirty="0" err="1"/>
              <a:t>內所含的所有產品僅能安裝在同一台電腦上</a:t>
            </a:r>
            <a:r>
              <a:rPr lang="en-US" dirty="0" smtClean="0"/>
              <a:t>。</a:t>
            </a:r>
          </a:p>
          <a:p>
            <a:pPr lvl="1"/>
            <a:endParaRPr lang="en-US" dirty="0"/>
          </a:p>
          <a:p>
            <a:pPr marL="457200" lvl="0" indent="-457200">
              <a:buSzPct val="100000"/>
              <a:buFont typeface="+mj-lt"/>
              <a:buAutoNum type="arabicPeriod" startAt="4"/>
            </a:pPr>
            <a:r>
              <a:rPr lang="en-US" b="1" dirty="0" err="1"/>
              <a:t>只要有舊版本，是否可以買較便宜的升級版，然後就將新舊版分別給不同使用者安裝在不同電腦上</a:t>
            </a:r>
            <a:r>
              <a:rPr lang="en-US" b="1" dirty="0"/>
              <a:t>?</a:t>
            </a:r>
            <a:endParaRPr lang="en-US" dirty="0"/>
          </a:p>
          <a:p>
            <a:pPr lvl="1"/>
            <a:r>
              <a:rPr lang="en-US" dirty="0" err="1"/>
              <a:t>依據Adobe使用者授權規範</a:t>
            </a:r>
            <a:r>
              <a:rPr lang="en-US" dirty="0"/>
              <a:t>， </a:t>
            </a:r>
            <a:r>
              <a:rPr lang="zh-TW" altLang="en-US" dirty="0"/>
              <a:t>有舊版的合法授權才能取得升級版本，且升級版本只能安裝在先前已安裝使用舊版的電腦上，</a:t>
            </a:r>
            <a:r>
              <a:rPr lang="en-US" dirty="0" err="1"/>
              <a:t>新舊版本不可同時在不同電腦作安裝使用</a:t>
            </a:r>
            <a:r>
              <a:rPr lang="zh-TW" altLang="en-US" dirty="0"/>
              <a:t>，</a:t>
            </a:r>
            <a:r>
              <a:rPr lang="en-US" dirty="0" err="1"/>
              <a:t>也不可分開轉移至其他人</a:t>
            </a:r>
            <a:r>
              <a:rPr lang="en-US" dirty="0"/>
              <a:t>。</a:t>
            </a:r>
          </a:p>
          <a:p>
            <a:pPr marL="231775" lvl="1" indent="0">
              <a:buNone/>
            </a:pPr>
            <a:endParaRPr lang="en-US" dirty="0"/>
          </a:p>
          <a:p>
            <a:pPr lvl="1"/>
            <a:endParaRPr lang="en-US" dirty="0"/>
          </a:p>
        </p:txBody>
      </p:sp>
      <p:sp>
        <p:nvSpPr>
          <p:cNvPr id="4" name="Slide Number Placeholder 3"/>
          <p:cNvSpPr>
            <a:spLocks noGrp="1"/>
          </p:cNvSpPr>
          <p:nvPr>
            <p:ph type="sldNum" sz="quarter" idx="12"/>
          </p:nvPr>
        </p:nvSpPr>
        <p:spPr/>
        <p:txBody>
          <a:bodyPr/>
          <a:lstStyle/>
          <a:p>
            <a:pPr algn="ctr"/>
            <a:fld id="{90156F56-D5AE-4C6F-B826-C69D1BC521BB}" type="slidenum">
              <a:rPr lang="en-US" smtClean="0"/>
              <a:pPr algn="ctr"/>
              <a:t>10</a:t>
            </a:fld>
            <a:endParaRPr lang="en-US" dirty="0"/>
          </a:p>
        </p:txBody>
      </p:sp>
    </p:spTree>
    <p:extLst>
      <p:ext uri="{BB962C8B-B14F-4D97-AF65-F5344CB8AC3E}">
        <p14:creationId xmlns:p14="http://schemas.microsoft.com/office/powerpoint/2010/main" val="10473108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ltLang="zh-TW" sz="2800" b="1" dirty="0">
                <a:solidFill>
                  <a:srgbClr val="FFFF00"/>
                </a:solidFill>
                <a:latin typeface="+mn-ea"/>
              </a:rPr>
              <a:t>Adobe </a:t>
            </a:r>
            <a:r>
              <a:rPr lang="zh-TW" altLang="en-US" sz="2800" b="1" dirty="0">
                <a:solidFill>
                  <a:srgbClr val="FFFF00"/>
                </a:solidFill>
                <a:latin typeface="+mn-ea"/>
              </a:rPr>
              <a:t>軟體常見授權問題 </a:t>
            </a:r>
            <a:r>
              <a:rPr lang="en-US" altLang="zh-TW" sz="2800" b="1" dirty="0">
                <a:solidFill>
                  <a:srgbClr val="FFFF00"/>
                </a:solidFill>
                <a:latin typeface="+mn-ea"/>
              </a:rPr>
              <a:t>Q&amp;A</a:t>
            </a:r>
            <a:endParaRPr lang="en-US" sz="2800" b="1" dirty="0">
              <a:solidFill>
                <a:srgbClr val="FFFF00"/>
              </a:solidFill>
              <a:latin typeface="+mn-ea"/>
            </a:endParaRPr>
          </a:p>
        </p:txBody>
      </p:sp>
      <p:sp>
        <p:nvSpPr>
          <p:cNvPr id="3" name="Content Placeholder 2"/>
          <p:cNvSpPr>
            <a:spLocks noGrp="1"/>
          </p:cNvSpPr>
          <p:nvPr>
            <p:ph idx="1"/>
          </p:nvPr>
        </p:nvSpPr>
        <p:spPr/>
        <p:txBody>
          <a:bodyPr>
            <a:normAutofit/>
          </a:bodyPr>
          <a:lstStyle/>
          <a:p>
            <a:pPr marL="457200" indent="-457200">
              <a:buSzPct val="100000"/>
              <a:buFont typeface="+mj-lt"/>
              <a:buAutoNum type="arabicPeriod" startAt="5"/>
            </a:pPr>
            <a:r>
              <a:rPr lang="en-US" b="1" dirty="0"/>
              <a:t> </a:t>
            </a:r>
            <a:r>
              <a:rPr lang="en-US" b="1" dirty="0" err="1" smtClean="0"/>
              <a:t>試用版本到期後是否可繼續使用</a:t>
            </a:r>
            <a:r>
              <a:rPr lang="en-US" b="1" dirty="0"/>
              <a:t>?</a:t>
            </a:r>
            <a:endParaRPr lang="en-US" dirty="0"/>
          </a:p>
          <a:p>
            <a:pPr lvl="1"/>
            <a:r>
              <a:rPr lang="en-US" dirty="0" err="1"/>
              <a:t>試用版本僅適用於組織內部，非商業和非生產的用途。試用版過期後不可繼續使用此類試用版軟體</a:t>
            </a:r>
            <a:r>
              <a:rPr lang="zh-TW" altLang="en-US" dirty="0"/>
              <a:t>，</a:t>
            </a:r>
            <a:r>
              <a:rPr lang="en-US" dirty="0" err="1"/>
              <a:t>除非</a:t>
            </a:r>
            <a:r>
              <a:rPr lang="zh-TW" altLang="en-US" dirty="0"/>
              <a:t>合法取得並</a:t>
            </a:r>
            <a:r>
              <a:rPr lang="en-US" dirty="0" err="1"/>
              <a:t>輸入有效授權的序號才可繼續使用</a:t>
            </a:r>
            <a:r>
              <a:rPr lang="en-US" dirty="0" smtClean="0"/>
              <a:t>。</a:t>
            </a:r>
          </a:p>
          <a:p>
            <a:pPr marL="301943" lvl="1" indent="0">
              <a:buNone/>
            </a:pPr>
            <a:endParaRPr lang="en-US" dirty="0"/>
          </a:p>
          <a:p>
            <a:pPr marL="0" indent="0">
              <a:buNone/>
            </a:pPr>
            <a:r>
              <a:rPr lang="en-US" sz="1500" dirty="0" smtClean="0"/>
              <a:t>**</a:t>
            </a:r>
            <a:r>
              <a:rPr lang="en-US" sz="1500" dirty="0"/>
              <a:t> </a:t>
            </a:r>
            <a:r>
              <a:rPr lang="zh-TW" altLang="en-US" sz="1500" dirty="0" smtClean="0"/>
              <a:t>更</a:t>
            </a:r>
            <a:r>
              <a:rPr lang="zh-TW" altLang="en-US" sz="1500" dirty="0"/>
              <a:t>多詳細說明，請參閱 </a:t>
            </a:r>
            <a:r>
              <a:rPr lang="en-US" sz="1500" dirty="0"/>
              <a:t>Adobe</a:t>
            </a:r>
            <a:r>
              <a:rPr lang="zh-TW" altLang="en-US" sz="1500" b="1" dirty="0"/>
              <a:t>使用者授權合約 </a:t>
            </a:r>
            <a:r>
              <a:rPr lang="en-US" sz="1500" b="1" dirty="0"/>
              <a:t>End User License Agreement </a:t>
            </a:r>
            <a:r>
              <a:rPr lang="zh-TW" altLang="en-US" sz="1500" dirty="0"/>
              <a:t>網址</a:t>
            </a:r>
            <a:r>
              <a:rPr lang="en-US" sz="1500" dirty="0"/>
              <a:t>: </a:t>
            </a:r>
            <a:r>
              <a:rPr lang="en-US" sz="1500" u="sng" dirty="0">
                <a:hlinkClick r:id="rId2"/>
              </a:rPr>
              <a:t>http://www.adobe.com/products/eulas/#server</a:t>
            </a:r>
            <a:r>
              <a:rPr lang="en-US" sz="1500" dirty="0"/>
              <a:t>.</a:t>
            </a:r>
          </a:p>
          <a:p>
            <a:pPr lvl="1"/>
            <a:endParaRPr lang="en-US" dirty="0"/>
          </a:p>
        </p:txBody>
      </p:sp>
      <p:sp>
        <p:nvSpPr>
          <p:cNvPr id="4" name="Slide Number Placeholder 3"/>
          <p:cNvSpPr>
            <a:spLocks noGrp="1"/>
          </p:cNvSpPr>
          <p:nvPr>
            <p:ph type="sldNum" sz="quarter" idx="12"/>
          </p:nvPr>
        </p:nvSpPr>
        <p:spPr/>
        <p:txBody>
          <a:bodyPr/>
          <a:lstStyle/>
          <a:p>
            <a:pPr algn="ctr"/>
            <a:fld id="{90156F56-D5AE-4C6F-B826-C69D1BC521BB}" type="slidenum">
              <a:rPr lang="en-US" smtClean="0"/>
              <a:pPr algn="ctr"/>
              <a:t>11</a:t>
            </a:fld>
            <a:endParaRPr lang="en-US" dirty="0"/>
          </a:p>
        </p:txBody>
      </p:sp>
    </p:spTree>
    <p:extLst>
      <p:ext uri="{BB962C8B-B14F-4D97-AF65-F5344CB8AC3E}">
        <p14:creationId xmlns:p14="http://schemas.microsoft.com/office/powerpoint/2010/main" val="34779594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zh-TW" altLang="en-US" b="1" dirty="0" smtClean="0">
                <a:latin typeface="+mj-lt"/>
                <a:ea typeface="微軟正黑體" pitchFamily="34" charset="-120"/>
              </a:rPr>
              <a:t>甚麼是</a:t>
            </a:r>
            <a:r>
              <a:rPr lang="zh-TW" altLang="en-US" b="1" dirty="0">
                <a:latin typeface="+mj-lt"/>
                <a:ea typeface="微軟正黑體" pitchFamily="34" charset="-120"/>
              </a:rPr>
              <a:t>授權</a:t>
            </a:r>
            <a:r>
              <a:rPr lang="zh-TW" altLang="en-US" b="1" dirty="0" smtClean="0">
                <a:latin typeface="+mj-lt"/>
                <a:ea typeface="微軟正黑體" pitchFamily="34" charset="-120"/>
              </a:rPr>
              <a:t>？</a:t>
            </a:r>
            <a:endParaRPr lang="en-US" b="1" dirty="0">
              <a:latin typeface="+mj-lt"/>
              <a:ea typeface="微軟正黑體" pitchFamily="34" charset="-120"/>
            </a:endParaRPr>
          </a:p>
        </p:txBody>
      </p:sp>
      <p:sp>
        <p:nvSpPr>
          <p:cNvPr id="4" name="Oval 7"/>
          <p:cNvSpPr>
            <a:spLocks noChangeArrowheads="1"/>
          </p:cNvSpPr>
          <p:nvPr/>
        </p:nvSpPr>
        <p:spPr bwMode="auto">
          <a:xfrm>
            <a:off x="457200" y="1371600"/>
            <a:ext cx="8229600" cy="5324168"/>
          </a:xfrm>
          <a:prstGeom prst="roundRect">
            <a:avLst>
              <a:gd name="adj" fmla="val 5073"/>
            </a:avLst>
          </a:prstGeom>
          <a:gradFill>
            <a:gsLst>
              <a:gs pos="50000">
                <a:srgbClr val="D1EDF9"/>
              </a:gs>
              <a:gs pos="100000">
                <a:srgbClr val="8CD1F0"/>
              </a:gs>
            </a:gsLst>
            <a:lin ang="3000000" scaled="0"/>
          </a:gradFill>
          <a:ln w="12700">
            <a:gradFill>
              <a:gsLst>
                <a:gs pos="50000">
                  <a:schemeClr val="bg1"/>
                </a:gs>
                <a:gs pos="100000">
                  <a:srgbClr val="004F87"/>
                </a:gs>
              </a:gsLst>
              <a:lin ang="3600000" scaled="0"/>
            </a:gradFill>
          </a:ln>
          <a:effectLst/>
        </p:spPr>
        <p:style>
          <a:lnRef idx="1">
            <a:schemeClr val="accent1"/>
          </a:lnRef>
          <a:fillRef idx="3">
            <a:schemeClr val="accent1"/>
          </a:fillRef>
          <a:effectRef idx="2">
            <a:schemeClr val="accent1"/>
          </a:effectRef>
          <a:fontRef idx="minor">
            <a:schemeClr val="lt1"/>
          </a:fontRef>
        </p:style>
        <p:txBody>
          <a:bodyPr wrap="square" lIns="182880" tIns="1920240" rIns="182880" rtlCol="0" anchor="t">
            <a:noAutofit/>
          </a:bodyPr>
          <a:lstStyle/>
          <a:p>
            <a:pPr marL="342900" lvl="0" indent="-342900">
              <a:lnSpc>
                <a:spcPct val="90000"/>
              </a:lnSpc>
              <a:spcAft>
                <a:spcPts val="1800"/>
              </a:spcAft>
              <a:buClr>
                <a:srgbClr val="1F497D"/>
              </a:buClr>
              <a:buSzPct val="75000"/>
              <a:buBlip>
                <a:blip r:embed="rId3"/>
              </a:buBlip>
            </a:pPr>
            <a:r>
              <a:rPr lang="zh-TW" altLang="en-US" sz="20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軟體是智慧財產權 </a:t>
            </a:r>
            <a:r>
              <a:rPr lang="en-US" altLang="zh-TW" sz="20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Intellectual Property)</a:t>
            </a:r>
            <a:r>
              <a:rPr lang="zh-TW" altLang="en-US" sz="20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授權 </a:t>
            </a:r>
            <a:r>
              <a:rPr lang="en-US" altLang="zh-TW" sz="20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License)</a:t>
            </a:r>
            <a:r>
              <a:rPr lang="zh-TW" altLang="en-US" sz="20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是提供使用軟體的權利並</a:t>
            </a:r>
            <a:r>
              <a:rPr lang="zh-TW" altLang="en-US" sz="2000" u="sng"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規範使用方法</a:t>
            </a:r>
            <a:r>
              <a:rPr lang="zh-TW" altLang="en-US" sz="20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a:t>
            </a:r>
            <a:endParaRPr lang="en-US" altLang="zh-TW" sz="2000" dirty="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endParaRPr>
          </a:p>
          <a:p>
            <a:pPr marL="342900" lvl="0" indent="-342900">
              <a:lnSpc>
                <a:spcPct val="90000"/>
              </a:lnSpc>
              <a:spcAft>
                <a:spcPts val="1800"/>
              </a:spcAft>
              <a:buClr>
                <a:srgbClr val="1F497D"/>
              </a:buClr>
              <a:buSzPct val="75000"/>
              <a:buBlip>
                <a:blip r:embed="rId3"/>
              </a:buBlip>
            </a:pPr>
            <a:r>
              <a:rPr lang="zh-TW" altLang="en-US" sz="20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使用者權利及規範依購買方式而有不同。</a:t>
            </a:r>
            <a:endParaRPr lang="en-US" altLang="zh-TW" sz="20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endParaRPr>
          </a:p>
          <a:p>
            <a:pPr marL="914382" lvl="1" indent="-457200">
              <a:lnSpc>
                <a:spcPct val="90000"/>
              </a:lnSpc>
              <a:spcAft>
                <a:spcPts val="1800"/>
              </a:spcAft>
              <a:buClr>
                <a:srgbClr val="1F497D"/>
              </a:buClr>
              <a:buSzPct val="75000"/>
              <a:buFont typeface="+mj-lt"/>
              <a:buAutoNum type="arabicPeriod"/>
            </a:pPr>
            <a:r>
              <a:rPr lang="zh-TW" altLang="en-US" sz="20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零售彩盒版 </a:t>
            </a:r>
            <a:r>
              <a:rPr lang="en-US" altLang="zh-TW" sz="20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FPP) </a:t>
            </a:r>
            <a:r>
              <a:rPr lang="zh-TW" altLang="en-US" sz="20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是 </a:t>
            </a:r>
            <a:r>
              <a:rPr lang="en-US" sz="20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hlinkClick r:id="rId4"/>
              </a:rPr>
              <a:t>Retail </a:t>
            </a:r>
            <a:r>
              <a:rPr lang="en-US" sz="2000" dirty="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hlinkClick r:id="rId4"/>
              </a:rPr>
              <a:t>Software </a:t>
            </a:r>
            <a:r>
              <a:rPr lang="en-US" sz="20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hlinkClick r:id="rId4"/>
              </a:rPr>
              <a:t>License</a:t>
            </a:r>
            <a:endParaRPr lang="en-US" altLang="zh-TW" sz="20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endParaRPr>
          </a:p>
          <a:p>
            <a:pPr marL="914382" lvl="1" indent="-457200">
              <a:lnSpc>
                <a:spcPct val="90000"/>
              </a:lnSpc>
              <a:spcAft>
                <a:spcPts val="1800"/>
              </a:spcAft>
              <a:buClr>
                <a:srgbClr val="1F497D"/>
              </a:buClr>
              <a:buSzPct val="75000"/>
              <a:buFont typeface="+mj-lt"/>
              <a:buAutoNum type="arabicPeriod"/>
            </a:pPr>
            <a:r>
              <a:rPr lang="zh-TW" altLang="en-US" sz="20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隨機版 </a:t>
            </a:r>
            <a:r>
              <a:rPr lang="en-US" altLang="zh-TW" sz="20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OEM) </a:t>
            </a:r>
            <a:r>
              <a:rPr lang="zh-TW" altLang="en-US" sz="20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是 </a:t>
            </a:r>
            <a:r>
              <a:rPr lang="en-US" sz="20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hlinkClick r:id="rId4"/>
              </a:rPr>
              <a:t>Microsoft </a:t>
            </a:r>
            <a:r>
              <a:rPr lang="en-US" sz="2000" dirty="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hlinkClick r:id="rId4"/>
              </a:rPr>
              <a:t>Software </a:t>
            </a:r>
            <a:r>
              <a:rPr lang="en-US" sz="20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hlinkClick r:id="rId4"/>
              </a:rPr>
              <a:t>License Terms</a:t>
            </a:r>
            <a:endParaRPr lang="en-US" altLang="zh-TW" sz="20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endParaRPr>
          </a:p>
          <a:p>
            <a:pPr marL="914382" lvl="1" indent="-457200">
              <a:lnSpc>
                <a:spcPct val="90000"/>
              </a:lnSpc>
              <a:spcAft>
                <a:spcPts val="1800"/>
              </a:spcAft>
              <a:buClr>
                <a:srgbClr val="1F497D"/>
              </a:buClr>
              <a:buSzPct val="75000"/>
              <a:buFont typeface="+mj-lt"/>
              <a:buAutoNum type="arabicPeriod"/>
            </a:pPr>
            <a:r>
              <a:rPr lang="zh-TW" altLang="en-US" sz="20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大量授權是 </a:t>
            </a:r>
            <a:r>
              <a:rPr lang="en-US" sz="20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hlinkClick r:id="rId5"/>
              </a:rPr>
              <a:t>Product </a:t>
            </a:r>
            <a:r>
              <a:rPr lang="en-US" sz="2000" dirty="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hlinkClick r:id="rId5"/>
              </a:rPr>
              <a:t>Use </a:t>
            </a:r>
            <a:r>
              <a:rPr lang="en-US" sz="20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hlinkClick r:id="rId5"/>
              </a:rPr>
              <a:t>Rights</a:t>
            </a:r>
            <a:r>
              <a:rPr lang="en-US" sz="20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 </a:t>
            </a:r>
            <a:r>
              <a:rPr lang="en-US" altLang="zh-TW" sz="20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hlinkClick r:id="rId6"/>
              </a:rPr>
              <a:t>Product List</a:t>
            </a:r>
            <a:endParaRPr lang="en-US" altLang="zh-TW" sz="20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endParaRPr>
          </a:p>
          <a:p>
            <a:pPr marL="914382" lvl="1" indent="-457200">
              <a:lnSpc>
                <a:spcPct val="90000"/>
              </a:lnSpc>
              <a:spcAft>
                <a:spcPts val="1800"/>
              </a:spcAft>
              <a:buClr>
                <a:srgbClr val="1F497D"/>
              </a:buClr>
              <a:buSzPct val="75000"/>
              <a:buFont typeface="+mj-lt"/>
              <a:buAutoNum type="arabicPeriod"/>
            </a:pPr>
            <a:r>
              <a:rPr lang="zh-TW" altLang="en-US" sz="20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雲端</a:t>
            </a:r>
            <a:r>
              <a:rPr lang="zh-TW" altLang="en-US" sz="2000" dirty="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授權</a:t>
            </a:r>
            <a:endParaRPr lang="en-US" altLang="zh-TW" sz="20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endParaRPr>
          </a:p>
          <a:p>
            <a:pPr marL="914382" lvl="1" indent="-457200">
              <a:lnSpc>
                <a:spcPct val="90000"/>
              </a:lnSpc>
              <a:spcAft>
                <a:spcPts val="1800"/>
              </a:spcAft>
              <a:buClr>
                <a:srgbClr val="1F497D"/>
              </a:buClr>
              <a:buSzPct val="75000"/>
              <a:buFont typeface="+mj-lt"/>
              <a:buAutoNum type="arabicPeriod"/>
            </a:pPr>
            <a:endParaRPr lang="en-US" sz="2000" dirty="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endParaRPr>
          </a:p>
        </p:txBody>
      </p:sp>
      <p:sp>
        <p:nvSpPr>
          <p:cNvPr id="5" name="Rounded Rectangular Callout 4"/>
          <p:cNvSpPr/>
          <p:nvPr/>
        </p:nvSpPr>
        <p:spPr bwMode="auto">
          <a:xfrm>
            <a:off x="881019" y="1734616"/>
            <a:ext cx="3233781" cy="1084784"/>
          </a:xfrm>
          <a:prstGeom prst="wedgeRoundRectCallout">
            <a:avLst>
              <a:gd name="adj1" fmla="val -19571"/>
              <a:gd name="adj2" fmla="val 47254"/>
              <a:gd name="adj3" fmla="val 16667"/>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342900" indent="-342900">
              <a:buFont typeface="+mj-lt"/>
              <a:buAutoNum type="alphaUcPeriod" startAt="17"/>
            </a:pPr>
            <a:r>
              <a:rPr lang="zh-TW" altLang="en-US" sz="2000" dirty="0" smtClean="0">
                <a:solidFill>
                  <a:schemeClr val="tx1">
                    <a:alpha val="99000"/>
                  </a:schemeClr>
                </a:solidFill>
                <a:latin typeface="微軟正黑體" pitchFamily="34" charset="-120"/>
                <a:ea typeface="微軟正黑體" pitchFamily="34" charset="-120"/>
                <a:cs typeface="Segoe UI" pitchFamily="34" charset="0"/>
              </a:rPr>
              <a:t>微軟賣的是甚麼？</a:t>
            </a:r>
            <a:endParaRPr lang="en-US" sz="2000" dirty="0">
              <a:solidFill>
                <a:schemeClr val="tx1">
                  <a:alpha val="99000"/>
                </a:schemeClr>
              </a:solidFill>
              <a:latin typeface="微軟正黑體" pitchFamily="34" charset="-120"/>
              <a:ea typeface="微軟正黑體" pitchFamily="34" charset="-120"/>
              <a:cs typeface="Segoe UI" pitchFamily="34" charset="0"/>
            </a:endParaRPr>
          </a:p>
        </p:txBody>
      </p:sp>
      <p:sp>
        <p:nvSpPr>
          <p:cNvPr id="7" name="Rounded Rectangular Callout 6"/>
          <p:cNvSpPr/>
          <p:nvPr/>
        </p:nvSpPr>
        <p:spPr bwMode="auto">
          <a:xfrm>
            <a:off x="4866217" y="1734616"/>
            <a:ext cx="3233781" cy="1084784"/>
          </a:xfrm>
          <a:prstGeom prst="wedgeRoundRectCallout">
            <a:avLst>
              <a:gd name="adj1" fmla="val -21900"/>
              <a:gd name="adj2" fmla="val 44278"/>
              <a:gd name="adj3" fmla="val 16667"/>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342900" indent="-342900">
              <a:buFont typeface="+mj-lt"/>
              <a:buAutoNum type="alphaUcPeriod"/>
            </a:pPr>
            <a:r>
              <a:rPr lang="zh-TW" altLang="en-US" sz="2000" dirty="0" smtClean="0">
                <a:solidFill>
                  <a:schemeClr val="tx1">
                    <a:alpha val="99000"/>
                  </a:schemeClr>
                </a:solidFill>
                <a:latin typeface="微軟正黑體" pitchFamily="34" charset="-120"/>
                <a:ea typeface="微軟正黑體" pitchFamily="34" charset="-120"/>
                <a:cs typeface="Segoe UI" pitchFamily="34" charset="0"/>
              </a:rPr>
              <a:t>使用軟體及服務的</a:t>
            </a:r>
            <a:r>
              <a:rPr lang="zh-TW" altLang="en-US" sz="2000" b="1" u="sng" dirty="0" smtClean="0">
                <a:solidFill>
                  <a:schemeClr val="tx1">
                    <a:alpha val="99000"/>
                  </a:schemeClr>
                </a:solidFill>
                <a:latin typeface="微軟正黑體" pitchFamily="34" charset="-120"/>
                <a:ea typeface="微軟正黑體" pitchFamily="34" charset="-120"/>
                <a:cs typeface="Segoe UI" pitchFamily="34" charset="0"/>
              </a:rPr>
              <a:t>權利</a:t>
            </a:r>
            <a:endParaRPr lang="en-US" sz="2000" u="sng" dirty="0">
              <a:solidFill>
                <a:schemeClr val="tx1">
                  <a:alpha val="99000"/>
                </a:schemeClr>
              </a:solidFill>
              <a:latin typeface="微軟正黑體" pitchFamily="34" charset="-120"/>
              <a:ea typeface="微軟正黑體" pitchFamily="34" charset="-120"/>
              <a:cs typeface="Segoe UI" pitchFamily="34" charset="0"/>
            </a:endParaRPr>
          </a:p>
        </p:txBody>
      </p:sp>
    </p:spTree>
    <p:extLst>
      <p:ext uri="{BB962C8B-B14F-4D97-AF65-F5344CB8AC3E}">
        <p14:creationId xmlns:p14="http://schemas.microsoft.com/office/powerpoint/2010/main" val="1210645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1000"/>
                                        <p:tgtEl>
                                          <p:spTgt spid="7"/>
                                        </p:tgtEl>
                                      </p:cBhvr>
                                    </p:animEffect>
                                    <p:anim calcmode="lin" valueType="num">
                                      <p:cBhvr>
                                        <p:cTn id="15" dur="1000" fill="hold"/>
                                        <p:tgtEl>
                                          <p:spTgt spid="7"/>
                                        </p:tgtEl>
                                        <p:attrNameLst>
                                          <p:attrName>ppt_x</p:attrName>
                                        </p:attrNameLst>
                                      </p:cBhvr>
                                      <p:tavLst>
                                        <p:tav tm="0">
                                          <p:val>
                                            <p:strVal val="#ppt_x"/>
                                          </p:val>
                                        </p:tav>
                                        <p:tav tm="100000">
                                          <p:val>
                                            <p:strVal val="#ppt_x"/>
                                          </p:val>
                                        </p:tav>
                                      </p:tavLst>
                                    </p:anim>
                                    <p:anim calcmode="lin" valueType="num">
                                      <p:cBhvr>
                                        <p:cTn id="16"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1000"/>
                                        <p:tgtEl>
                                          <p:spTgt spid="4"/>
                                        </p:tgtEl>
                                      </p:cBhvr>
                                    </p:animEffect>
                                    <p:anim calcmode="lin" valueType="num">
                                      <p:cBhvr>
                                        <p:cTn id="22" dur="1000" fill="hold"/>
                                        <p:tgtEl>
                                          <p:spTgt spid="4"/>
                                        </p:tgtEl>
                                        <p:attrNameLst>
                                          <p:attrName>ppt_x</p:attrName>
                                        </p:attrNameLst>
                                      </p:cBhvr>
                                      <p:tavLst>
                                        <p:tav tm="0">
                                          <p:val>
                                            <p:strVal val="#ppt_x"/>
                                          </p:val>
                                        </p:tav>
                                        <p:tav tm="100000">
                                          <p:val>
                                            <p:strVal val="#ppt_x"/>
                                          </p:val>
                                        </p:tav>
                                      </p:tavLst>
                                    </p:anim>
                                    <p:anim calcmode="lin" valueType="num">
                                      <p:cBhvr>
                                        <p:cTn id="23"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7"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2580" y="36940"/>
            <a:ext cx="8229600" cy="1252728"/>
          </a:xfrm>
        </p:spPr>
        <p:txBody>
          <a:bodyPr>
            <a:normAutofit/>
          </a:bodyPr>
          <a:lstStyle/>
          <a:p>
            <a:r>
              <a:rPr lang="zh-TW" altLang="en-US" b="1" dirty="0">
                <a:latin typeface="+mj-lt"/>
                <a:ea typeface="微軟正黑體" pitchFamily="34" charset="-120"/>
              </a:rPr>
              <a:t>購買授權的方式</a:t>
            </a:r>
            <a:endParaRPr lang="en-US" b="1" dirty="0">
              <a:latin typeface="+mj-lt"/>
              <a:ea typeface="微軟正黑體" pitchFamily="34" charset="-120"/>
            </a:endParaRPr>
          </a:p>
        </p:txBody>
      </p:sp>
      <p:grpSp>
        <p:nvGrpSpPr>
          <p:cNvPr id="12" name="Group 11"/>
          <p:cNvGrpSpPr/>
          <p:nvPr/>
        </p:nvGrpSpPr>
        <p:grpSpPr>
          <a:xfrm>
            <a:off x="532580" y="1776477"/>
            <a:ext cx="8229600" cy="1197855"/>
            <a:chOff x="457200" y="1614245"/>
            <a:chExt cx="8229600" cy="1197855"/>
          </a:xfrm>
        </p:grpSpPr>
        <p:sp>
          <p:nvSpPr>
            <p:cNvPr id="3" name="Oval 7"/>
            <p:cNvSpPr>
              <a:spLocks noChangeArrowheads="1"/>
            </p:cNvSpPr>
            <p:nvPr/>
          </p:nvSpPr>
          <p:spPr bwMode="auto">
            <a:xfrm>
              <a:off x="457200" y="1644287"/>
              <a:ext cx="8229600" cy="1137772"/>
            </a:xfrm>
            <a:prstGeom prst="roundRect">
              <a:avLst>
                <a:gd name="adj" fmla="val 5073"/>
              </a:avLst>
            </a:prstGeom>
            <a:gradFill>
              <a:gsLst>
                <a:gs pos="50000">
                  <a:srgbClr val="D1EDF9"/>
                </a:gs>
                <a:gs pos="100000">
                  <a:srgbClr val="8CD1F0"/>
                </a:gs>
              </a:gsLst>
              <a:lin ang="3000000" scaled="0"/>
            </a:gradFill>
            <a:ln w="12700">
              <a:gradFill>
                <a:gsLst>
                  <a:gs pos="50000">
                    <a:schemeClr val="bg1"/>
                  </a:gs>
                  <a:gs pos="100000">
                    <a:srgbClr val="004F87"/>
                  </a:gs>
                </a:gsLst>
                <a:lin ang="3600000" scaled="0"/>
              </a:gradFill>
            </a:ln>
            <a:effectLst/>
          </p:spPr>
          <p:style>
            <a:lnRef idx="1">
              <a:schemeClr val="accent1"/>
            </a:lnRef>
            <a:fillRef idx="3">
              <a:schemeClr val="accent1"/>
            </a:fillRef>
            <a:effectRef idx="2">
              <a:schemeClr val="accent1"/>
            </a:effectRef>
            <a:fontRef idx="minor">
              <a:schemeClr val="lt1"/>
            </a:fontRef>
          </p:style>
          <p:txBody>
            <a:bodyPr wrap="square" lIns="182880" tIns="91440" rIns="182880" bIns="91440" rtlCol="0" anchor="ctr">
              <a:noAutofit/>
            </a:bodyPr>
            <a:lstStyle/>
            <a:p>
              <a:pPr lvl="0">
                <a:lnSpc>
                  <a:spcPct val="90000"/>
                </a:lnSpc>
                <a:spcAft>
                  <a:spcPts val="600"/>
                </a:spcAft>
                <a:buClr>
                  <a:srgbClr val="1F497D"/>
                </a:buClr>
                <a:buSzPct val="75000"/>
              </a:pPr>
              <a:r>
                <a:rPr lang="zh-TW" altLang="en-US" sz="2300" dirty="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零售彩盒</a:t>
              </a:r>
              <a:r>
                <a:rPr lang="zh-TW" altLang="en-US" sz="23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版 </a:t>
              </a:r>
              <a:r>
                <a:rPr lang="en-US" sz="23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a:t>
              </a:r>
              <a:r>
                <a:rPr lang="en-US" sz="2300" dirty="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FPP</a:t>
              </a:r>
              <a:r>
                <a:rPr lang="en-US" sz="23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a:t>
              </a:r>
            </a:p>
            <a:p>
              <a:pPr marL="342900" indent="-342900">
                <a:lnSpc>
                  <a:spcPct val="90000"/>
                </a:lnSpc>
                <a:spcAft>
                  <a:spcPts val="600"/>
                </a:spcAft>
                <a:buClr>
                  <a:srgbClr val="1F497D"/>
                </a:buClr>
                <a:buSzPct val="75000"/>
                <a:buBlip>
                  <a:blip r:embed="rId3"/>
                </a:buBlip>
              </a:pPr>
              <a:r>
                <a:rPr lang="zh-TW" altLang="en-US" sz="16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從零售商處購買</a:t>
              </a:r>
              <a:endParaRPr lang="en-US" sz="1600" dirty="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endParaRPr>
            </a:p>
            <a:p>
              <a:pPr marL="342900" indent="-342900">
                <a:lnSpc>
                  <a:spcPct val="90000"/>
                </a:lnSpc>
                <a:spcAft>
                  <a:spcPts val="600"/>
                </a:spcAft>
                <a:buClr>
                  <a:srgbClr val="1F497D"/>
                </a:buClr>
                <a:buSzPct val="75000"/>
                <a:buBlip>
                  <a:blip r:embed="rId3"/>
                </a:buBlip>
              </a:pPr>
              <a:r>
                <a:rPr lang="zh-TW" altLang="en-US" sz="16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一個彩盒</a:t>
              </a:r>
              <a:r>
                <a:rPr lang="en-US" sz="16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 </a:t>
              </a:r>
              <a:r>
                <a:rPr lang="en-US" sz="1600" dirty="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 </a:t>
              </a:r>
              <a:r>
                <a:rPr lang="zh-TW" altLang="en-US" sz="16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一份授權</a:t>
              </a:r>
              <a:endParaRPr lang="en-US" sz="1600" dirty="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endParaRPr>
            </a:p>
          </p:txBody>
        </p:sp>
        <p:pic>
          <p:nvPicPr>
            <p:cNvPr id="4" name="windows server 2008 r2 boxshot" descr="C:\Users\v-simmil\Desktop\DVD_ART\BoxShots_Logos\Windows Server 2008\R2\X154437001AN.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266571" y="1711337"/>
              <a:ext cx="707367" cy="971737"/>
            </a:xfrm>
            <a:prstGeom prst="rect">
              <a:avLst/>
            </a:prstGeom>
            <a:noFill/>
          </p:spPr>
        </p:pic>
        <p:pic>
          <p:nvPicPr>
            <p:cNvPr id="5" name="windows 7 boxshot" descr="C:\Users\v-simmil\Desktop\DVD_ART\BoxShots_Logos\Windows 7\Win7_Professional_3DL.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594771" y="1614245"/>
              <a:ext cx="958939" cy="1197855"/>
            </a:xfrm>
            <a:prstGeom prst="rect">
              <a:avLst/>
            </a:prstGeom>
            <a:noFill/>
          </p:spPr>
        </p:pic>
        <p:pic>
          <p:nvPicPr>
            <p:cNvPr id="6" name="Picture 2"/>
            <p:cNvPicPr>
              <a:picLocks noChangeAspect="1" noChangeArrowheads="1"/>
            </p:cNvPicPr>
            <p:nvPr/>
          </p:nvPicPr>
          <p:blipFill>
            <a:blip r:embed="rId6" cstate="email">
              <a:extLst>
                <a:ext uri="{28A0092B-C50C-407E-A947-70E740481C1C}">
                  <a14:useLocalDpi xmlns:a14="http://schemas.microsoft.com/office/drawing/2010/main"/>
                </a:ext>
              </a:extLst>
            </a:blip>
            <a:stretch>
              <a:fillRect/>
            </a:stretch>
          </p:blipFill>
          <p:spPr bwMode="auto">
            <a:xfrm>
              <a:off x="6421816" y="1701147"/>
              <a:ext cx="852464" cy="10335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3" name="Group 12"/>
          <p:cNvGrpSpPr/>
          <p:nvPr/>
        </p:nvGrpSpPr>
        <p:grpSpPr>
          <a:xfrm>
            <a:off x="532580" y="2944291"/>
            <a:ext cx="8229600" cy="1248318"/>
            <a:chOff x="457200" y="2782058"/>
            <a:chExt cx="8229600" cy="1248318"/>
          </a:xfrm>
        </p:grpSpPr>
        <p:sp>
          <p:nvSpPr>
            <p:cNvPr id="7" name="Oval 7"/>
            <p:cNvSpPr>
              <a:spLocks noChangeArrowheads="1"/>
            </p:cNvSpPr>
            <p:nvPr/>
          </p:nvSpPr>
          <p:spPr bwMode="auto">
            <a:xfrm>
              <a:off x="457200" y="2866532"/>
              <a:ext cx="8229600" cy="1066835"/>
            </a:xfrm>
            <a:prstGeom prst="roundRect">
              <a:avLst>
                <a:gd name="adj" fmla="val 5073"/>
              </a:avLst>
            </a:prstGeom>
            <a:gradFill>
              <a:gsLst>
                <a:gs pos="50000">
                  <a:srgbClr val="D1EDF9"/>
                </a:gs>
                <a:gs pos="100000">
                  <a:srgbClr val="8CD1F0"/>
                </a:gs>
              </a:gsLst>
              <a:lin ang="3000000" scaled="0"/>
            </a:gradFill>
            <a:ln w="12700">
              <a:gradFill>
                <a:gsLst>
                  <a:gs pos="50000">
                    <a:schemeClr val="bg1"/>
                  </a:gs>
                  <a:gs pos="100000">
                    <a:srgbClr val="004F87"/>
                  </a:gs>
                </a:gsLst>
                <a:lin ang="3600000" scaled="0"/>
              </a:gradFill>
            </a:ln>
            <a:effectLst/>
          </p:spPr>
          <p:style>
            <a:lnRef idx="1">
              <a:schemeClr val="accent1"/>
            </a:lnRef>
            <a:fillRef idx="3">
              <a:schemeClr val="accent1"/>
            </a:fillRef>
            <a:effectRef idx="2">
              <a:schemeClr val="accent1"/>
            </a:effectRef>
            <a:fontRef idx="minor">
              <a:schemeClr val="lt1"/>
            </a:fontRef>
          </p:style>
          <p:txBody>
            <a:bodyPr wrap="square" lIns="4297680" tIns="91440" rIns="182880" bIns="91440" rtlCol="0" anchor="ctr">
              <a:noAutofit/>
            </a:bodyPr>
            <a:lstStyle/>
            <a:p>
              <a:pPr lvl="0">
                <a:lnSpc>
                  <a:spcPct val="90000"/>
                </a:lnSpc>
                <a:spcAft>
                  <a:spcPts val="600"/>
                </a:spcAft>
                <a:buClr>
                  <a:srgbClr val="1F497D"/>
                </a:buClr>
                <a:buSzPct val="75000"/>
              </a:pPr>
              <a:r>
                <a:rPr lang="zh-TW" altLang="en-US" sz="23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隨機版 </a:t>
              </a:r>
              <a:r>
                <a:rPr lang="en-US" altLang="zh-TW" sz="23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a:t>
              </a:r>
              <a:r>
                <a:rPr lang="en-US" sz="23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OEM)</a:t>
              </a:r>
            </a:p>
            <a:p>
              <a:pPr marL="342900" lvl="0" indent="-342900">
                <a:lnSpc>
                  <a:spcPct val="90000"/>
                </a:lnSpc>
                <a:spcAft>
                  <a:spcPts val="600"/>
                </a:spcAft>
                <a:buClr>
                  <a:srgbClr val="1F497D"/>
                </a:buClr>
                <a:buSzPct val="75000"/>
                <a:buBlip>
                  <a:blip r:embed="rId3"/>
                </a:buBlip>
              </a:pPr>
              <a:r>
                <a:rPr lang="zh-TW" altLang="en-US" sz="16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預先安裝於新電腦</a:t>
              </a:r>
              <a:endParaRPr lang="en-US" altLang="zh-TW" sz="16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endParaRPr>
            </a:p>
            <a:p>
              <a:pPr marL="342900" lvl="0" indent="-342900">
                <a:lnSpc>
                  <a:spcPct val="90000"/>
                </a:lnSpc>
                <a:spcAft>
                  <a:spcPts val="600"/>
                </a:spcAft>
                <a:buClr>
                  <a:srgbClr val="1F497D"/>
                </a:buClr>
                <a:buSzPct val="75000"/>
                <a:buBlip>
                  <a:blip r:embed="rId3"/>
                </a:buBlip>
              </a:pPr>
              <a:r>
                <a:rPr lang="zh-TW" altLang="en-US" sz="16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機在授權在的原則</a:t>
              </a:r>
              <a:endParaRPr lang="en-US" sz="1600" dirty="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endParaRPr>
            </a:p>
          </p:txBody>
        </p:sp>
        <p:pic>
          <p:nvPicPr>
            <p:cNvPr id="9" name="Picture 8"/>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39270" y="2791236"/>
              <a:ext cx="1391144" cy="1043358"/>
            </a:xfrm>
            <a:prstGeom prst="rect">
              <a:avLst/>
            </a:prstGeom>
          </p:spPr>
        </p:pic>
        <p:pic>
          <p:nvPicPr>
            <p:cNvPr id="10" name="Picture 9"/>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976976" y="2782058"/>
              <a:ext cx="1671016" cy="1248318"/>
            </a:xfrm>
            <a:prstGeom prst="rect">
              <a:avLst/>
            </a:prstGeom>
          </p:spPr>
        </p:pic>
      </p:grpSp>
      <p:grpSp>
        <p:nvGrpSpPr>
          <p:cNvPr id="16" name="Group 15"/>
          <p:cNvGrpSpPr/>
          <p:nvPr/>
        </p:nvGrpSpPr>
        <p:grpSpPr>
          <a:xfrm>
            <a:off x="532580" y="4224721"/>
            <a:ext cx="8229600" cy="1364917"/>
            <a:chOff x="436418" y="4404119"/>
            <a:chExt cx="8229600" cy="1364917"/>
          </a:xfrm>
        </p:grpSpPr>
        <p:grpSp>
          <p:nvGrpSpPr>
            <p:cNvPr id="14" name="Group 13"/>
            <p:cNvGrpSpPr/>
            <p:nvPr/>
          </p:nvGrpSpPr>
          <p:grpSpPr>
            <a:xfrm>
              <a:off x="436418" y="4404119"/>
              <a:ext cx="8229600" cy="1364917"/>
              <a:chOff x="436418" y="4404119"/>
              <a:chExt cx="8229600" cy="1364917"/>
            </a:xfrm>
          </p:grpSpPr>
          <p:sp>
            <p:nvSpPr>
              <p:cNvPr id="8" name="Oval 7"/>
              <p:cNvSpPr>
                <a:spLocks noChangeArrowheads="1"/>
              </p:cNvSpPr>
              <p:nvPr/>
            </p:nvSpPr>
            <p:spPr bwMode="auto">
              <a:xfrm>
                <a:off x="436418" y="4434840"/>
                <a:ext cx="8229600" cy="1334196"/>
              </a:xfrm>
              <a:prstGeom prst="roundRect">
                <a:avLst>
                  <a:gd name="adj" fmla="val 5073"/>
                </a:avLst>
              </a:prstGeom>
              <a:gradFill>
                <a:gsLst>
                  <a:gs pos="50000">
                    <a:srgbClr val="D1EDF9"/>
                  </a:gs>
                  <a:gs pos="100000">
                    <a:srgbClr val="8CD1F0"/>
                  </a:gs>
                </a:gsLst>
                <a:lin ang="3000000" scaled="0"/>
              </a:gradFill>
              <a:ln w="12700">
                <a:gradFill>
                  <a:gsLst>
                    <a:gs pos="50000">
                      <a:schemeClr val="bg1"/>
                    </a:gs>
                    <a:gs pos="100000">
                      <a:srgbClr val="004F87"/>
                    </a:gs>
                  </a:gsLst>
                  <a:lin ang="3600000" scaled="0"/>
                </a:gradFill>
              </a:ln>
              <a:effectLst/>
            </p:spPr>
            <p:style>
              <a:lnRef idx="1">
                <a:schemeClr val="accent1"/>
              </a:lnRef>
              <a:fillRef idx="3">
                <a:schemeClr val="accent1"/>
              </a:fillRef>
              <a:effectRef idx="2">
                <a:schemeClr val="accent1"/>
              </a:effectRef>
              <a:fontRef idx="minor">
                <a:schemeClr val="lt1"/>
              </a:fontRef>
            </p:style>
            <p:txBody>
              <a:bodyPr wrap="square" lIns="182880" tIns="91440" rIns="182880" bIns="91440" rtlCol="0" anchor="ctr">
                <a:noAutofit/>
              </a:bodyPr>
              <a:lstStyle/>
              <a:p>
                <a:pPr lvl="0">
                  <a:lnSpc>
                    <a:spcPct val="90000"/>
                  </a:lnSpc>
                  <a:spcAft>
                    <a:spcPts val="600"/>
                  </a:spcAft>
                  <a:buClr>
                    <a:srgbClr val="1F497D"/>
                  </a:buClr>
                  <a:buSzPct val="75000"/>
                </a:pPr>
                <a:r>
                  <a:rPr lang="zh-TW" altLang="en-US" sz="23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大量授權 </a:t>
                </a:r>
                <a:r>
                  <a:rPr lang="en-US" altLang="zh-TW" sz="23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a:t>
                </a:r>
                <a:r>
                  <a:rPr lang="en-US" sz="23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Volume Licensing)</a:t>
                </a:r>
              </a:p>
              <a:p>
                <a:pPr marL="342900" lvl="0" indent="-342900">
                  <a:lnSpc>
                    <a:spcPct val="90000"/>
                  </a:lnSpc>
                  <a:spcAft>
                    <a:spcPts val="600"/>
                  </a:spcAft>
                  <a:buClr>
                    <a:srgbClr val="1F497D"/>
                  </a:buClr>
                  <a:buSzPct val="75000"/>
                  <a:buBlip>
                    <a:blip r:embed="rId3"/>
                  </a:buBlip>
                </a:pPr>
                <a:r>
                  <a:rPr lang="zh-TW" altLang="en-US" sz="1600" dirty="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從微軟經銷商處</a:t>
                </a:r>
                <a:r>
                  <a:rPr lang="zh-TW" altLang="en-US" sz="16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購買</a:t>
                </a:r>
                <a:endParaRPr lang="en-US" sz="16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endParaRPr>
              </a:p>
              <a:p>
                <a:pPr marL="342900" lvl="0" indent="-342900">
                  <a:lnSpc>
                    <a:spcPct val="90000"/>
                  </a:lnSpc>
                  <a:spcAft>
                    <a:spcPts val="600"/>
                  </a:spcAft>
                  <a:buClr>
                    <a:srgbClr val="1F497D"/>
                  </a:buClr>
                  <a:buSzPct val="75000"/>
                  <a:buBlip>
                    <a:blip r:embed="rId3"/>
                  </a:buBlip>
                </a:pPr>
                <a:r>
                  <a:rPr lang="zh-TW" altLang="en-US" sz="16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依企業規模及特性不同，而有各種不同的授權合約</a:t>
                </a:r>
                <a:endParaRPr lang="en-US" altLang="zh-TW" sz="1600" dirty="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endParaRPr>
              </a:p>
              <a:p>
                <a:pPr lvl="0">
                  <a:lnSpc>
                    <a:spcPct val="90000"/>
                  </a:lnSpc>
                  <a:spcAft>
                    <a:spcPts val="600"/>
                  </a:spcAft>
                  <a:buClr>
                    <a:srgbClr val="1F497D"/>
                  </a:buClr>
                  <a:buSzPct val="75000"/>
                </a:pPr>
                <a:r>
                  <a:rPr lang="en-US" altLang="zh-TW"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      (</a:t>
                </a:r>
                <a:r>
                  <a:rPr lang="en-US" altLang="zh-TW" sz="16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EA, Select Plus, </a:t>
                </a:r>
                <a:r>
                  <a:rPr lang="en-US" altLang="zh-TW" sz="1600" dirty="0" err="1"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MPSA,</a:t>
                </a:r>
                <a:r>
                  <a:rPr lang="en-US" altLang="zh-TW" sz="2000" b="1" dirty="0" err="1" smtClean="0">
                    <a:solidFill>
                      <a:srgbClr val="002060"/>
                    </a:solidFill>
                    <a:latin typeface="微軟正黑體" pitchFamily="34" charset="-120"/>
                    <a:ea typeface="微軟正黑體" pitchFamily="34" charset="-120"/>
                  </a:rPr>
                  <a:t>Open</a:t>
                </a:r>
                <a:r>
                  <a:rPr lang="en-US" altLang="zh-TW" sz="2000" b="1" dirty="0" smtClean="0">
                    <a:solidFill>
                      <a:srgbClr val="002060"/>
                    </a:solidFill>
                    <a:latin typeface="微軟正黑體" pitchFamily="34" charset="-120"/>
                    <a:ea typeface="微軟正黑體" pitchFamily="34" charset="-120"/>
                  </a:rPr>
                  <a:t>/MOLP, Open Value</a:t>
                </a:r>
                <a:r>
                  <a:rPr lang="en-US" altLang="zh-TW"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a:t>
                </a:r>
              </a:p>
            </p:txBody>
          </p:sp>
          <p:pic>
            <p:nvPicPr>
              <p:cNvPr id="11" name="Picture 10"/>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012405" y="4404119"/>
                <a:ext cx="937450" cy="1334196"/>
              </a:xfrm>
              <a:prstGeom prst="rect">
                <a:avLst/>
              </a:prstGeom>
            </p:spPr>
          </p:pic>
        </p:grpSp>
        <p:sp>
          <p:nvSpPr>
            <p:cNvPr id="15" name="TextBox 14"/>
            <p:cNvSpPr txBox="1"/>
            <p:nvPr/>
          </p:nvSpPr>
          <p:spPr>
            <a:xfrm>
              <a:off x="7601073" y="5257800"/>
              <a:ext cx="613951" cy="138499"/>
            </a:xfrm>
            <a:prstGeom prst="rect">
              <a:avLst/>
            </a:prstGeom>
            <a:noFill/>
          </p:spPr>
          <p:txBody>
            <a:bodyPr wrap="none" lIns="0" tIns="0" rIns="0" bIns="0" rtlCol="0">
              <a:spAutoFit/>
            </a:bodyPr>
            <a:lstStyle/>
            <a:p>
              <a:r>
                <a:rPr lang="en-US" sz="900" dirty="0" smtClean="0">
                  <a:solidFill>
                    <a:schemeClr val="tx1">
                      <a:alpha val="99000"/>
                    </a:schemeClr>
                  </a:solidFill>
                  <a:latin typeface="微軟正黑體" pitchFamily="34" charset="-120"/>
                  <a:ea typeface="微軟正黑體" pitchFamily="34" charset="-120"/>
                </a:rPr>
                <a:t>Agreement</a:t>
              </a:r>
            </a:p>
          </p:txBody>
        </p:sp>
      </p:grpSp>
      <p:sp>
        <p:nvSpPr>
          <p:cNvPr id="19" name="Oval 7"/>
          <p:cNvSpPr>
            <a:spLocks noChangeArrowheads="1"/>
          </p:cNvSpPr>
          <p:nvPr/>
        </p:nvSpPr>
        <p:spPr bwMode="auto">
          <a:xfrm>
            <a:off x="532580" y="5721481"/>
            <a:ext cx="8229600" cy="1137772"/>
          </a:xfrm>
          <a:prstGeom prst="roundRect">
            <a:avLst>
              <a:gd name="adj" fmla="val 5073"/>
            </a:avLst>
          </a:prstGeom>
          <a:gradFill>
            <a:gsLst>
              <a:gs pos="50000">
                <a:srgbClr val="D1EDF9"/>
              </a:gs>
              <a:gs pos="100000">
                <a:srgbClr val="8CD1F0"/>
              </a:gs>
            </a:gsLst>
            <a:lin ang="3000000" scaled="0"/>
          </a:gradFill>
          <a:ln w="12700">
            <a:gradFill>
              <a:gsLst>
                <a:gs pos="50000">
                  <a:schemeClr val="bg1"/>
                </a:gs>
                <a:gs pos="100000">
                  <a:srgbClr val="004F87"/>
                </a:gs>
              </a:gsLst>
              <a:lin ang="3600000" scaled="0"/>
            </a:gradFill>
          </a:ln>
          <a:effectLst/>
        </p:spPr>
        <p:style>
          <a:lnRef idx="1">
            <a:schemeClr val="accent1"/>
          </a:lnRef>
          <a:fillRef idx="3">
            <a:schemeClr val="accent1"/>
          </a:fillRef>
          <a:effectRef idx="2">
            <a:schemeClr val="accent1"/>
          </a:effectRef>
          <a:fontRef idx="minor">
            <a:schemeClr val="lt1"/>
          </a:fontRef>
        </p:style>
        <p:txBody>
          <a:bodyPr wrap="square" lIns="182880" tIns="91440" rIns="182880" bIns="91440" rtlCol="0" anchor="ctr">
            <a:noAutofit/>
          </a:bodyPr>
          <a:lstStyle/>
          <a:p>
            <a:r>
              <a:rPr lang="zh-TW" altLang="en-US" sz="2300" dirty="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線上購買 </a:t>
            </a:r>
            <a:r>
              <a:rPr lang="en-US" altLang="zh-TW" sz="2300" dirty="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Online </a:t>
            </a:r>
          </a:p>
          <a:p>
            <a:pPr marL="285750" indent="-285750">
              <a:buFont typeface="Arial" panose="020B0604020202020204" pitchFamily="34" charset="0"/>
              <a:buChar char="•"/>
            </a:pPr>
            <a:r>
              <a:rPr lang="en-US" altLang="zh-TW" sz="1600" dirty="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Azure</a:t>
            </a:r>
          </a:p>
          <a:p>
            <a:pPr marL="285750" indent="-285750">
              <a:buFont typeface="Arial" panose="020B0604020202020204" pitchFamily="34" charset="0"/>
              <a:buChar char="•"/>
            </a:pPr>
            <a:r>
              <a:rPr lang="en-US" altLang="zh-TW" sz="1600" dirty="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O365</a:t>
            </a:r>
            <a:endParaRPr lang="zh-TW" altLang="en-US" sz="1600" dirty="0" err="1">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endParaRPr>
          </a:p>
        </p:txBody>
      </p:sp>
      <p:sp>
        <p:nvSpPr>
          <p:cNvPr id="24" name="AutoShape 2" descr="「azure」的圖片搜尋結果"/>
          <p:cNvSpPr>
            <a:spLocks noChangeAspect="1" noChangeArrowheads="1"/>
          </p:cNvSpPr>
          <p:nvPr/>
        </p:nvSpPr>
        <p:spPr bwMode="auto">
          <a:xfrm>
            <a:off x="-3175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TW" altLang="en-US"/>
          </a:p>
        </p:txBody>
      </p:sp>
      <p:pic>
        <p:nvPicPr>
          <p:cNvPr id="25" name="圖片 2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723372" y="5872459"/>
            <a:ext cx="2315516" cy="835815"/>
          </a:xfrm>
          <a:prstGeom prst="rect">
            <a:avLst/>
          </a:prstGeom>
        </p:spPr>
      </p:pic>
      <p:pic>
        <p:nvPicPr>
          <p:cNvPr id="26" name="圖片 25"/>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327058" y="5919267"/>
            <a:ext cx="1778257" cy="824464"/>
          </a:xfrm>
          <a:prstGeom prst="rect">
            <a:avLst/>
          </a:prstGeom>
        </p:spPr>
      </p:pic>
    </p:spTree>
    <p:extLst>
      <p:ext uri="{BB962C8B-B14F-4D97-AF65-F5344CB8AC3E}">
        <p14:creationId xmlns:p14="http://schemas.microsoft.com/office/powerpoint/2010/main" val="3043786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28600" y="2438400"/>
            <a:ext cx="5486400" cy="1146175"/>
          </a:xfrm>
        </p:spPr>
        <p:txBody>
          <a:bodyPr>
            <a:noAutofit/>
          </a:bodyPr>
          <a:lstStyle/>
          <a:p>
            <a:r>
              <a:rPr lang="en-US" altLang="zh-TW" sz="4000" b="1" dirty="0">
                <a:latin typeface="微軟正黑體" pitchFamily="34" charset="-120"/>
                <a:ea typeface="微軟正黑體" pitchFamily="34" charset="-120"/>
              </a:rPr>
              <a:t>W</a:t>
            </a:r>
            <a:r>
              <a:rPr lang="en-US" altLang="zh-TW" sz="4000" b="1" dirty="0" smtClean="0">
                <a:latin typeface="微軟正黑體" pitchFamily="34" charset="-120"/>
                <a:ea typeface="微軟正黑體" pitchFamily="34" charset="-120"/>
              </a:rPr>
              <a:t>indows </a:t>
            </a:r>
            <a:br>
              <a:rPr lang="en-US" altLang="zh-TW" sz="4000" b="1" dirty="0" smtClean="0">
                <a:latin typeface="微軟正黑體" pitchFamily="34" charset="-120"/>
                <a:ea typeface="微軟正黑體" pitchFamily="34" charset="-120"/>
              </a:rPr>
            </a:br>
            <a:r>
              <a:rPr lang="zh-TW" altLang="en-US" sz="4000" b="1" dirty="0" smtClean="0">
                <a:latin typeface="微軟正黑體" pitchFamily="34" charset="-120"/>
                <a:ea typeface="微軟正黑體" pitchFamily="34" charset="-120"/>
              </a:rPr>
              <a:t>授權模式</a:t>
            </a:r>
            <a:endParaRPr lang="en-US" sz="4000" b="1" dirty="0"/>
          </a:p>
        </p:txBody>
      </p:sp>
    </p:spTree>
    <p:extLst>
      <p:ext uri="{BB962C8B-B14F-4D97-AF65-F5344CB8AC3E}">
        <p14:creationId xmlns:p14="http://schemas.microsoft.com/office/powerpoint/2010/main" val="284884156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71810" y="2166791"/>
            <a:ext cx="2091032" cy="13046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 name="Picture 3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3718" y="4224944"/>
            <a:ext cx="1973936" cy="2549444"/>
          </a:xfrm>
          <a:prstGeom prst="rect">
            <a:avLst/>
          </a:prstGeom>
        </p:spPr>
      </p:pic>
      <p:sp>
        <p:nvSpPr>
          <p:cNvPr id="39" name="Text Box 3"/>
          <p:cNvSpPr txBox="1">
            <a:spLocks noChangeArrowheads="1"/>
          </p:cNvSpPr>
          <p:nvPr/>
        </p:nvSpPr>
        <p:spPr bwMode="auto">
          <a:xfrm>
            <a:off x="2990836" y="1447800"/>
            <a:ext cx="5619764" cy="4302716"/>
          </a:xfrm>
          <a:prstGeom prst="rect">
            <a:avLst/>
          </a:prstGeom>
          <a:noFill/>
          <a:ln w="12700" algn="ctr">
            <a:noFill/>
            <a:miter lim="800000"/>
            <a:headEnd/>
            <a:tailEnd/>
          </a:ln>
        </p:spPr>
        <p:txBody>
          <a:bodyPr wrap="square">
            <a:spAutoFit/>
          </a:bodyPr>
          <a:lstStyle/>
          <a:p>
            <a:pPr defTabSz="914363" fontAlgn="auto">
              <a:lnSpc>
                <a:spcPct val="80000"/>
              </a:lnSpc>
              <a:spcBef>
                <a:spcPct val="20000"/>
              </a:spcBef>
              <a:spcAft>
                <a:spcPct val="20000"/>
              </a:spcAft>
              <a:buClr>
                <a:srgbClr val="3EA351"/>
              </a:buClr>
            </a:pPr>
            <a:r>
              <a:rPr lang="en-US" altLang="zh-TW" sz="1800" dirty="0">
                <a:solidFill>
                  <a:prstClr val="black"/>
                </a:solidFill>
                <a:latin typeface="微軟正黑體" pitchFamily="34" charset="-120"/>
                <a:ea typeface="微軟正黑體" pitchFamily="34" charset="-120"/>
              </a:rPr>
              <a:t>Windows </a:t>
            </a:r>
            <a:r>
              <a:rPr lang="zh-TW" altLang="en-US" sz="1800" dirty="0">
                <a:solidFill>
                  <a:prstClr val="black"/>
                </a:solidFill>
                <a:latin typeface="微軟正黑體" pitchFamily="34" charset="-120"/>
                <a:ea typeface="微軟正黑體" pitchFamily="34" charset="-120"/>
              </a:rPr>
              <a:t>完整版授權</a:t>
            </a:r>
            <a:r>
              <a:rPr lang="zh-TW" altLang="en-US" sz="1800" b="0" dirty="0">
                <a:solidFill>
                  <a:prstClr val="black"/>
                </a:solidFill>
                <a:latin typeface="微軟正黑體" pitchFamily="34" charset="-120"/>
                <a:ea typeface="微軟正黑體" pitchFamily="34" charset="-120"/>
              </a:rPr>
              <a:t> </a:t>
            </a:r>
          </a:p>
          <a:p>
            <a:pPr marL="342900" indent="-342900" defTabSz="914363" fontAlgn="auto">
              <a:lnSpc>
                <a:spcPct val="80000"/>
              </a:lnSpc>
              <a:spcBef>
                <a:spcPct val="20000"/>
              </a:spcBef>
              <a:spcAft>
                <a:spcPct val="20000"/>
              </a:spcAft>
              <a:buClr>
                <a:srgbClr val="27CAE8"/>
              </a:buClr>
              <a:buFont typeface="+mj-lt"/>
              <a:buAutoNum type="arabicPeriod"/>
            </a:pPr>
            <a:r>
              <a:rPr lang="zh-TW" altLang="en-US" sz="1800" b="0" dirty="0" smtClean="0">
                <a:solidFill>
                  <a:prstClr val="black"/>
                </a:solidFill>
                <a:latin typeface="微軟正黑體" pitchFamily="34" charset="-120"/>
                <a:ea typeface="微軟正黑體" pitchFamily="34" charset="-120"/>
              </a:rPr>
              <a:t>新機器應預先安裝  </a:t>
            </a:r>
            <a:r>
              <a:rPr lang="en-US" altLang="zh-TW" sz="1800" b="0" dirty="0" smtClean="0">
                <a:solidFill>
                  <a:prstClr val="black"/>
                </a:solidFill>
                <a:latin typeface="微軟正黑體" pitchFamily="34" charset="-120"/>
                <a:ea typeface="微軟正黑體" pitchFamily="34" charset="-120"/>
              </a:rPr>
              <a:t>OEM </a:t>
            </a:r>
            <a:r>
              <a:rPr lang="zh-TW" altLang="en-US" sz="1800" b="0" dirty="0" smtClean="0">
                <a:solidFill>
                  <a:prstClr val="black"/>
                </a:solidFill>
                <a:latin typeface="微軟正黑體" pitchFamily="34" charset="-120"/>
                <a:ea typeface="微軟正黑體" pitchFamily="34" charset="-120"/>
              </a:rPr>
              <a:t>版</a:t>
            </a:r>
            <a:endParaRPr lang="en-US" altLang="zh-TW" sz="1800" b="0" dirty="0" smtClean="0">
              <a:solidFill>
                <a:prstClr val="black"/>
              </a:solidFill>
              <a:latin typeface="微軟正黑體" pitchFamily="34" charset="-120"/>
              <a:ea typeface="微軟正黑體" pitchFamily="34" charset="-120"/>
            </a:endParaRPr>
          </a:p>
          <a:p>
            <a:pPr marL="342900" indent="-342900" defTabSz="914363" fontAlgn="auto">
              <a:lnSpc>
                <a:spcPct val="80000"/>
              </a:lnSpc>
              <a:spcBef>
                <a:spcPct val="20000"/>
              </a:spcBef>
              <a:spcAft>
                <a:spcPct val="20000"/>
              </a:spcAft>
              <a:buClr>
                <a:srgbClr val="27CAE8"/>
              </a:buClr>
              <a:buFont typeface="+mj-lt"/>
              <a:buAutoNum type="arabicPeriod"/>
            </a:pPr>
            <a:r>
              <a:rPr lang="en-US" altLang="zh-TW" sz="1800" b="0" dirty="0" smtClean="0">
                <a:solidFill>
                  <a:prstClr val="black"/>
                </a:solidFill>
                <a:latin typeface="微軟正黑體" pitchFamily="34" charset="-120"/>
                <a:ea typeface="微軟正黑體" pitchFamily="34" charset="-120"/>
              </a:rPr>
              <a:t>Windows 8.1 </a:t>
            </a:r>
            <a:r>
              <a:rPr lang="zh-TW" altLang="en-US" sz="1800" b="0" dirty="0" smtClean="0">
                <a:solidFill>
                  <a:prstClr val="black"/>
                </a:solidFill>
                <a:latin typeface="微軟正黑體" pitchFamily="34" charset="-120"/>
                <a:ea typeface="微軟正黑體" pitchFamily="34" charset="-120"/>
              </a:rPr>
              <a:t>及先前版本可透過</a:t>
            </a:r>
            <a:r>
              <a:rPr lang="en-US" altLang="zh-TW" sz="1800" b="0" dirty="0" smtClean="0">
                <a:solidFill>
                  <a:prstClr val="black"/>
                </a:solidFill>
                <a:latin typeface="微軟正黑體" pitchFamily="34" charset="-120"/>
                <a:ea typeface="微軟正黑體" pitchFamily="34" charset="-120"/>
              </a:rPr>
              <a:t>FPP, OEM</a:t>
            </a:r>
            <a:r>
              <a:rPr lang="zh-TW" altLang="en-US" sz="1800" b="0" dirty="0" smtClean="0">
                <a:solidFill>
                  <a:prstClr val="black"/>
                </a:solidFill>
                <a:latin typeface="微軟正黑體" pitchFamily="34" charset="-120"/>
                <a:ea typeface="微軟正黑體" pitchFamily="34" charset="-120"/>
              </a:rPr>
              <a:t>取得</a:t>
            </a:r>
            <a:r>
              <a:rPr lang="en-US" altLang="zh-TW" sz="1800" b="0" dirty="0" smtClean="0">
                <a:solidFill>
                  <a:prstClr val="black"/>
                </a:solidFill>
                <a:latin typeface="微軟正黑體" pitchFamily="34" charset="-120"/>
                <a:ea typeface="微軟正黑體" pitchFamily="34" charset="-120"/>
              </a:rPr>
              <a:t>Windows </a:t>
            </a:r>
            <a:r>
              <a:rPr lang="zh-TW" altLang="en-US" sz="1800" b="0" dirty="0" smtClean="0">
                <a:solidFill>
                  <a:prstClr val="black"/>
                </a:solidFill>
                <a:latin typeface="微軟正黑體" pitchFamily="34" charset="-120"/>
                <a:ea typeface="微軟正黑體" pitchFamily="34" charset="-120"/>
              </a:rPr>
              <a:t>完整版授權</a:t>
            </a:r>
            <a:endParaRPr lang="en-US" altLang="zh-TW" sz="1800" b="0" dirty="0" smtClean="0">
              <a:solidFill>
                <a:prstClr val="black"/>
              </a:solidFill>
              <a:latin typeface="微軟正黑體" pitchFamily="34" charset="-120"/>
              <a:ea typeface="微軟正黑體" pitchFamily="34" charset="-120"/>
            </a:endParaRPr>
          </a:p>
          <a:p>
            <a:pPr marL="342900" indent="-342900" defTabSz="914363" fontAlgn="auto">
              <a:lnSpc>
                <a:spcPct val="80000"/>
              </a:lnSpc>
              <a:spcBef>
                <a:spcPct val="20000"/>
              </a:spcBef>
              <a:spcAft>
                <a:spcPct val="20000"/>
              </a:spcAft>
              <a:buClr>
                <a:srgbClr val="27CAE8"/>
              </a:buClr>
              <a:buFont typeface="+mj-lt"/>
              <a:buAutoNum type="arabicPeriod"/>
            </a:pPr>
            <a:r>
              <a:rPr lang="zh-TW" altLang="en-US" sz="1800" b="0" dirty="0" smtClean="0">
                <a:solidFill>
                  <a:prstClr val="black"/>
                </a:solidFill>
                <a:latin typeface="微軟正黑體" pitchFamily="34" charset="-120"/>
                <a:ea typeface="微軟正黑體" pitchFamily="34" charset="-120"/>
              </a:rPr>
              <a:t> </a:t>
            </a:r>
            <a:r>
              <a:rPr lang="en-US" altLang="zh-TW" sz="1800" b="0" dirty="0" smtClean="0">
                <a:solidFill>
                  <a:prstClr val="black"/>
                </a:solidFill>
                <a:latin typeface="微軟正黑體" pitchFamily="34" charset="-120"/>
                <a:ea typeface="微軟正黑體" pitchFamily="34" charset="-120"/>
              </a:rPr>
              <a:t>Windows 8 </a:t>
            </a:r>
            <a:r>
              <a:rPr lang="zh-TW" altLang="en-US" sz="1800" b="0" dirty="0" smtClean="0">
                <a:solidFill>
                  <a:prstClr val="black"/>
                </a:solidFill>
                <a:latin typeface="微軟正黑體" pitchFamily="34" charset="-120"/>
                <a:ea typeface="微軟正黑體" pitchFamily="34" charset="-120"/>
              </a:rPr>
              <a:t>只有 </a:t>
            </a:r>
            <a:r>
              <a:rPr lang="en-US" altLang="zh-TW" sz="1800" b="0" dirty="0" smtClean="0">
                <a:solidFill>
                  <a:prstClr val="black"/>
                </a:solidFill>
                <a:latin typeface="微軟正黑體" pitchFamily="34" charset="-120"/>
                <a:ea typeface="微軟正黑體" pitchFamily="34" charset="-120"/>
              </a:rPr>
              <a:t>OEM</a:t>
            </a:r>
            <a:r>
              <a:rPr lang="zh-TW" altLang="en-US" sz="1800" b="0" dirty="0" smtClean="0">
                <a:solidFill>
                  <a:prstClr val="black"/>
                </a:solidFill>
                <a:latin typeface="微軟正黑體" pitchFamily="34" charset="-120"/>
                <a:ea typeface="微軟正黑體" pitchFamily="34" charset="-120"/>
              </a:rPr>
              <a:t>可以取得 </a:t>
            </a:r>
            <a:r>
              <a:rPr lang="en-US" altLang="zh-TW" sz="1800" b="0" dirty="0" smtClean="0">
                <a:solidFill>
                  <a:prstClr val="black"/>
                </a:solidFill>
                <a:latin typeface="微軟正黑體" pitchFamily="34" charset="-120"/>
                <a:ea typeface="微軟正黑體" pitchFamily="34" charset="-120"/>
              </a:rPr>
              <a:t>Windows </a:t>
            </a:r>
            <a:r>
              <a:rPr lang="zh-TW" altLang="en-US" sz="1800" b="0" dirty="0" smtClean="0">
                <a:solidFill>
                  <a:prstClr val="black"/>
                </a:solidFill>
                <a:latin typeface="微軟正黑體" pitchFamily="34" charset="-120"/>
                <a:ea typeface="微軟正黑體" pitchFamily="34" charset="-120"/>
              </a:rPr>
              <a:t>完整版</a:t>
            </a:r>
            <a:endParaRPr lang="en-US" altLang="zh-TW" sz="1800" b="0" dirty="0">
              <a:solidFill>
                <a:prstClr val="black"/>
              </a:solidFill>
              <a:latin typeface="微軟正黑體" pitchFamily="34" charset="-120"/>
              <a:ea typeface="微軟正黑體" pitchFamily="34" charset="-120"/>
            </a:endParaRPr>
          </a:p>
          <a:p>
            <a:pPr defTabSz="914363" fontAlgn="auto">
              <a:lnSpc>
                <a:spcPct val="80000"/>
              </a:lnSpc>
              <a:spcBef>
                <a:spcPct val="20000"/>
              </a:spcBef>
              <a:spcAft>
                <a:spcPct val="20000"/>
              </a:spcAft>
              <a:buClr>
                <a:srgbClr val="3EA351"/>
              </a:buClr>
            </a:pPr>
            <a:endParaRPr lang="en-US" altLang="zh-TW" sz="1800" b="0" dirty="0">
              <a:solidFill>
                <a:prstClr val="black"/>
              </a:solidFill>
              <a:latin typeface="微軟正黑體" pitchFamily="34" charset="-120"/>
              <a:ea typeface="微軟正黑體" pitchFamily="34" charset="-120"/>
            </a:endParaRPr>
          </a:p>
          <a:p>
            <a:pPr defTabSz="914363" fontAlgn="auto">
              <a:lnSpc>
                <a:spcPct val="80000"/>
              </a:lnSpc>
              <a:spcBef>
                <a:spcPct val="20000"/>
              </a:spcBef>
              <a:spcAft>
                <a:spcPct val="20000"/>
              </a:spcAft>
              <a:buClr>
                <a:srgbClr val="3EA351"/>
              </a:buClr>
            </a:pPr>
            <a:r>
              <a:rPr lang="en-US" altLang="zh-TW" sz="1800" dirty="0">
                <a:solidFill>
                  <a:prstClr val="black"/>
                </a:solidFill>
                <a:latin typeface="微軟正黑體" pitchFamily="34" charset="-120"/>
                <a:ea typeface="微軟正黑體" pitchFamily="34" charset="-120"/>
              </a:rPr>
              <a:t>Windows </a:t>
            </a:r>
            <a:r>
              <a:rPr lang="zh-TW" altLang="en-US" sz="1800" dirty="0">
                <a:solidFill>
                  <a:prstClr val="black"/>
                </a:solidFill>
                <a:latin typeface="微軟正黑體" pitchFamily="34" charset="-120"/>
                <a:ea typeface="微軟正黑體" pitchFamily="34" charset="-120"/>
              </a:rPr>
              <a:t>升</a:t>
            </a:r>
            <a:r>
              <a:rPr lang="zh-TW" altLang="en-US" sz="1800" dirty="0" smtClean="0">
                <a:solidFill>
                  <a:prstClr val="black"/>
                </a:solidFill>
                <a:latin typeface="微軟正黑體" pitchFamily="34" charset="-120"/>
                <a:ea typeface="微軟正黑體" pitchFamily="34" charset="-120"/>
              </a:rPr>
              <a:t>級</a:t>
            </a:r>
            <a:r>
              <a:rPr lang="zh-TW" altLang="en-US" sz="1800" dirty="0">
                <a:solidFill>
                  <a:prstClr val="black"/>
                </a:solidFill>
                <a:latin typeface="微軟正黑體" pitchFamily="34" charset="-120"/>
                <a:ea typeface="微軟正黑體" pitchFamily="34" charset="-120"/>
              </a:rPr>
              <a:t>版</a:t>
            </a:r>
          </a:p>
          <a:p>
            <a:pPr marL="342900" indent="-342900" defTabSz="914363" fontAlgn="auto">
              <a:lnSpc>
                <a:spcPct val="80000"/>
              </a:lnSpc>
              <a:spcBef>
                <a:spcPct val="20000"/>
              </a:spcBef>
              <a:spcAft>
                <a:spcPct val="20000"/>
              </a:spcAft>
              <a:buClr>
                <a:srgbClr val="27CAE8"/>
              </a:buClr>
              <a:buFont typeface="+mj-lt"/>
              <a:buAutoNum type="arabicPeriod"/>
            </a:pPr>
            <a:r>
              <a:rPr lang="zh-TW" altLang="en-US" sz="1800" b="0" dirty="0">
                <a:solidFill>
                  <a:prstClr val="black"/>
                </a:solidFill>
                <a:latin typeface="微軟正黑體" pitchFamily="34" charset="-120"/>
                <a:ea typeface="微軟正黑體" pitchFamily="34" charset="-120"/>
              </a:rPr>
              <a:t>必須先取得 </a:t>
            </a:r>
            <a:r>
              <a:rPr lang="en-US" altLang="zh-TW" sz="1800" b="0" dirty="0">
                <a:solidFill>
                  <a:prstClr val="black"/>
                </a:solidFill>
                <a:latin typeface="微軟正黑體" pitchFamily="34" charset="-120"/>
                <a:ea typeface="微軟正黑體" pitchFamily="34" charset="-120"/>
              </a:rPr>
              <a:t>Windows </a:t>
            </a:r>
            <a:r>
              <a:rPr lang="zh-TW" altLang="en-US" sz="1800" b="0" dirty="0">
                <a:solidFill>
                  <a:prstClr val="black"/>
                </a:solidFill>
                <a:latin typeface="微軟正黑體" pitchFamily="34" charset="-120"/>
                <a:ea typeface="微軟正黑體" pitchFamily="34" charset="-120"/>
              </a:rPr>
              <a:t>完整版才能合格使用 </a:t>
            </a:r>
            <a:r>
              <a:rPr lang="en-US" altLang="zh-TW" sz="1800" b="0" dirty="0">
                <a:solidFill>
                  <a:prstClr val="black"/>
                </a:solidFill>
                <a:latin typeface="微軟正黑體" pitchFamily="34" charset="-120"/>
                <a:ea typeface="微軟正黑體" pitchFamily="34" charset="-120"/>
              </a:rPr>
              <a:t>Windows </a:t>
            </a:r>
            <a:r>
              <a:rPr lang="zh-TW" altLang="en-US" sz="1800" b="0" dirty="0">
                <a:solidFill>
                  <a:prstClr val="black"/>
                </a:solidFill>
                <a:latin typeface="微軟正黑體" pitchFamily="34" charset="-120"/>
                <a:ea typeface="微軟正黑體" pitchFamily="34" charset="-120"/>
              </a:rPr>
              <a:t>升</a:t>
            </a:r>
            <a:r>
              <a:rPr lang="zh-TW" altLang="en-US" sz="1800" b="0" dirty="0" smtClean="0">
                <a:solidFill>
                  <a:prstClr val="black"/>
                </a:solidFill>
                <a:latin typeface="微軟正黑體" pitchFamily="34" charset="-120"/>
                <a:ea typeface="微軟正黑體" pitchFamily="34" charset="-120"/>
              </a:rPr>
              <a:t>級</a:t>
            </a:r>
            <a:r>
              <a:rPr lang="zh-TW" altLang="en-US" sz="1800" b="0" dirty="0">
                <a:solidFill>
                  <a:prstClr val="black"/>
                </a:solidFill>
                <a:latin typeface="微軟正黑體" pitchFamily="34" charset="-120"/>
                <a:ea typeface="微軟正黑體" pitchFamily="34" charset="-120"/>
              </a:rPr>
              <a:t>版</a:t>
            </a:r>
          </a:p>
          <a:p>
            <a:pPr marL="342900" indent="-342900" defTabSz="914363" fontAlgn="auto">
              <a:lnSpc>
                <a:spcPct val="80000"/>
              </a:lnSpc>
              <a:spcBef>
                <a:spcPct val="20000"/>
              </a:spcBef>
              <a:spcAft>
                <a:spcPct val="20000"/>
              </a:spcAft>
              <a:buClr>
                <a:srgbClr val="27CAE8"/>
              </a:buClr>
              <a:buFont typeface="+mj-lt"/>
              <a:buAutoNum type="arabicPeriod"/>
            </a:pPr>
            <a:r>
              <a:rPr lang="zh-TW" altLang="en-US" sz="1800" b="0" dirty="0" smtClean="0">
                <a:solidFill>
                  <a:prstClr val="black"/>
                </a:solidFill>
                <a:latin typeface="微軟正黑體" pitchFamily="34" charset="-120"/>
                <a:ea typeface="微軟正黑體" pitchFamily="34" charset="-120"/>
              </a:rPr>
              <a:t>升級版可以</a:t>
            </a:r>
            <a:r>
              <a:rPr lang="zh-TW" altLang="en-US" sz="1800" b="0" dirty="0">
                <a:solidFill>
                  <a:prstClr val="black"/>
                </a:solidFill>
                <a:latin typeface="微軟正黑體" pitchFamily="34" charset="-120"/>
                <a:ea typeface="微軟正黑體" pitchFamily="34" charset="-120"/>
              </a:rPr>
              <a:t>透過 </a:t>
            </a:r>
            <a:r>
              <a:rPr lang="en-US" altLang="zh-TW" sz="1800" b="0" dirty="0" smtClean="0">
                <a:solidFill>
                  <a:prstClr val="black"/>
                </a:solidFill>
                <a:latin typeface="微軟正黑體" pitchFamily="34" charset="-120"/>
                <a:ea typeface="微軟正黑體" pitchFamily="34" charset="-120"/>
              </a:rPr>
              <a:t>FPP </a:t>
            </a:r>
            <a:r>
              <a:rPr lang="zh-TW" altLang="en-US" sz="1800" b="0" dirty="0" smtClean="0">
                <a:solidFill>
                  <a:prstClr val="black"/>
                </a:solidFill>
                <a:latin typeface="微軟正黑體" pitchFamily="34" charset="-120"/>
                <a:ea typeface="微軟正黑體" pitchFamily="34" charset="-120"/>
              </a:rPr>
              <a:t>或大</a:t>
            </a:r>
            <a:r>
              <a:rPr lang="zh-TW" altLang="en-US" sz="1800" b="0" dirty="0">
                <a:solidFill>
                  <a:prstClr val="black"/>
                </a:solidFill>
                <a:latin typeface="微軟正黑體" pitchFamily="34" charset="-120"/>
                <a:ea typeface="微軟正黑體" pitchFamily="34" charset="-120"/>
              </a:rPr>
              <a:t>量</a:t>
            </a:r>
            <a:r>
              <a:rPr lang="zh-TW" altLang="en-US" sz="1800" b="0" dirty="0" smtClean="0">
                <a:solidFill>
                  <a:prstClr val="black"/>
                </a:solidFill>
                <a:latin typeface="微軟正黑體" pitchFamily="34" charset="-120"/>
                <a:ea typeface="微軟正黑體" pitchFamily="34" charset="-120"/>
              </a:rPr>
              <a:t>授權方案取得</a:t>
            </a:r>
            <a:endParaRPr lang="en-US" altLang="zh-TW" sz="1800" b="0" dirty="0" smtClean="0">
              <a:solidFill>
                <a:prstClr val="black"/>
              </a:solidFill>
              <a:latin typeface="微軟正黑體" pitchFamily="34" charset="-120"/>
              <a:ea typeface="微軟正黑體" pitchFamily="34" charset="-120"/>
            </a:endParaRPr>
          </a:p>
          <a:p>
            <a:pPr marL="342900" indent="-342900" defTabSz="914363" fontAlgn="auto">
              <a:lnSpc>
                <a:spcPct val="80000"/>
              </a:lnSpc>
              <a:spcBef>
                <a:spcPct val="20000"/>
              </a:spcBef>
              <a:spcAft>
                <a:spcPct val="20000"/>
              </a:spcAft>
              <a:buClr>
                <a:srgbClr val="27CAE8"/>
              </a:buClr>
              <a:buFont typeface="+mj-lt"/>
              <a:buAutoNum type="arabicPeriod"/>
            </a:pPr>
            <a:endParaRPr lang="en-US" altLang="zh-TW" sz="1800" b="0" dirty="0">
              <a:solidFill>
                <a:prstClr val="black"/>
              </a:solidFill>
              <a:latin typeface="微軟正黑體" pitchFamily="34" charset="-120"/>
              <a:ea typeface="微軟正黑體" pitchFamily="34" charset="-120"/>
            </a:endParaRPr>
          </a:p>
          <a:p>
            <a:pPr defTabSz="914363" fontAlgn="auto">
              <a:lnSpc>
                <a:spcPct val="80000"/>
              </a:lnSpc>
              <a:spcBef>
                <a:spcPct val="20000"/>
              </a:spcBef>
              <a:spcAft>
                <a:spcPct val="20000"/>
              </a:spcAft>
              <a:buClr>
                <a:srgbClr val="3EA351"/>
              </a:buClr>
            </a:pPr>
            <a:r>
              <a:rPr lang="en-US" altLang="zh-TW" sz="1800" dirty="0" smtClean="0">
                <a:solidFill>
                  <a:prstClr val="black"/>
                </a:solidFill>
                <a:latin typeface="微軟正黑體" pitchFamily="34" charset="-120"/>
                <a:ea typeface="微軟正黑體" pitchFamily="34" charset="-120"/>
              </a:rPr>
              <a:t>GGWA </a:t>
            </a:r>
            <a:r>
              <a:rPr lang="en-US" altLang="zh-TW" sz="1400" dirty="0" smtClean="0">
                <a:solidFill>
                  <a:prstClr val="black"/>
                </a:solidFill>
                <a:latin typeface="微軟正黑體" pitchFamily="34" charset="-120"/>
                <a:ea typeface="微軟正黑體" pitchFamily="34" charset="-120"/>
              </a:rPr>
              <a:t>(</a:t>
            </a:r>
            <a:r>
              <a:rPr lang="en-US" altLang="zh-TW" sz="1400" b="0" dirty="0">
                <a:solidFill>
                  <a:prstClr val="black"/>
                </a:solidFill>
                <a:latin typeface="微軟正黑體" pitchFamily="34" charset="-120"/>
                <a:ea typeface="微軟正黑體" pitchFamily="34" charset="-120"/>
              </a:rPr>
              <a:t>Get Genuine Windows </a:t>
            </a:r>
            <a:r>
              <a:rPr lang="en-US" altLang="zh-TW" sz="1400" b="0" dirty="0" smtClean="0">
                <a:solidFill>
                  <a:prstClr val="black"/>
                </a:solidFill>
                <a:latin typeface="微軟正黑體" pitchFamily="34" charset="-120"/>
                <a:ea typeface="微軟正黑體" pitchFamily="34" charset="-120"/>
              </a:rPr>
              <a:t>Agreement)</a:t>
            </a:r>
          </a:p>
          <a:p>
            <a:pPr marL="285750" indent="-285750" defTabSz="914363" fontAlgn="auto">
              <a:lnSpc>
                <a:spcPct val="80000"/>
              </a:lnSpc>
              <a:spcBef>
                <a:spcPct val="20000"/>
              </a:spcBef>
              <a:spcAft>
                <a:spcPct val="20000"/>
              </a:spcAft>
              <a:buClr>
                <a:srgbClr val="3EA351"/>
              </a:buClr>
              <a:buFont typeface="Arial" pitchFamily="34" charset="0"/>
              <a:buChar char="•"/>
            </a:pPr>
            <a:r>
              <a:rPr lang="zh-TW" altLang="en-US" sz="1800" b="0" dirty="0" smtClean="0">
                <a:solidFill>
                  <a:prstClr val="black"/>
                </a:solidFill>
                <a:latin typeface="微軟正黑體" pitchFamily="34" charset="-120"/>
                <a:ea typeface="微軟正黑體" pitchFamily="34" charset="-120"/>
              </a:rPr>
              <a:t>為缺乏</a:t>
            </a:r>
            <a:r>
              <a:rPr lang="en-US" altLang="zh-TW" sz="1800" b="0" dirty="0">
                <a:solidFill>
                  <a:prstClr val="black"/>
                </a:solidFill>
                <a:latin typeface="微軟正黑體" pitchFamily="34" charset="-120"/>
                <a:ea typeface="微軟正黑體" pitchFamily="34" charset="-120"/>
              </a:rPr>
              <a:t>W</a:t>
            </a:r>
            <a:r>
              <a:rPr lang="en-US" altLang="zh-TW" sz="1800" b="0" dirty="0" smtClean="0">
                <a:solidFill>
                  <a:prstClr val="black"/>
                </a:solidFill>
                <a:latin typeface="微軟正黑體" pitchFamily="34" charset="-120"/>
                <a:ea typeface="微軟正黑體" pitchFamily="34" charset="-120"/>
              </a:rPr>
              <a:t>indows</a:t>
            </a:r>
            <a:r>
              <a:rPr lang="zh-TW" altLang="en-US" sz="1800" b="0" dirty="0" smtClean="0">
                <a:solidFill>
                  <a:prstClr val="black"/>
                </a:solidFill>
                <a:latin typeface="微軟正黑體" pitchFamily="34" charset="-120"/>
                <a:ea typeface="微軟正黑體" pitchFamily="34" charset="-120"/>
              </a:rPr>
              <a:t>完整版授權的</a:t>
            </a:r>
            <a:r>
              <a:rPr lang="zh-TW" altLang="en-US" sz="1800" b="0" dirty="0">
                <a:solidFill>
                  <a:prstClr val="black"/>
                </a:solidFill>
                <a:latin typeface="微軟正黑體" pitchFamily="34" charset="-120"/>
                <a:ea typeface="微軟正黑體" pitchFamily="34" charset="-120"/>
              </a:rPr>
              <a:t>企業或</a:t>
            </a:r>
            <a:r>
              <a:rPr lang="zh-TW" altLang="en-US" sz="1800" b="0" dirty="0" smtClean="0">
                <a:solidFill>
                  <a:prstClr val="black"/>
                </a:solidFill>
                <a:latin typeface="微軟正黑體" pitchFamily="34" charset="-120"/>
                <a:ea typeface="微軟正黑體" pitchFamily="34" charset="-120"/>
              </a:rPr>
              <a:t>機構，所推出的舊機合法專案。</a:t>
            </a:r>
            <a:endParaRPr lang="zh-TW" altLang="en-US" sz="1800" b="0" dirty="0">
              <a:solidFill>
                <a:prstClr val="black"/>
              </a:solidFill>
              <a:latin typeface="微軟正黑體" pitchFamily="34" charset="-120"/>
              <a:ea typeface="微軟正黑體" pitchFamily="34" charset="-120"/>
            </a:endParaRPr>
          </a:p>
        </p:txBody>
      </p:sp>
      <p:sp>
        <p:nvSpPr>
          <p:cNvPr id="40" name="WordArt 6"/>
          <p:cNvSpPr>
            <a:spLocks noChangeArrowheads="1" noChangeShapeType="1" noTextEdit="1"/>
          </p:cNvSpPr>
          <p:nvPr/>
        </p:nvSpPr>
        <p:spPr bwMode="auto">
          <a:xfrm>
            <a:off x="590536" y="1447789"/>
            <a:ext cx="304800" cy="647700"/>
          </a:xfrm>
          <a:prstGeom prst="rect">
            <a:avLst/>
          </a:prstGeom>
        </p:spPr>
        <p:txBody>
          <a:bodyPr wrap="none" fromWordArt="1">
            <a:prstTxWarp prst="textPlain">
              <a:avLst>
                <a:gd name="adj" fmla="val 50000"/>
              </a:avLst>
            </a:prstTxWarp>
          </a:bodyPr>
          <a:lstStyle/>
          <a:p>
            <a:pPr algn="ctr" defTabSz="914363" fontAlgn="auto">
              <a:spcBef>
                <a:spcPts val="0"/>
              </a:spcBef>
              <a:spcAft>
                <a:spcPts val="0"/>
              </a:spcAft>
            </a:pPr>
            <a:r>
              <a:rPr lang="en-US" altLang="zh-TW" sz="3600" b="0" kern="10" dirty="0">
                <a:ln w="9525">
                  <a:solidFill>
                    <a:srgbClr val="FF3300"/>
                  </a:solidFill>
                  <a:round/>
                  <a:headEnd/>
                  <a:tailEnd/>
                </a:ln>
                <a:solidFill>
                  <a:srgbClr val="FF3300">
                    <a:alpha val="50195"/>
                  </a:srgbClr>
                </a:solidFill>
                <a:latin typeface="Arial Black"/>
              </a:rPr>
              <a:t>1</a:t>
            </a:r>
            <a:endParaRPr lang="zh-TW" altLang="en-US" sz="3600" b="0" kern="10" dirty="0">
              <a:ln w="9525">
                <a:solidFill>
                  <a:srgbClr val="FF3300"/>
                </a:solidFill>
                <a:round/>
                <a:headEnd/>
                <a:tailEnd/>
              </a:ln>
              <a:solidFill>
                <a:srgbClr val="FF3300">
                  <a:alpha val="50195"/>
                </a:srgbClr>
              </a:solidFill>
              <a:latin typeface="Arial Black"/>
            </a:endParaRPr>
          </a:p>
        </p:txBody>
      </p:sp>
      <p:grpSp>
        <p:nvGrpSpPr>
          <p:cNvPr id="41" name="Group 7"/>
          <p:cNvGrpSpPr>
            <a:grpSpLocks/>
          </p:cNvGrpSpPr>
          <p:nvPr/>
        </p:nvGrpSpPr>
        <p:grpSpPr bwMode="auto">
          <a:xfrm>
            <a:off x="590536" y="4233850"/>
            <a:ext cx="1993901" cy="2466975"/>
            <a:chOff x="120" y="910"/>
            <a:chExt cx="1256" cy="1554"/>
          </a:xfrm>
        </p:grpSpPr>
        <p:pic>
          <p:nvPicPr>
            <p:cNvPr id="42" name="Picture 9" descr="winxpup"/>
            <p:cNvPicPr>
              <a:picLocks noChangeAspect="1" noChangeArrowheads="1"/>
            </p:cNvPicPr>
            <p:nvPr/>
          </p:nvPicPr>
          <p:blipFill>
            <a:blip r:embed="rId4" cstate="print"/>
            <a:srcRect/>
            <a:stretch>
              <a:fillRect/>
            </a:stretch>
          </p:blipFill>
          <p:spPr bwMode="auto">
            <a:xfrm>
              <a:off x="854" y="2008"/>
              <a:ext cx="522" cy="456"/>
            </a:xfrm>
            <a:prstGeom prst="rect">
              <a:avLst/>
            </a:prstGeom>
            <a:noFill/>
            <a:ln w="9525">
              <a:solidFill>
                <a:srgbClr val="FF3300"/>
              </a:solidFill>
              <a:miter lim="800000"/>
              <a:headEnd/>
              <a:tailEnd/>
            </a:ln>
          </p:spPr>
        </p:pic>
        <p:sp>
          <p:nvSpPr>
            <p:cNvPr id="43" name="WordArt 10"/>
            <p:cNvSpPr>
              <a:spLocks noChangeArrowheads="1" noChangeShapeType="1" noTextEdit="1"/>
            </p:cNvSpPr>
            <p:nvPr/>
          </p:nvSpPr>
          <p:spPr bwMode="auto">
            <a:xfrm>
              <a:off x="120" y="910"/>
              <a:ext cx="252" cy="408"/>
            </a:xfrm>
            <a:prstGeom prst="rect">
              <a:avLst/>
            </a:prstGeom>
          </p:spPr>
          <p:txBody>
            <a:bodyPr wrap="none" fromWordArt="1">
              <a:prstTxWarp prst="textPlain">
                <a:avLst>
                  <a:gd name="adj" fmla="val 50000"/>
                </a:avLst>
              </a:prstTxWarp>
            </a:bodyPr>
            <a:lstStyle/>
            <a:p>
              <a:pPr algn="ctr" defTabSz="914363" fontAlgn="auto">
                <a:spcBef>
                  <a:spcPts val="0"/>
                </a:spcBef>
                <a:spcAft>
                  <a:spcPts val="0"/>
                </a:spcAft>
              </a:pPr>
              <a:r>
                <a:rPr lang="en-US" altLang="zh-TW" sz="3600" b="0" kern="10" dirty="0">
                  <a:ln w="9525">
                    <a:solidFill>
                      <a:srgbClr val="FF3300"/>
                    </a:solidFill>
                    <a:round/>
                    <a:headEnd/>
                    <a:tailEnd/>
                  </a:ln>
                  <a:solidFill>
                    <a:srgbClr val="FF3300">
                      <a:alpha val="50195"/>
                    </a:srgbClr>
                  </a:solidFill>
                  <a:latin typeface="Arial Black"/>
                </a:rPr>
                <a:t>2</a:t>
              </a:r>
              <a:endParaRPr lang="zh-TW" altLang="en-US" sz="3600" b="0" kern="10">
                <a:ln w="9525">
                  <a:solidFill>
                    <a:srgbClr val="FF3300"/>
                  </a:solidFill>
                  <a:round/>
                  <a:headEnd/>
                  <a:tailEnd/>
                </a:ln>
                <a:solidFill>
                  <a:srgbClr val="FF3300">
                    <a:alpha val="50195"/>
                  </a:srgbClr>
                </a:solidFill>
                <a:latin typeface="Arial Black"/>
              </a:endParaRPr>
            </a:p>
          </p:txBody>
        </p:sp>
      </p:grpSp>
      <p:sp>
        <p:nvSpPr>
          <p:cNvPr id="44" name="AutoShape 11"/>
          <p:cNvSpPr>
            <a:spLocks noChangeArrowheads="1"/>
          </p:cNvSpPr>
          <p:nvPr/>
        </p:nvSpPr>
        <p:spPr bwMode="auto">
          <a:xfrm rot="10800000">
            <a:off x="1278892" y="3668289"/>
            <a:ext cx="476869" cy="610282"/>
          </a:xfrm>
          <a:prstGeom prst="upArrow">
            <a:avLst>
              <a:gd name="adj1" fmla="val 50000"/>
              <a:gd name="adj2" fmla="val 43137"/>
            </a:avLst>
          </a:prstGeom>
          <a:gradFill rotWithShape="1">
            <a:gsLst>
              <a:gs pos="0">
                <a:srgbClr val="3EA351">
                  <a:gamma/>
                  <a:shade val="46275"/>
                  <a:invGamma/>
                </a:srgbClr>
              </a:gs>
              <a:gs pos="50000">
                <a:srgbClr val="3EA351"/>
              </a:gs>
              <a:gs pos="100000">
                <a:srgbClr val="3EA351">
                  <a:gamma/>
                  <a:shade val="46275"/>
                  <a:invGamma/>
                </a:srgbClr>
              </a:gs>
            </a:gsLst>
            <a:lin ang="18900000" scaled="1"/>
          </a:gradFill>
          <a:ln w="12700" algn="ctr">
            <a:noFill/>
            <a:miter lim="800000"/>
            <a:headEnd/>
            <a:tailEnd/>
          </a:ln>
          <a:effectLst>
            <a:outerShdw dist="71842" dir="2700000" algn="ctr" rotWithShape="0">
              <a:srgbClr val="C0C0C0">
                <a:alpha val="50000"/>
              </a:srgbClr>
            </a:outerShdw>
          </a:effectLst>
        </p:spPr>
        <p:txBody>
          <a:bodyPr wrap="square" anchor="ctr">
            <a:spAutoFit/>
          </a:bodyPr>
          <a:lstStyle/>
          <a:p>
            <a:pPr defTabSz="914363" fontAlgn="auto">
              <a:spcBef>
                <a:spcPts val="0"/>
              </a:spcBef>
              <a:spcAft>
                <a:spcPts val="0"/>
              </a:spcAft>
              <a:defRPr/>
            </a:pPr>
            <a:endParaRPr lang="zh-TW" altLang="en-US" sz="1800" b="0">
              <a:solidFill>
                <a:prstClr val="black"/>
              </a:solidFill>
              <a:latin typeface="Segoe UI"/>
            </a:endParaRPr>
          </a:p>
        </p:txBody>
      </p:sp>
      <p:sp>
        <p:nvSpPr>
          <p:cNvPr id="45" name="TextBox 44"/>
          <p:cNvSpPr txBox="1"/>
          <p:nvPr/>
        </p:nvSpPr>
        <p:spPr>
          <a:xfrm>
            <a:off x="3643306" y="6215082"/>
            <a:ext cx="5101517" cy="307773"/>
          </a:xfrm>
          <a:prstGeom prst="rect">
            <a:avLst/>
          </a:prstGeom>
          <a:noFill/>
        </p:spPr>
        <p:txBody>
          <a:bodyPr wrap="none" lIns="91436" tIns="45718" rIns="91436" bIns="45718" rtlCol="0">
            <a:spAutoFit/>
          </a:bodyPr>
          <a:lstStyle/>
          <a:p>
            <a:pPr defTabSz="914363" fontAlgn="auto">
              <a:spcBef>
                <a:spcPts val="0"/>
              </a:spcBef>
              <a:spcAft>
                <a:spcPts val="0"/>
              </a:spcAft>
            </a:pPr>
            <a:r>
              <a:rPr lang="en-US" sz="1400" b="0" dirty="0">
                <a:solidFill>
                  <a:prstClr val="white"/>
                </a:solidFill>
                <a:latin typeface="Trebuchet MS"/>
              </a:rPr>
              <a:t>* </a:t>
            </a:r>
            <a:r>
              <a:rPr lang="en-US" sz="1400" dirty="0">
                <a:solidFill>
                  <a:prstClr val="white"/>
                </a:solidFill>
                <a:latin typeface="Trebuchet MS"/>
              </a:rPr>
              <a:t>Exception is GGWA (“legalization”) that provides full “L”</a:t>
            </a:r>
          </a:p>
        </p:txBody>
      </p:sp>
      <p:sp>
        <p:nvSpPr>
          <p:cNvPr id="46" name="Title 2"/>
          <p:cNvSpPr txBox="1">
            <a:spLocks/>
          </p:cNvSpPr>
          <p:nvPr/>
        </p:nvSpPr>
        <p:spPr>
          <a:xfrm>
            <a:off x="347547" y="0"/>
            <a:ext cx="8534400" cy="914400"/>
          </a:xfrm>
          <a:prstGeom prst="rect">
            <a:avLst/>
          </a:prstGeom>
        </p:spPr>
        <p:txBody>
          <a:bodyPr vert="horz" lIns="91440" tIns="45720" rIns="91440" bIns="45720" rtlCol="0" anchor="ctr">
            <a:normAutofit/>
          </a:bodyPr>
          <a:lstStyle>
            <a:lvl1pPr algn="l" defTabSz="457200" rtl="0" eaLnBrk="1" latinLnBrk="0" hangingPunct="1">
              <a:spcBef>
                <a:spcPct val="0"/>
              </a:spcBef>
              <a:buNone/>
              <a:defRPr sz="3400" kern="1200">
                <a:gradFill>
                  <a:gsLst>
                    <a:gs pos="0">
                      <a:schemeClr val="bg1"/>
                    </a:gs>
                    <a:gs pos="100000">
                      <a:schemeClr val="bg1"/>
                    </a:gs>
                  </a:gsLst>
                  <a:lin ang="5400000" scaled="0"/>
                </a:gradFill>
                <a:latin typeface="Segoe UI Light" pitchFamily="34" charset="0"/>
                <a:ea typeface="+mj-ea"/>
                <a:cs typeface="Segoe UI Light" pitchFamily="34" charset="0"/>
              </a:defRPr>
            </a:lvl1pPr>
          </a:lstStyle>
          <a:p>
            <a:pPr fontAlgn="auto">
              <a:spcAft>
                <a:spcPts val="0"/>
              </a:spcAft>
            </a:pPr>
            <a:r>
              <a:rPr lang="en-US" altLang="zh-TW" b="0" smtClean="0">
                <a:latin typeface="微軟正黑體" pitchFamily="34" charset="-120"/>
                <a:ea typeface="微軟正黑體" pitchFamily="34" charset="-120"/>
              </a:rPr>
              <a:t>Windows </a:t>
            </a:r>
            <a:r>
              <a:rPr lang="zh-TW" altLang="en-US" b="0" smtClean="0">
                <a:latin typeface="微軟正黑體" pitchFamily="34" charset="-120"/>
                <a:ea typeface="微軟正黑體" pitchFamily="34" charset="-120"/>
              </a:rPr>
              <a:t>完整版 </a:t>
            </a:r>
            <a:r>
              <a:rPr lang="en-US" altLang="zh-TW" b="0" smtClean="0">
                <a:latin typeface="微軟正黑體" pitchFamily="34" charset="-120"/>
                <a:ea typeface="微軟正黑體" pitchFamily="34" charset="-120"/>
              </a:rPr>
              <a:t>vs </a:t>
            </a:r>
            <a:r>
              <a:rPr lang="zh-TW" altLang="en-US" b="0" smtClean="0">
                <a:latin typeface="微軟正黑體" pitchFamily="34" charset="-120"/>
                <a:ea typeface="微軟正黑體" pitchFamily="34" charset="-120"/>
              </a:rPr>
              <a:t>升級版</a:t>
            </a:r>
            <a:endParaRPr lang="en-US" b="0" dirty="0">
              <a:latin typeface="微軟正黑體" pitchFamily="34" charset="-120"/>
              <a:ea typeface="微軟正黑體" pitchFamily="34" charset="-120"/>
            </a:endParaRPr>
          </a:p>
        </p:txBody>
      </p:sp>
      <p:sp>
        <p:nvSpPr>
          <p:cNvPr id="2" name="投影片編號版面配置區 1"/>
          <p:cNvSpPr>
            <a:spLocks noGrp="1"/>
          </p:cNvSpPr>
          <p:nvPr>
            <p:ph type="sldNum" sz="quarter" idx="12"/>
          </p:nvPr>
        </p:nvSpPr>
        <p:spPr/>
        <p:txBody>
          <a:bodyPr/>
          <a:lstStyle/>
          <a:p>
            <a:pPr>
              <a:defRPr/>
            </a:pPr>
            <a:fld id="{1D9970BA-2F58-4996-9806-696110DA0FEA}" type="slidenum">
              <a:rPr lang="en-US" smtClean="0"/>
              <a:pPr>
                <a:defRPr/>
              </a:pPr>
              <a:t>15</a:t>
            </a:fld>
            <a:endParaRPr lang="zh-CN" altLang="en-US"/>
          </a:p>
        </p:txBody>
      </p:sp>
    </p:spTree>
    <p:extLst>
      <p:ext uri="{BB962C8B-B14F-4D97-AF65-F5344CB8AC3E}">
        <p14:creationId xmlns:p14="http://schemas.microsoft.com/office/powerpoint/2010/main" val="39794589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C:\Users\user\Desktop\DVD_ART\Artwork_Imagery\Shapes and Graphics\Newspaper headline quotes\headline quote white square.png"/>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652184" y="1184286"/>
            <a:ext cx="5029200" cy="5425198"/>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p:cNvSpPr>
            <a:spLocks noGrp="1"/>
          </p:cNvSpPr>
          <p:nvPr>
            <p:ph type="title"/>
          </p:nvPr>
        </p:nvSpPr>
        <p:spPr>
          <a:xfrm>
            <a:off x="317446" y="146595"/>
            <a:ext cx="8363938" cy="1122138"/>
          </a:xfrm>
        </p:spPr>
        <p:txBody>
          <a:bodyPr>
            <a:normAutofit/>
          </a:bodyPr>
          <a:lstStyle/>
          <a:p>
            <a:r>
              <a:rPr lang="zh-TW" altLang="en-US" dirty="0" smtClean="0">
                <a:ea typeface="微軟正黑體" pitchFamily="34" charset="-120"/>
              </a:rPr>
              <a:t>合格的作業系統</a:t>
            </a:r>
            <a:endParaRPr lang="en-GB" dirty="0">
              <a:ea typeface="微軟正黑體" pitchFamily="34" charset="-120"/>
            </a:endParaRPr>
          </a:p>
        </p:txBody>
      </p:sp>
      <p:sp>
        <p:nvSpPr>
          <p:cNvPr id="2" name="TextBox 1"/>
          <p:cNvSpPr txBox="1"/>
          <p:nvPr/>
        </p:nvSpPr>
        <p:spPr>
          <a:xfrm>
            <a:off x="310091" y="1476896"/>
            <a:ext cx="3294030" cy="4924425"/>
          </a:xfrm>
          <a:prstGeom prst="rect">
            <a:avLst/>
          </a:prstGeom>
          <a:noFill/>
        </p:spPr>
        <p:txBody>
          <a:bodyPr wrap="square" lIns="0" tIns="0" rIns="0" bIns="0" rtlCol="0">
            <a:spAutoFit/>
          </a:bodyPr>
          <a:lstStyle/>
          <a:p>
            <a:r>
              <a:rPr lang="zh-TW" altLang="en-US" sz="1600" dirty="0">
                <a:latin typeface="微軟正黑體" pitchFamily="34" charset="-120"/>
                <a:ea typeface="微軟正黑體" pitchFamily="34" charset="-120"/>
              </a:rPr>
              <a:t>您的電腦必須擁有符合右方表格中</a:t>
            </a:r>
            <a:r>
              <a:rPr lang="en-US" altLang="zh-TW" sz="1600" dirty="0">
                <a:latin typeface="微軟正黑體" pitchFamily="34" charset="-120"/>
                <a:ea typeface="微軟正黑體" pitchFamily="34" charset="-120"/>
              </a:rPr>
              <a:t>Windows</a:t>
            </a:r>
            <a:r>
              <a:rPr lang="zh-TW" altLang="en-US" sz="1600" dirty="0">
                <a:latin typeface="微軟正黑體" pitchFamily="34" charset="-120"/>
                <a:ea typeface="微軟正黑體" pitchFamily="34" charset="-120"/>
              </a:rPr>
              <a:t>版本的 </a:t>
            </a:r>
            <a:r>
              <a:rPr lang="zh-TW" altLang="en-US" sz="1600" b="1" dirty="0">
                <a:latin typeface="微軟正黑體" pitchFamily="34" charset="-120"/>
                <a:ea typeface="微軟正黑體" pitchFamily="34" charset="-120"/>
              </a:rPr>
              <a:t>完整且合法授權</a:t>
            </a:r>
            <a:r>
              <a:rPr lang="zh-TW" altLang="en-US" sz="1600" dirty="0">
                <a:latin typeface="微軟正黑體" pitchFamily="34" charset="-120"/>
                <a:ea typeface="微軟正黑體" pitchFamily="34" charset="-120"/>
              </a:rPr>
              <a:t>，才能</a:t>
            </a:r>
            <a:r>
              <a:rPr lang="zh-TW" altLang="en-US" sz="1600" dirty="0" smtClean="0">
                <a:latin typeface="微軟正黑體" pitchFamily="34" charset="-120"/>
                <a:ea typeface="微軟正黑體" pitchFamily="34" charset="-120"/>
              </a:rPr>
              <a:t>安裝大量授權的</a:t>
            </a:r>
            <a:r>
              <a:rPr lang="en-US" sz="1600" dirty="0" smtClean="0">
                <a:latin typeface="微軟正黑體" pitchFamily="34" charset="-120"/>
                <a:ea typeface="微軟正黑體" pitchFamily="34" charset="-120"/>
              </a:rPr>
              <a:t> Windows</a:t>
            </a:r>
            <a:r>
              <a:rPr lang="zh-TW" altLang="en-US" sz="1600" dirty="0" smtClean="0">
                <a:latin typeface="微軟正黑體" pitchFamily="34" charset="-120"/>
                <a:ea typeface="微軟正黑體" pitchFamily="34" charset="-120"/>
              </a:rPr>
              <a:t> </a:t>
            </a:r>
            <a:r>
              <a:rPr lang="en-US" sz="1600" dirty="0" smtClean="0">
                <a:latin typeface="微軟正黑體" pitchFamily="34" charset="-120"/>
                <a:ea typeface="微軟正黑體" pitchFamily="34" charset="-120"/>
              </a:rPr>
              <a:t>upgrade</a:t>
            </a:r>
            <a:endParaRPr lang="en-US" sz="1600" dirty="0">
              <a:latin typeface="微軟正黑體" pitchFamily="34" charset="-120"/>
              <a:ea typeface="微軟正黑體" pitchFamily="34" charset="-120"/>
            </a:endParaRPr>
          </a:p>
          <a:p>
            <a:endParaRPr lang="en-US" sz="1600" dirty="0">
              <a:latin typeface="微軟正黑體" pitchFamily="34" charset="-120"/>
              <a:ea typeface="微軟正黑體" pitchFamily="34" charset="-120"/>
            </a:endParaRPr>
          </a:p>
          <a:p>
            <a:r>
              <a:rPr lang="zh-TW" altLang="en-US" sz="1600" dirty="0">
                <a:latin typeface="微軟正黑體" pitchFamily="34" charset="-120"/>
                <a:ea typeface="微軟正黑體" pitchFamily="34" charset="-120"/>
              </a:rPr>
              <a:t>而且要安裝</a:t>
            </a:r>
            <a:r>
              <a:rPr lang="en-US" altLang="zh-TW" sz="1600" dirty="0">
                <a:latin typeface="微軟正黑體" pitchFamily="34" charset="-120"/>
                <a:ea typeface="微軟正黑體" pitchFamily="34" charset="-120"/>
              </a:rPr>
              <a:t>Windows Upgrade</a:t>
            </a:r>
            <a:r>
              <a:rPr lang="zh-TW" altLang="en-US" sz="1600" dirty="0">
                <a:latin typeface="微軟正黑體" pitchFamily="34" charset="-120"/>
                <a:ea typeface="微軟正黑體" pitchFamily="34" charset="-120"/>
              </a:rPr>
              <a:t>，電腦必須符合以下三項條件：</a:t>
            </a:r>
            <a:endParaRPr lang="en-US" altLang="zh-TW" sz="1600" dirty="0">
              <a:latin typeface="微軟正黑體" pitchFamily="34" charset="-120"/>
              <a:ea typeface="微軟正黑體" pitchFamily="34" charset="-120"/>
            </a:endParaRPr>
          </a:p>
          <a:p>
            <a:r>
              <a:rPr lang="en-US" sz="1600" dirty="0">
                <a:latin typeface="微軟正黑體" pitchFamily="34" charset="-120"/>
                <a:ea typeface="微軟正黑體" pitchFamily="34" charset="-120"/>
              </a:rPr>
              <a:t> </a:t>
            </a:r>
          </a:p>
          <a:p>
            <a:pPr marL="171496" indent="-171496">
              <a:buFont typeface="+mj-lt"/>
              <a:buAutoNum type="arabicPeriod"/>
            </a:pPr>
            <a:r>
              <a:rPr lang="zh-TW" altLang="en-US" sz="1600" dirty="0">
                <a:latin typeface="微軟正黑體" pitchFamily="34" charset="-120"/>
                <a:ea typeface="微軟正黑體" pitchFamily="34" charset="-120"/>
              </a:rPr>
              <a:t>將被指派安裝大量授權升級版的電腦，必須已經預載合格的作業系統授權。</a:t>
            </a:r>
            <a:endParaRPr lang="en-US" altLang="zh-TW" sz="1600" dirty="0">
              <a:latin typeface="微軟正黑體" pitchFamily="34" charset="-120"/>
              <a:ea typeface="微軟正黑體" pitchFamily="34" charset="-120"/>
            </a:endParaRPr>
          </a:p>
          <a:p>
            <a:pPr marL="171496" indent="-171496">
              <a:buFont typeface="+mj-lt"/>
              <a:buAutoNum type="arabicPeriod"/>
            </a:pPr>
            <a:endParaRPr lang="en-US" sz="1600" dirty="0">
              <a:latin typeface="微軟正黑體" pitchFamily="34" charset="-120"/>
              <a:ea typeface="微軟正黑體" pitchFamily="34" charset="-120"/>
            </a:endParaRPr>
          </a:p>
          <a:p>
            <a:pPr marL="171496" indent="-171496">
              <a:buFont typeface="+mj-lt"/>
              <a:buAutoNum type="arabicPeriod"/>
            </a:pPr>
            <a:r>
              <a:rPr lang="zh-TW" altLang="en-US" sz="1600" dirty="0">
                <a:latin typeface="微軟正黑體" pitchFamily="34" charset="-120"/>
                <a:ea typeface="微軟正黑體" pitchFamily="34" charset="-120"/>
              </a:rPr>
              <a:t>除非電腦屬於</a:t>
            </a:r>
            <a:r>
              <a:rPr lang="en-US" altLang="zh-TW" sz="1600" dirty="0">
                <a:latin typeface="微軟正黑體" pitchFamily="34" charset="-120"/>
                <a:ea typeface="微軟正黑體" pitchFamily="34" charset="-120"/>
              </a:rPr>
              <a:t>SA</a:t>
            </a:r>
            <a:r>
              <a:rPr lang="zh-TW" altLang="en-US" sz="1600" dirty="0">
                <a:latin typeface="微軟正黑體" pitchFamily="34" charset="-120"/>
                <a:ea typeface="微軟正黑體" pitchFamily="34" charset="-120"/>
              </a:rPr>
              <a:t>涵蓋範圍，您必須移除原有的作業系統，重新用大量授權升級版部屬</a:t>
            </a:r>
            <a:r>
              <a:rPr lang="en-US" altLang="zh-TW" sz="1600" dirty="0">
                <a:latin typeface="微軟正黑體" pitchFamily="34" charset="-120"/>
                <a:ea typeface="微軟正黑體" pitchFamily="34" charset="-120"/>
              </a:rPr>
              <a:t>Windows</a:t>
            </a:r>
            <a:r>
              <a:rPr lang="zh-TW" altLang="en-US" sz="1600" dirty="0">
                <a:latin typeface="微軟正黑體" pitchFamily="34" charset="-120"/>
                <a:ea typeface="微軟正黑體" pitchFamily="34" charset="-120"/>
              </a:rPr>
              <a:t>。</a:t>
            </a:r>
            <a:endParaRPr lang="en-US" altLang="zh-TW" sz="1600" dirty="0">
              <a:latin typeface="微軟正黑體" pitchFamily="34" charset="-120"/>
              <a:ea typeface="微軟正黑體" pitchFamily="34" charset="-120"/>
            </a:endParaRPr>
          </a:p>
          <a:p>
            <a:pPr marL="171496" indent="-171496">
              <a:buFont typeface="+mj-lt"/>
              <a:buAutoNum type="arabicPeriod"/>
            </a:pPr>
            <a:endParaRPr lang="en-US" altLang="zh-TW" sz="1600" dirty="0">
              <a:latin typeface="微軟正黑體" pitchFamily="34" charset="-120"/>
              <a:ea typeface="微軟正黑體" pitchFamily="34" charset="-120"/>
            </a:endParaRPr>
          </a:p>
          <a:p>
            <a:pPr marL="171496" indent="-171496">
              <a:buFont typeface="+mj-lt"/>
              <a:buAutoNum type="arabicPeriod"/>
            </a:pPr>
            <a:r>
              <a:rPr lang="en-US" sz="1600" dirty="0">
                <a:latin typeface="微軟正黑體" pitchFamily="34" charset="-120"/>
                <a:ea typeface="微軟正黑體" pitchFamily="34" charset="-120"/>
              </a:rPr>
              <a:t> </a:t>
            </a:r>
            <a:r>
              <a:rPr lang="zh-TW" altLang="en-US" sz="1600" dirty="0">
                <a:latin typeface="微軟正黑體" pitchFamily="34" charset="-120"/>
                <a:ea typeface="微軟正黑體" pitchFamily="34" charset="-120"/>
              </a:rPr>
              <a:t>您若想在同一時間安裝或使用多於一台的</a:t>
            </a:r>
            <a:r>
              <a:rPr lang="en-US" altLang="zh-TW" sz="1600" dirty="0">
                <a:latin typeface="微軟正黑體" pitchFamily="34" charset="-120"/>
                <a:ea typeface="微軟正黑體" pitchFamily="34" charset="-120"/>
              </a:rPr>
              <a:t>Windows</a:t>
            </a:r>
            <a:r>
              <a:rPr lang="zh-TW" altLang="en-US" sz="1600" dirty="0">
                <a:latin typeface="微軟正黑體" pitchFamily="34" charset="-120"/>
                <a:ea typeface="微軟正黑體" pitchFamily="34" charset="-120"/>
              </a:rPr>
              <a:t>，可以考慮在大量授權的升級版授權之外，另行採購</a:t>
            </a:r>
            <a:r>
              <a:rPr lang="en-US" altLang="zh-TW" sz="1600" dirty="0">
                <a:latin typeface="微軟正黑體" pitchFamily="34" charset="-120"/>
                <a:ea typeface="微軟正黑體" pitchFamily="34" charset="-120"/>
              </a:rPr>
              <a:t>SA</a:t>
            </a:r>
            <a:r>
              <a:rPr lang="zh-TW" altLang="en-US" sz="1600" dirty="0">
                <a:latin typeface="微軟正黑體" pitchFamily="34" charset="-120"/>
                <a:ea typeface="微軟正黑體" pitchFamily="34" charset="-120"/>
              </a:rPr>
              <a:t>。</a:t>
            </a:r>
            <a:endParaRPr lang="en-US" sz="1600" dirty="0">
              <a:latin typeface="微軟正黑體" pitchFamily="34" charset="-120"/>
              <a:ea typeface="微軟正黑體" pitchFamily="34" charset="-120"/>
            </a:endParaRPr>
          </a:p>
        </p:txBody>
      </p:sp>
      <p:graphicFrame>
        <p:nvGraphicFramePr>
          <p:cNvPr id="8" name="Object 7"/>
          <p:cNvGraphicFramePr>
            <a:graphicFrameLocks noChangeAspect="1"/>
          </p:cNvGraphicFramePr>
          <p:nvPr>
            <p:extLst/>
          </p:nvPr>
        </p:nvGraphicFramePr>
        <p:xfrm>
          <a:off x="4162143" y="1710920"/>
          <a:ext cx="4009281" cy="4371929"/>
        </p:xfrm>
        <a:graphic>
          <a:graphicData uri="http://schemas.openxmlformats.org/presentationml/2006/ole">
            <mc:AlternateContent xmlns:mc="http://schemas.openxmlformats.org/markup-compatibility/2006">
              <mc:Choice xmlns:v="urn:schemas-microsoft-com:vml" Requires="v">
                <p:oleObj spid="_x0000_s6153" name="Worksheet" r:id="rId6" imgW="5686641" imgH="6200775" progId="Excel.Sheet.12">
                  <p:embed/>
                </p:oleObj>
              </mc:Choice>
              <mc:Fallback>
                <p:oleObj name="Worksheet" r:id="rId6" imgW="5686641" imgH="6200775" progId="Excel.Sheet.12">
                  <p:embed/>
                  <p:pic>
                    <p:nvPicPr>
                      <p:cNvPr id="0" name=""/>
                      <p:cNvPicPr/>
                      <p:nvPr/>
                    </p:nvPicPr>
                    <p:blipFill>
                      <a:blip r:embed="rId7"/>
                      <a:stretch>
                        <a:fillRect/>
                      </a:stretch>
                    </p:blipFill>
                    <p:spPr>
                      <a:xfrm>
                        <a:off x="4162143" y="1710920"/>
                        <a:ext cx="4009281" cy="4371929"/>
                      </a:xfrm>
                      <a:prstGeom prst="rect">
                        <a:avLst/>
                      </a:prstGeom>
                    </p:spPr>
                  </p:pic>
                </p:oleObj>
              </mc:Fallback>
            </mc:AlternateContent>
          </a:graphicData>
        </a:graphic>
      </p:graphicFrame>
    </p:spTree>
    <p:extLst>
      <p:ext uri="{BB962C8B-B14F-4D97-AF65-F5344CB8AC3E}">
        <p14:creationId xmlns:p14="http://schemas.microsoft.com/office/powerpoint/2010/main" val="1807815087"/>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ounded Rectangle 14"/>
          <p:cNvSpPr/>
          <p:nvPr/>
        </p:nvSpPr>
        <p:spPr bwMode="auto">
          <a:xfrm>
            <a:off x="4724400" y="1295400"/>
            <a:ext cx="4177158" cy="4953000"/>
          </a:xfrm>
          <a:prstGeom prst="roundRect">
            <a:avLst/>
          </a:prstGeom>
          <a:solidFill>
            <a:srgbClr val="FFF316">
              <a:lumMod val="20000"/>
              <a:lumOff val="80000"/>
            </a:srgbClr>
          </a:solidFill>
          <a:ln>
            <a:noFill/>
            <a:headEnd type="none" w="med" len="med"/>
            <a:tailEnd type="none" w="med" len="med"/>
          </a:ln>
          <a:effectLst>
            <a:outerShdw blurRad="50800" dist="38100" dir="8100000" algn="tr" rotWithShape="0">
              <a:prstClr val="black">
                <a:alpha val="73000"/>
              </a:prstClr>
            </a:outerShdw>
          </a:effectLst>
          <a:scene3d>
            <a:camera prst="orthographicFront">
              <a:rot lat="0" lon="0" rev="0"/>
            </a:camera>
            <a:lightRig rig="threePt" dir="t">
              <a:rot lat="0" lon="0" rev="1200000"/>
            </a:lightRig>
          </a:scene3d>
          <a:sp3d>
            <a:bevelT/>
          </a:sp3d>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gradFill>
                <a:gsLst>
                  <a:gs pos="0">
                    <a:prstClr val="white"/>
                  </a:gs>
                  <a:gs pos="100000">
                    <a:prstClr val="white"/>
                  </a:gs>
                </a:gsLst>
                <a:lin ang="13500000" scaled="1"/>
              </a:gradFill>
              <a:effectLst>
                <a:outerShdw blurRad="38100" dist="38100" dir="2700000" algn="tl">
                  <a:srgbClr val="000000">
                    <a:alpha val="43137"/>
                  </a:srgbClr>
                </a:outerShdw>
              </a:effectLst>
              <a:uLnTx/>
              <a:uFillTx/>
              <a:latin typeface="Segoe" pitchFamily="34" charset="0"/>
            </a:endParaRPr>
          </a:p>
        </p:txBody>
      </p:sp>
      <p:sp>
        <p:nvSpPr>
          <p:cNvPr id="16" name="Rounded Rectangle 15"/>
          <p:cNvSpPr/>
          <p:nvPr/>
        </p:nvSpPr>
        <p:spPr bwMode="auto">
          <a:xfrm>
            <a:off x="381000" y="1295400"/>
            <a:ext cx="4114800" cy="4953000"/>
          </a:xfrm>
          <a:prstGeom prst="roundRect">
            <a:avLst/>
          </a:prstGeom>
          <a:solidFill>
            <a:srgbClr val="FFF316">
              <a:lumMod val="20000"/>
              <a:lumOff val="80000"/>
            </a:srgbClr>
          </a:solidFill>
          <a:ln>
            <a:noFill/>
            <a:headEnd type="none" w="med" len="med"/>
            <a:tailEnd type="none" w="med" len="med"/>
          </a:ln>
          <a:effectLst>
            <a:outerShdw blurRad="50800" dist="38100" dir="8100000" algn="tr" rotWithShape="0">
              <a:prstClr val="black">
                <a:alpha val="73000"/>
              </a:prstClr>
            </a:outerShdw>
          </a:effectLst>
          <a:scene3d>
            <a:camera prst="orthographicFront">
              <a:rot lat="0" lon="0" rev="0"/>
            </a:camera>
            <a:lightRig rig="threePt" dir="t">
              <a:rot lat="0" lon="0" rev="1200000"/>
            </a:lightRig>
          </a:scene3d>
          <a:sp3d>
            <a:bevelT/>
          </a:sp3d>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gradFill>
                <a:gsLst>
                  <a:gs pos="0">
                    <a:prstClr val="white"/>
                  </a:gs>
                  <a:gs pos="100000">
                    <a:prstClr val="white"/>
                  </a:gs>
                </a:gsLst>
                <a:lin ang="13500000" scaled="1"/>
              </a:gradFill>
              <a:effectLst>
                <a:outerShdw blurRad="38100" dist="38100" dir="2700000" algn="tl">
                  <a:srgbClr val="000000">
                    <a:alpha val="43137"/>
                  </a:srgbClr>
                </a:outerShdw>
              </a:effectLst>
              <a:uLnTx/>
              <a:uFillTx/>
              <a:latin typeface="Segoe" pitchFamily="34" charset="0"/>
            </a:endParaRPr>
          </a:p>
        </p:txBody>
      </p:sp>
      <p:sp>
        <p:nvSpPr>
          <p:cNvPr id="17" name="Title 1"/>
          <p:cNvSpPr txBox="1">
            <a:spLocks/>
          </p:cNvSpPr>
          <p:nvPr/>
        </p:nvSpPr>
        <p:spPr>
          <a:xfrm>
            <a:off x="347547" y="0"/>
            <a:ext cx="8534400" cy="914400"/>
          </a:xfrm>
          <a:prstGeom prst="rect">
            <a:avLst/>
          </a:prstGeom>
        </p:spPr>
        <p:txBody>
          <a:bodyPr vert="horz" lIns="91440" tIns="45720" rIns="91440" bIns="45720" rtlCol="0" anchor="ctr">
            <a:normAutofit/>
          </a:bodyPr>
          <a:lstStyle>
            <a:lvl1pPr algn="l" defTabSz="457200" rtl="0" eaLnBrk="1" latinLnBrk="0" hangingPunct="1">
              <a:spcBef>
                <a:spcPct val="0"/>
              </a:spcBef>
              <a:buNone/>
              <a:defRPr sz="3400" kern="1200">
                <a:gradFill>
                  <a:gsLst>
                    <a:gs pos="0">
                      <a:schemeClr val="bg1"/>
                    </a:gs>
                    <a:gs pos="100000">
                      <a:schemeClr val="bg1"/>
                    </a:gs>
                  </a:gsLst>
                  <a:lin ang="5400000" scaled="0"/>
                </a:gradFill>
                <a:latin typeface="Segoe UI Light" pitchFamily="34" charset="0"/>
                <a:ea typeface="+mj-ea"/>
                <a:cs typeface="Segoe UI Light" pitchFamily="34" charset="0"/>
              </a:defRPr>
            </a:lvl1pPr>
          </a:lstStyle>
          <a:p>
            <a:pPr fontAlgn="auto">
              <a:spcAft>
                <a:spcPts val="0"/>
              </a:spcAft>
            </a:pPr>
            <a:r>
              <a:rPr lang="zh-TW" altLang="en-US" b="0" smtClean="0">
                <a:latin typeface="微軟正黑體" pitchFamily="34" charset="-120"/>
                <a:ea typeface="微軟正黑體" pitchFamily="34" charset="-120"/>
              </a:rPr>
              <a:t>怎樣才是正確授權的 </a:t>
            </a:r>
            <a:r>
              <a:rPr lang="en-US" altLang="zh-TW" b="0" smtClean="0">
                <a:latin typeface="微軟正黑體" pitchFamily="34" charset="-120"/>
                <a:ea typeface="微軟正黑體" pitchFamily="34" charset="-120"/>
              </a:rPr>
              <a:t>Windows</a:t>
            </a:r>
            <a:r>
              <a:rPr lang="zh-TW" altLang="en-US" b="0" smtClean="0">
                <a:latin typeface="微軟正黑體" pitchFamily="34" charset="-120"/>
                <a:ea typeface="微軟正黑體" pitchFamily="34" charset="-120"/>
              </a:rPr>
              <a:t>作業系統？</a:t>
            </a:r>
            <a:endParaRPr lang="en-US" b="0" dirty="0">
              <a:latin typeface="微軟正黑體" pitchFamily="34" charset="-120"/>
              <a:ea typeface="微軟正黑體" pitchFamily="34" charset="-120"/>
            </a:endParaRPr>
          </a:p>
        </p:txBody>
      </p:sp>
      <p:sp>
        <p:nvSpPr>
          <p:cNvPr id="18" name="Content Placeholder 2"/>
          <p:cNvSpPr txBox="1">
            <a:spLocks/>
          </p:cNvSpPr>
          <p:nvPr/>
        </p:nvSpPr>
        <p:spPr>
          <a:xfrm>
            <a:off x="457200" y="1600200"/>
            <a:ext cx="3962400" cy="4724400"/>
          </a:xfrm>
          <a:prstGeom prst="rect">
            <a:avLst/>
          </a:prstGeom>
        </p:spPr>
        <p:txBody>
          <a:bodyPr vert="horz" lIns="91440" tIns="45720" rIns="91440" bIns="45720" rtlCol="0">
            <a:noAutofit/>
          </a:bodyPr>
          <a:lstStyle>
            <a:lvl1pPr marL="342900" indent="-342900" algn="l" defTabSz="457200" rtl="0" eaLnBrk="1" latinLnBrk="0" hangingPunct="1">
              <a:spcBef>
                <a:spcPct val="20000"/>
              </a:spcBef>
              <a:buClr>
                <a:schemeClr val="tx2"/>
              </a:buClr>
              <a:buSzPct val="75000"/>
              <a:buFontTx/>
              <a:buBlip>
                <a:blip r:embed="rId3"/>
              </a:buBlip>
              <a:defRPr sz="2300" b="0" i="0" kern="1200">
                <a:gradFill>
                  <a:gsLst>
                    <a:gs pos="0">
                      <a:schemeClr val="tx1">
                        <a:lumMod val="75000"/>
                        <a:lumOff val="25000"/>
                      </a:schemeClr>
                    </a:gs>
                    <a:gs pos="100000">
                      <a:schemeClr val="tx1">
                        <a:lumMod val="75000"/>
                        <a:lumOff val="25000"/>
                      </a:schemeClr>
                    </a:gs>
                  </a:gsLst>
                  <a:lin ang="5400000" scaled="0"/>
                </a:gradFill>
                <a:latin typeface="+mn-lt"/>
                <a:ea typeface="+mn-ea"/>
                <a:cs typeface="Segoe"/>
              </a:defRPr>
            </a:lvl1pPr>
            <a:lvl2pPr marL="914400" indent="-457200" algn="l" defTabSz="457200" rtl="0" eaLnBrk="1" latinLnBrk="0" hangingPunct="1">
              <a:spcBef>
                <a:spcPct val="20000"/>
              </a:spcBef>
              <a:buClr>
                <a:schemeClr val="tx2"/>
              </a:buClr>
              <a:buSzPct val="75000"/>
              <a:buFontTx/>
              <a:buBlip>
                <a:blip r:embed="rId4"/>
              </a:buBlip>
              <a:defRPr sz="2100" b="0" i="0" kern="1200">
                <a:gradFill>
                  <a:gsLst>
                    <a:gs pos="0">
                      <a:schemeClr val="tx1">
                        <a:lumMod val="75000"/>
                        <a:lumOff val="25000"/>
                      </a:schemeClr>
                    </a:gs>
                    <a:gs pos="100000">
                      <a:schemeClr val="tx1">
                        <a:lumMod val="75000"/>
                        <a:lumOff val="25000"/>
                      </a:schemeClr>
                    </a:gs>
                  </a:gsLst>
                  <a:lin ang="5400000" scaled="0"/>
                </a:gradFill>
                <a:latin typeface="+mn-lt"/>
                <a:ea typeface="+mn-ea"/>
                <a:cs typeface="Segoe"/>
              </a:defRPr>
            </a:lvl2pPr>
            <a:lvl3pPr marL="1257300" indent="-342900" algn="l" defTabSz="457200" rtl="0" eaLnBrk="1" latinLnBrk="0" hangingPunct="1">
              <a:spcBef>
                <a:spcPct val="20000"/>
              </a:spcBef>
              <a:buClr>
                <a:schemeClr val="tx2"/>
              </a:buClr>
              <a:buSzPct val="75000"/>
              <a:buFontTx/>
              <a:buBlip>
                <a:blip r:embed="rId4"/>
              </a:buBlip>
              <a:defRPr sz="1800" b="0" i="0" kern="1200">
                <a:gradFill>
                  <a:gsLst>
                    <a:gs pos="0">
                      <a:schemeClr val="tx1">
                        <a:lumMod val="75000"/>
                        <a:lumOff val="25000"/>
                      </a:schemeClr>
                    </a:gs>
                    <a:gs pos="100000">
                      <a:schemeClr val="tx1">
                        <a:lumMod val="75000"/>
                        <a:lumOff val="25000"/>
                      </a:schemeClr>
                    </a:gs>
                  </a:gsLst>
                  <a:lin ang="5400000" scaled="0"/>
                </a:gradFill>
                <a:latin typeface="+mn-lt"/>
                <a:ea typeface="+mn-ea"/>
                <a:cs typeface="Segoe"/>
              </a:defRPr>
            </a:lvl3pPr>
            <a:lvl4pPr marL="1714500" indent="-342900" algn="l" defTabSz="457200" rtl="0" eaLnBrk="1" latinLnBrk="0" hangingPunct="1">
              <a:spcBef>
                <a:spcPct val="20000"/>
              </a:spcBef>
              <a:buClr>
                <a:schemeClr val="tx2"/>
              </a:buClr>
              <a:buSzPct val="75000"/>
              <a:buFontTx/>
              <a:buBlip>
                <a:blip r:embed="rId4"/>
              </a:buBlip>
              <a:defRPr sz="1800" b="0" i="0" u="none" kern="1200">
                <a:gradFill>
                  <a:gsLst>
                    <a:gs pos="0">
                      <a:schemeClr val="tx1">
                        <a:lumMod val="75000"/>
                        <a:lumOff val="25000"/>
                      </a:schemeClr>
                    </a:gs>
                    <a:gs pos="100000">
                      <a:schemeClr val="tx1">
                        <a:lumMod val="75000"/>
                        <a:lumOff val="25000"/>
                      </a:schemeClr>
                    </a:gs>
                  </a:gsLst>
                  <a:lin ang="5400000" scaled="0"/>
                </a:gradFill>
                <a:latin typeface="+mn-lt"/>
                <a:ea typeface="+mn-ea"/>
                <a:cs typeface="Segoe"/>
              </a:defRPr>
            </a:lvl4pPr>
            <a:lvl5pPr marL="2057400" indent="-228600" algn="l" defTabSz="457200" rtl="0" eaLnBrk="1" latinLnBrk="0" hangingPunct="1">
              <a:spcBef>
                <a:spcPct val="20000"/>
              </a:spcBef>
              <a:buFont typeface="Arial"/>
              <a:buChar char="»"/>
              <a:defRPr sz="2000" b="0" i="0" u="none" kern="1200">
                <a:solidFill>
                  <a:schemeClr val="tx1">
                    <a:lumMod val="75000"/>
                    <a:lumOff val="25000"/>
                  </a:schemeClr>
                </a:solidFill>
                <a:latin typeface="Segoe"/>
                <a:ea typeface="+mn-ea"/>
                <a:cs typeface="Sego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fontAlgn="auto">
              <a:spcAft>
                <a:spcPts val="0"/>
              </a:spcAft>
              <a:buFontTx/>
              <a:buNone/>
            </a:pPr>
            <a:r>
              <a:rPr lang="zh-TW" altLang="en-US" sz="2200" dirty="0" smtClean="0">
                <a:latin typeface="微軟正黑體" pitchFamily="34" charset="-120"/>
                <a:ea typeface="微軟正黑體" pitchFamily="34" charset="-120"/>
              </a:rPr>
              <a:t>方式一：</a:t>
            </a:r>
            <a:endParaRPr lang="en-US" altLang="zh-TW" sz="2200" dirty="0" smtClean="0">
              <a:latin typeface="微軟正黑體" pitchFamily="34" charset="-120"/>
              <a:ea typeface="微軟正黑體" pitchFamily="34" charset="-120"/>
            </a:endParaRPr>
          </a:p>
          <a:p>
            <a:pPr marL="0" indent="0" algn="ctr" fontAlgn="auto">
              <a:spcAft>
                <a:spcPts val="0"/>
              </a:spcAft>
              <a:buFontTx/>
              <a:buNone/>
            </a:pPr>
            <a:r>
              <a:rPr lang="zh-TW" altLang="en-US" sz="2200" dirty="0" smtClean="0">
                <a:latin typeface="微軟正黑體" pitchFamily="34" charset="-120"/>
                <a:ea typeface="微軟正黑體" pitchFamily="34" charset="-120"/>
              </a:rPr>
              <a:t>使用電腦預先安裝</a:t>
            </a:r>
            <a:r>
              <a:rPr lang="en-US" altLang="zh-TW" sz="2200" dirty="0" smtClean="0">
                <a:latin typeface="微軟正黑體" pitchFamily="34" charset="-120"/>
                <a:ea typeface="微軟正黑體" pitchFamily="34" charset="-120"/>
              </a:rPr>
              <a:t>OEM</a:t>
            </a:r>
            <a:r>
              <a:rPr lang="zh-TW" altLang="en-US" sz="2200" dirty="0" smtClean="0">
                <a:latin typeface="微軟正黑體" pitchFamily="34" charset="-120"/>
                <a:ea typeface="微軟正黑體" pitchFamily="34" charset="-120"/>
              </a:rPr>
              <a:t>版</a:t>
            </a:r>
            <a:endParaRPr lang="en-US" sz="2200" dirty="0" smtClean="0">
              <a:latin typeface="微軟正黑體" pitchFamily="34" charset="-120"/>
              <a:ea typeface="微軟正黑體" pitchFamily="34" charset="-120"/>
            </a:endParaRPr>
          </a:p>
          <a:p>
            <a:pPr marL="0" indent="0" algn="ctr" fontAlgn="auto">
              <a:spcAft>
                <a:spcPts val="0"/>
              </a:spcAft>
              <a:buFontTx/>
              <a:buNone/>
            </a:pPr>
            <a:endParaRPr lang="en-US" sz="2200" dirty="0" smtClean="0">
              <a:latin typeface="微軟正黑體" pitchFamily="34" charset="-120"/>
              <a:ea typeface="微軟正黑體" pitchFamily="34" charset="-120"/>
            </a:endParaRPr>
          </a:p>
          <a:p>
            <a:pPr marL="0" indent="0" algn="ctr" fontAlgn="auto">
              <a:spcAft>
                <a:spcPts val="0"/>
              </a:spcAft>
              <a:buFontTx/>
              <a:buNone/>
            </a:pPr>
            <a:endParaRPr lang="en-US" sz="2200" dirty="0" smtClean="0">
              <a:latin typeface="微軟正黑體" pitchFamily="34" charset="-120"/>
              <a:ea typeface="微軟正黑體" pitchFamily="34" charset="-120"/>
            </a:endParaRPr>
          </a:p>
          <a:p>
            <a:pPr algn="ctr" fontAlgn="auto">
              <a:spcAft>
                <a:spcPts val="0"/>
              </a:spcAft>
            </a:pPr>
            <a:endParaRPr lang="en-US" sz="2200" dirty="0" smtClean="0">
              <a:latin typeface="微軟正黑體" pitchFamily="34" charset="-120"/>
              <a:ea typeface="微軟正黑體" pitchFamily="34" charset="-120"/>
            </a:endParaRPr>
          </a:p>
          <a:p>
            <a:pPr algn="ctr" fontAlgn="auto">
              <a:spcAft>
                <a:spcPts val="0"/>
              </a:spcAft>
            </a:pPr>
            <a:endParaRPr lang="en-US" sz="2200" dirty="0" smtClean="0">
              <a:latin typeface="微軟正黑體" pitchFamily="34" charset="-120"/>
              <a:ea typeface="微軟正黑體" pitchFamily="34" charset="-120"/>
            </a:endParaRPr>
          </a:p>
          <a:p>
            <a:pPr marL="0" indent="0" algn="ctr" fontAlgn="auto">
              <a:spcAft>
                <a:spcPts val="0"/>
              </a:spcAft>
              <a:buFontTx/>
              <a:buNone/>
            </a:pPr>
            <a:endParaRPr lang="en-US" sz="2200" dirty="0" smtClean="0">
              <a:latin typeface="微軟正黑體" pitchFamily="34" charset="-120"/>
              <a:ea typeface="微軟正黑體" pitchFamily="34" charset="-120"/>
            </a:endParaRPr>
          </a:p>
          <a:p>
            <a:pPr marL="0" indent="0" algn="ctr" fontAlgn="auto">
              <a:spcAft>
                <a:spcPts val="0"/>
              </a:spcAft>
              <a:buFontTx/>
              <a:buNone/>
            </a:pPr>
            <a:endParaRPr lang="en-US" altLang="zh-TW" sz="2200" dirty="0" smtClean="0">
              <a:latin typeface="微軟正黑體" pitchFamily="34" charset="-120"/>
              <a:ea typeface="微軟正黑體" pitchFamily="34" charset="-120"/>
            </a:endParaRPr>
          </a:p>
          <a:p>
            <a:pPr marL="0" indent="0" algn="ctr" fontAlgn="auto">
              <a:spcAft>
                <a:spcPts val="0"/>
              </a:spcAft>
              <a:buFontTx/>
              <a:buNone/>
            </a:pPr>
            <a:endParaRPr lang="en-US" altLang="zh-TW" sz="2200" dirty="0" smtClean="0">
              <a:latin typeface="微軟正黑體" pitchFamily="34" charset="-120"/>
              <a:ea typeface="微軟正黑體" pitchFamily="34" charset="-120"/>
            </a:endParaRPr>
          </a:p>
          <a:p>
            <a:pPr marL="0" indent="0" algn="ctr" fontAlgn="auto">
              <a:spcAft>
                <a:spcPts val="0"/>
              </a:spcAft>
              <a:buFontTx/>
              <a:buNone/>
            </a:pPr>
            <a:r>
              <a:rPr lang="zh-TW" altLang="en-US" sz="2000" dirty="0">
                <a:latin typeface="微軟正黑體" pitchFamily="34" charset="-120"/>
                <a:ea typeface="微軟正黑體" pitchFamily="34" charset="-120"/>
              </a:rPr>
              <a:t>完</a:t>
            </a:r>
            <a:r>
              <a:rPr lang="zh-TW" altLang="en-US" sz="2000" dirty="0" smtClean="0">
                <a:latin typeface="微軟正黑體" pitchFamily="34" charset="-120"/>
                <a:ea typeface="微軟正黑體" pitchFamily="34" charset="-120"/>
              </a:rPr>
              <a:t>整版</a:t>
            </a:r>
            <a:r>
              <a:rPr lang="en-US" altLang="zh-TW" sz="2000" dirty="0" smtClean="0">
                <a:latin typeface="微軟正黑體" pitchFamily="34" charset="-120"/>
                <a:ea typeface="微軟正黑體" pitchFamily="34" charset="-120"/>
              </a:rPr>
              <a:t>Windows</a:t>
            </a:r>
            <a:r>
              <a:rPr lang="zh-TW" altLang="en-US" sz="2000" dirty="0" smtClean="0">
                <a:latin typeface="微軟正黑體" pitchFamily="34" charset="-120"/>
                <a:ea typeface="微軟正黑體" pitchFamily="34" charset="-120"/>
              </a:rPr>
              <a:t>需</a:t>
            </a:r>
            <a:r>
              <a:rPr lang="zh-TW" altLang="en-US" sz="2000" dirty="0">
                <a:latin typeface="微軟正黑體" pitchFamily="34" charset="-120"/>
                <a:ea typeface="微軟正黑體" pitchFamily="34" charset="-120"/>
              </a:rPr>
              <a:t>透</a:t>
            </a:r>
            <a:r>
              <a:rPr lang="zh-TW" altLang="en-US" sz="2000" dirty="0" smtClean="0">
                <a:latin typeface="微軟正黑體" pitchFamily="34" charset="-120"/>
                <a:ea typeface="微軟正黑體" pitchFamily="34" charset="-120"/>
              </a:rPr>
              <a:t>過</a:t>
            </a:r>
            <a:r>
              <a:rPr lang="en-US" altLang="zh-TW" sz="2000" dirty="0" smtClean="0">
                <a:latin typeface="微軟正黑體" pitchFamily="34" charset="-120"/>
                <a:ea typeface="微軟正黑體" pitchFamily="34" charset="-120"/>
              </a:rPr>
              <a:t>OEM</a:t>
            </a:r>
            <a:r>
              <a:rPr lang="zh-TW" altLang="en-US" sz="2000" dirty="0" smtClean="0">
                <a:latin typeface="微軟正黑體" pitchFamily="34" charset="-120"/>
                <a:ea typeface="微軟正黑體" pitchFamily="34" charset="-120"/>
              </a:rPr>
              <a:t>、</a:t>
            </a:r>
            <a:r>
              <a:rPr lang="en-US" altLang="zh-TW" sz="2000" dirty="0" smtClean="0">
                <a:latin typeface="微軟正黑體" pitchFamily="34" charset="-120"/>
                <a:ea typeface="微軟正黑體" pitchFamily="34" charset="-120"/>
              </a:rPr>
              <a:t>COEM</a:t>
            </a:r>
            <a:r>
              <a:rPr lang="zh-TW" altLang="en-US" sz="2000" dirty="0" smtClean="0">
                <a:latin typeface="微軟正黑體" pitchFamily="34" charset="-120"/>
                <a:ea typeface="微軟正黑體" pitchFamily="34" charset="-120"/>
              </a:rPr>
              <a:t>、彩盒包裝來取得</a:t>
            </a:r>
            <a:endParaRPr lang="en-US" altLang="zh-TW" sz="2000" dirty="0">
              <a:latin typeface="微軟正黑體" pitchFamily="34" charset="-120"/>
              <a:ea typeface="微軟正黑體" pitchFamily="34" charset="-120"/>
            </a:endParaRPr>
          </a:p>
        </p:txBody>
      </p:sp>
      <p:sp>
        <p:nvSpPr>
          <p:cNvPr id="19" name="Rectangle 18"/>
          <p:cNvSpPr/>
          <p:nvPr/>
        </p:nvSpPr>
        <p:spPr bwMode="auto">
          <a:xfrm>
            <a:off x="990600" y="3886200"/>
            <a:ext cx="2743200" cy="838200"/>
          </a:xfrm>
          <a:prstGeom prst="rect">
            <a:avLst/>
          </a:prstGeom>
          <a:solidFill>
            <a:srgbClr val="0B5E09"/>
          </a:solidFill>
          <a:ln>
            <a:noFill/>
            <a:headEnd type="none" w="med" len="med"/>
            <a:tailEnd type="none" w="med" len="med"/>
          </a:ln>
          <a:effectLst>
            <a:outerShdw blurRad="50800" dist="38100" dir="8100000" algn="tr" rotWithShape="0">
              <a:prstClr val="black">
                <a:alpha val="73000"/>
              </a:prstClr>
            </a:outerShdw>
          </a:effectLst>
          <a:scene3d>
            <a:camera prst="orthographicFront">
              <a:rot lat="0" lon="0" rev="0"/>
            </a:camera>
            <a:lightRig rig="threePt" dir="t">
              <a:rot lat="0" lon="0" rev="1200000"/>
            </a:lightRig>
          </a:scene3d>
          <a:sp3d/>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r>
              <a:rPr kumimoji="0" lang="zh-TW" altLang="en-US" sz="1800" b="0" i="0" u="none" strike="noStrike" kern="0" cap="none" spc="0" normalizeH="0" baseline="0" noProof="0" dirty="0" smtClean="0">
                <a:ln>
                  <a:noFill/>
                </a:ln>
                <a:gradFill>
                  <a:gsLst>
                    <a:gs pos="0">
                      <a:prstClr val="white"/>
                    </a:gs>
                    <a:gs pos="100000">
                      <a:prstClr val="white"/>
                    </a:gs>
                  </a:gsLst>
                  <a:lin ang="13500000" scaled="1"/>
                </a:gradFill>
                <a:effectLst>
                  <a:outerShdw blurRad="38100" dist="38100" dir="2700000" algn="tl">
                    <a:srgbClr val="000000">
                      <a:alpha val="43137"/>
                    </a:srgbClr>
                  </a:outerShdw>
                </a:effectLst>
                <a:uLnTx/>
                <a:uFillTx/>
                <a:latin typeface="微軟正黑體" pitchFamily="34" charset="-120"/>
                <a:ea typeface="微軟正黑體" pitchFamily="34" charset="-120"/>
              </a:rPr>
              <a:t>完整</a:t>
            </a:r>
            <a:r>
              <a:rPr kumimoji="0" lang="en-US" altLang="zh-TW" sz="1800" b="0" i="0" u="none" strike="noStrike" kern="0" cap="none" spc="0" normalizeH="0" baseline="0" noProof="0" dirty="0" smtClean="0">
                <a:ln>
                  <a:noFill/>
                </a:ln>
                <a:gradFill>
                  <a:gsLst>
                    <a:gs pos="0">
                      <a:prstClr val="white"/>
                    </a:gs>
                    <a:gs pos="100000">
                      <a:prstClr val="white"/>
                    </a:gs>
                  </a:gsLst>
                  <a:lin ang="13500000" scaled="1"/>
                </a:gradFill>
                <a:effectLst>
                  <a:outerShdw blurRad="38100" dist="38100" dir="2700000" algn="tl">
                    <a:srgbClr val="000000">
                      <a:alpha val="43137"/>
                    </a:srgbClr>
                  </a:outerShdw>
                </a:effectLst>
                <a:uLnTx/>
                <a:uFillTx/>
                <a:latin typeface="微軟正黑體" pitchFamily="34" charset="-120"/>
                <a:ea typeface="微軟正黑體" pitchFamily="34" charset="-120"/>
              </a:rPr>
              <a:t>Windows</a:t>
            </a:r>
            <a:r>
              <a:rPr kumimoji="0" lang="zh-TW" altLang="en-US" sz="1800" b="0" i="0" u="none" strike="noStrike" kern="0" cap="none" spc="0" normalizeH="0" baseline="0" noProof="0" dirty="0" smtClean="0">
                <a:ln>
                  <a:noFill/>
                </a:ln>
                <a:gradFill>
                  <a:gsLst>
                    <a:gs pos="0">
                      <a:prstClr val="white"/>
                    </a:gs>
                    <a:gs pos="100000">
                      <a:prstClr val="white"/>
                    </a:gs>
                  </a:gsLst>
                  <a:lin ang="13500000" scaled="1"/>
                </a:gradFill>
                <a:effectLst>
                  <a:outerShdw blurRad="38100" dist="38100" dir="2700000" algn="tl">
                    <a:srgbClr val="000000">
                      <a:alpha val="43137"/>
                    </a:srgbClr>
                  </a:outerShdw>
                </a:effectLst>
                <a:uLnTx/>
                <a:uFillTx/>
                <a:latin typeface="微軟正黑體" pitchFamily="34" charset="-120"/>
                <a:ea typeface="微軟正黑體" pitchFamily="34" charset="-120"/>
              </a:rPr>
              <a:t>授權</a:t>
            </a:r>
            <a:endParaRPr kumimoji="0" lang="en-US" sz="1800" b="0" i="0" u="none" strike="noStrike" kern="0" cap="none" spc="0" normalizeH="0" baseline="0" noProof="0" dirty="0" smtClean="0">
              <a:ln>
                <a:noFill/>
              </a:ln>
              <a:gradFill>
                <a:gsLst>
                  <a:gs pos="0">
                    <a:prstClr val="white"/>
                  </a:gs>
                  <a:gs pos="100000">
                    <a:prstClr val="white"/>
                  </a:gs>
                </a:gsLst>
                <a:lin ang="13500000" scaled="1"/>
              </a:gradFill>
              <a:effectLst>
                <a:outerShdw blurRad="38100" dist="38100" dir="2700000" algn="tl">
                  <a:srgbClr val="000000">
                    <a:alpha val="43137"/>
                  </a:srgbClr>
                </a:outerShdw>
              </a:effectLst>
              <a:uLnTx/>
              <a:uFillTx/>
              <a:latin typeface="微軟正黑體" pitchFamily="34" charset="-120"/>
              <a:ea typeface="微軟正黑體" pitchFamily="34" charset="-120"/>
            </a:endParaRPr>
          </a:p>
        </p:txBody>
      </p:sp>
      <p:sp>
        <p:nvSpPr>
          <p:cNvPr id="20" name="Up Arrow 19"/>
          <p:cNvSpPr/>
          <p:nvPr/>
        </p:nvSpPr>
        <p:spPr bwMode="auto">
          <a:xfrm>
            <a:off x="2171700" y="4820093"/>
            <a:ext cx="381000" cy="361507"/>
          </a:xfrm>
          <a:prstGeom prst="upArrow">
            <a:avLst/>
          </a:prstGeom>
          <a:solidFill>
            <a:srgbClr val="0B5E09"/>
          </a:solidFill>
          <a:ln>
            <a:noFill/>
            <a:headEnd type="none" w="med" len="med"/>
            <a:tailEnd type="none" w="med" len="med"/>
          </a:ln>
          <a:effectLst>
            <a:outerShdw blurRad="50800" dist="38100" dir="8100000" algn="tr" rotWithShape="0">
              <a:prstClr val="black">
                <a:alpha val="73000"/>
              </a:prstClr>
            </a:outerShdw>
          </a:effectLst>
          <a:scene3d>
            <a:camera prst="orthographicFront">
              <a:rot lat="0" lon="0" rev="0"/>
            </a:camera>
            <a:lightRig rig="threePt" dir="t">
              <a:rot lat="0" lon="0" rev="1200000"/>
            </a:lightRig>
          </a:scene3d>
          <a:sp3d/>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gradFill>
                <a:gsLst>
                  <a:gs pos="0">
                    <a:prstClr val="white"/>
                  </a:gs>
                  <a:gs pos="100000">
                    <a:prstClr val="white"/>
                  </a:gs>
                </a:gsLst>
                <a:lin ang="13500000" scaled="1"/>
              </a:gradFill>
              <a:effectLst>
                <a:outerShdw blurRad="38100" dist="38100" dir="2700000" algn="tl">
                  <a:srgbClr val="000000">
                    <a:alpha val="43137"/>
                  </a:srgbClr>
                </a:outerShdw>
              </a:effectLst>
              <a:uLnTx/>
              <a:uFillTx/>
              <a:latin typeface="Segoe" pitchFamily="34" charset="0"/>
            </a:endParaRPr>
          </a:p>
        </p:txBody>
      </p:sp>
      <p:sp>
        <p:nvSpPr>
          <p:cNvPr id="21" name="Content Placeholder 2"/>
          <p:cNvSpPr txBox="1">
            <a:spLocks/>
          </p:cNvSpPr>
          <p:nvPr/>
        </p:nvSpPr>
        <p:spPr>
          <a:xfrm>
            <a:off x="4648200" y="1524000"/>
            <a:ext cx="4148253" cy="4724400"/>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Clr>
                <a:schemeClr val="tx2"/>
              </a:buClr>
              <a:buSzPct val="75000"/>
              <a:buFontTx/>
              <a:buBlip>
                <a:blip r:embed="rId3"/>
              </a:buBlip>
              <a:defRPr sz="2300" b="0" i="0" kern="1200">
                <a:gradFill>
                  <a:gsLst>
                    <a:gs pos="0">
                      <a:schemeClr val="tx1">
                        <a:lumMod val="75000"/>
                        <a:lumOff val="25000"/>
                      </a:schemeClr>
                    </a:gs>
                    <a:gs pos="100000">
                      <a:schemeClr val="tx1">
                        <a:lumMod val="75000"/>
                        <a:lumOff val="25000"/>
                      </a:schemeClr>
                    </a:gs>
                  </a:gsLst>
                  <a:lin ang="5400000" scaled="0"/>
                </a:gradFill>
                <a:latin typeface="+mn-lt"/>
                <a:ea typeface="+mn-ea"/>
                <a:cs typeface="Segoe"/>
              </a:defRPr>
            </a:lvl1pPr>
            <a:lvl2pPr marL="914400" indent="-457200" algn="l" defTabSz="457200" rtl="0" eaLnBrk="1" latinLnBrk="0" hangingPunct="1">
              <a:spcBef>
                <a:spcPct val="20000"/>
              </a:spcBef>
              <a:buClr>
                <a:schemeClr val="tx2"/>
              </a:buClr>
              <a:buSzPct val="75000"/>
              <a:buFontTx/>
              <a:buBlip>
                <a:blip r:embed="rId4"/>
              </a:buBlip>
              <a:defRPr sz="2100" b="0" i="0" kern="1200">
                <a:gradFill>
                  <a:gsLst>
                    <a:gs pos="0">
                      <a:schemeClr val="tx1">
                        <a:lumMod val="75000"/>
                        <a:lumOff val="25000"/>
                      </a:schemeClr>
                    </a:gs>
                    <a:gs pos="100000">
                      <a:schemeClr val="tx1">
                        <a:lumMod val="75000"/>
                        <a:lumOff val="25000"/>
                      </a:schemeClr>
                    </a:gs>
                  </a:gsLst>
                  <a:lin ang="5400000" scaled="0"/>
                </a:gradFill>
                <a:latin typeface="+mn-lt"/>
                <a:ea typeface="+mn-ea"/>
                <a:cs typeface="Segoe"/>
              </a:defRPr>
            </a:lvl2pPr>
            <a:lvl3pPr marL="1257300" indent="-342900" algn="l" defTabSz="457200" rtl="0" eaLnBrk="1" latinLnBrk="0" hangingPunct="1">
              <a:spcBef>
                <a:spcPct val="20000"/>
              </a:spcBef>
              <a:buClr>
                <a:schemeClr val="tx2"/>
              </a:buClr>
              <a:buSzPct val="75000"/>
              <a:buFontTx/>
              <a:buBlip>
                <a:blip r:embed="rId4"/>
              </a:buBlip>
              <a:defRPr sz="1800" b="0" i="0" kern="1200">
                <a:gradFill>
                  <a:gsLst>
                    <a:gs pos="0">
                      <a:schemeClr val="tx1">
                        <a:lumMod val="75000"/>
                        <a:lumOff val="25000"/>
                      </a:schemeClr>
                    </a:gs>
                    <a:gs pos="100000">
                      <a:schemeClr val="tx1">
                        <a:lumMod val="75000"/>
                        <a:lumOff val="25000"/>
                      </a:schemeClr>
                    </a:gs>
                  </a:gsLst>
                  <a:lin ang="5400000" scaled="0"/>
                </a:gradFill>
                <a:latin typeface="+mn-lt"/>
                <a:ea typeface="+mn-ea"/>
                <a:cs typeface="Segoe"/>
              </a:defRPr>
            </a:lvl3pPr>
            <a:lvl4pPr marL="1714500" indent="-342900" algn="l" defTabSz="457200" rtl="0" eaLnBrk="1" latinLnBrk="0" hangingPunct="1">
              <a:spcBef>
                <a:spcPct val="20000"/>
              </a:spcBef>
              <a:buClr>
                <a:schemeClr val="tx2"/>
              </a:buClr>
              <a:buSzPct val="75000"/>
              <a:buFontTx/>
              <a:buBlip>
                <a:blip r:embed="rId4"/>
              </a:buBlip>
              <a:defRPr sz="1800" b="0" i="0" u="none" kern="1200">
                <a:gradFill>
                  <a:gsLst>
                    <a:gs pos="0">
                      <a:schemeClr val="tx1">
                        <a:lumMod val="75000"/>
                        <a:lumOff val="25000"/>
                      </a:schemeClr>
                    </a:gs>
                    <a:gs pos="100000">
                      <a:schemeClr val="tx1">
                        <a:lumMod val="75000"/>
                        <a:lumOff val="25000"/>
                      </a:schemeClr>
                    </a:gs>
                  </a:gsLst>
                  <a:lin ang="5400000" scaled="0"/>
                </a:gradFill>
                <a:latin typeface="+mn-lt"/>
                <a:ea typeface="+mn-ea"/>
                <a:cs typeface="Segoe"/>
              </a:defRPr>
            </a:lvl4pPr>
            <a:lvl5pPr marL="2057400" indent="-228600" algn="l" defTabSz="457200" rtl="0" eaLnBrk="1" latinLnBrk="0" hangingPunct="1">
              <a:spcBef>
                <a:spcPct val="20000"/>
              </a:spcBef>
              <a:buFont typeface="Arial"/>
              <a:buChar char="»"/>
              <a:defRPr sz="2000" b="0" i="0" u="none" kern="1200">
                <a:solidFill>
                  <a:schemeClr val="tx1">
                    <a:lumMod val="75000"/>
                    <a:lumOff val="25000"/>
                  </a:schemeClr>
                </a:solidFill>
                <a:latin typeface="Segoe"/>
                <a:ea typeface="+mn-ea"/>
                <a:cs typeface="Sego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fontAlgn="auto">
              <a:spcAft>
                <a:spcPts val="0"/>
              </a:spcAft>
              <a:buClr>
                <a:srgbClr val="1F497D"/>
              </a:buClr>
              <a:buFontTx/>
              <a:buNone/>
            </a:pPr>
            <a:r>
              <a:rPr lang="zh-TW" altLang="en-US" sz="22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方式二</a:t>
            </a:r>
            <a:r>
              <a:rPr lang="zh-TW" altLang="en-US" sz="2200" dirty="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a:t>
            </a:r>
            <a:endParaRPr lang="en-US" altLang="zh-TW" sz="22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endParaRPr>
          </a:p>
          <a:p>
            <a:pPr marL="0" indent="0" algn="ctr" fontAlgn="auto">
              <a:spcAft>
                <a:spcPts val="0"/>
              </a:spcAft>
              <a:buClr>
                <a:srgbClr val="1F497D"/>
              </a:buClr>
              <a:buFontTx/>
              <a:buNone/>
            </a:pPr>
            <a:r>
              <a:rPr lang="zh-TW" altLang="en-US" sz="22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使用</a:t>
            </a:r>
            <a:r>
              <a:rPr lang="en-US" altLang="zh-TW" sz="22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Windows</a:t>
            </a:r>
            <a:r>
              <a:rPr lang="zh-TW" altLang="en-US" sz="22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升級版</a:t>
            </a:r>
            <a:endParaRPr lang="en-US" sz="22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endParaRPr>
          </a:p>
          <a:p>
            <a:pPr marL="0" indent="0" algn="ctr" fontAlgn="auto">
              <a:spcAft>
                <a:spcPts val="0"/>
              </a:spcAft>
              <a:buClr>
                <a:srgbClr val="1F497D"/>
              </a:buClr>
              <a:buFontTx/>
              <a:buNone/>
            </a:pPr>
            <a:endParaRPr lang="en-US" sz="22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endParaRPr>
          </a:p>
          <a:p>
            <a:pPr marL="0" indent="0" algn="ctr" fontAlgn="auto">
              <a:spcAft>
                <a:spcPts val="0"/>
              </a:spcAft>
              <a:buClr>
                <a:srgbClr val="1F497D"/>
              </a:buClr>
              <a:buFontTx/>
              <a:buNone/>
            </a:pPr>
            <a:endParaRPr lang="en-US" sz="22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endParaRPr>
          </a:p>
          <a:p>
            <a:pPr algn="ctr" fontAlgn="auto">
              <a:spcAft>
                <a:spcPts val="0"/>
              </a:spcAft>
              <a:buClr>
                <a:srgbClr val="1F497D"/>
              </a:buClr>
            </a:pPr>
            <a:endParaRPr lang="en-US" sz="22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endParaRPr>
          </a:p>
          <a:p>
            <a:pPr algn="ctr" fontAlgn="auto">
              <a:spcAft>
                <a:spcPts val="0"/>
              </a:spcAft>
              <a:buClr>
                <a:srgbClr val="1F497D"/>
              </a:buClr>
            </a:pPr>
            <a:endParaRPr lang="en-US" sz="22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endParaRPr>
          </a:p>
          <a:p>
            <a:pPr marL="0" indent="0" algn="ctr" fontAlgn="auto">
              <a:spcAft>
                <a:spcPts val="0"/>
              </a:spcAft>
              <a:buClr>
                <a:srgbClr val="1F497D"/>
              </a:buClr>
              <a:buFontTx/>
              <a:buNone/>
            </a:pPr>
            <a:endParaRPr lang="en-US" sz="22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endParaRPr>
          </a:p>
          <a:p>
            <a:pPr marL="0" indent="0" algn="ctr" fontAlgn="auto">
              <a:spcAft>
                <a:spcPts val="0"/>
              </a:spcAft>
              <a:buClr>
                <a:srgbClr val="1F497D"/>
              </a:buClr>
              <a:buFontTx/>
              <a:buNone/>
            </a:pPr>
            <a:endParaRPr lang="en-US" altLang="zh-TW" sz="22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endParaRPr>
          </a:p>
          <a:p>
            <a:pPr marL="0" indent="0" algn="ctr" fontAlgn="auto">
              <a:spcAft>
                <a:spcPts val="0"/>
              </a:spcAft>
              <a:buClr>
                <a:srgbClr val="1F497D"/>
              </a:buClr>
              <a:buFontTx/>
              <a:buNone/>
            </a:pPr>
            <a:endParaRPr lang="en-US" altLang="zh-TW" sz="2200" dirty="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endParaRPr>
          </a:p>
          <a:p>
            <a:pPr marL="0" indent="0" algn="ctr" fontAlgn="auto">
              <a:spcAft>
                <a:spcPts val="0"/>
              </a:spcAft>
              <a:buClr>
                <a:srgbClr val="1F497D"/>
              </a:buClr>
              <a:buFontTx/>
              <a:buNone/>
            </a:pPr>
            <a:r>
              <a:rPr lang="en-US" altLang="zh-TW" sz="22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Windows </a:t>
            </a:r>
            <a:r>
              <a:rPr lang="zh-TW" altLang="en-US" sz="22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完整版</a:t>
            </a:r>
            <a:endParaRPr lang="en-US" altLang="zh-TW" sz="22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endParaRPr>
          </a:p>
          <a:p>
            <a:pPr marL="0" indent="0" algn="ctr" fontAlgn="auto">
              <a:spcAft>
                <a:spcPts val="0"/>
              </a:spcAft>
              <a:buClr>
                <a:srgbClr val="1F497D"/>
              </a:buClr>
              <a:buFontTx/>
              <a:buNone/>
            </a:pPr>
            <a:r>
              <a:rPr lang="zh-TW" altLang="en-US" sz="22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再加上升級版授權</a:t>
            </a:r>
            <a:endParaRPr lang="en-US" altLang="zh-TW" sz="2200" dirty="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endParaRPr>
          </a:p>
        </p:txBody>
      </p:sp>
      <p:sp>
        <p:nvSpPr>
          <p:cNvPr id="22" name="Rectangle 21"/>
          <p:cNvSpPr/>
          <p:nvPr/>
        </p:nvSpPr>
        <p:spPr bwMode="auto">
          <a:xfrm>
            <a:off x="5410200" y="3886200"/>
            <a:ext cx="2743200" cy="838200"/>
          </a:xfrm>
          <a:prstGeom prst="rect">
            <a:avLst/>
          </a:prstGeom>
          <a:solidFill>
            <a:srgbClr val="0B5E09"/>
          </a:solidFill>
          <a:ln>
            <a:noFill/>
            <a:headEnd type="none" w="med" len="med"/>
            <a:tailEnd type="none" w="med" len="med"/>
          </a:ln>
          <a:effectLst>
            <a:outerShdw blurRad="50800" dist="38100" dir="8100000" algn="tr" rotWithShape="0">
              <a:prstClr val="black">
                <a:alpha val="73000"/>
              </a:prstClr>
            </a:outerShdw>
          </a:effectLst>
          <a:scene3d>
            <a:camera prst="orthographicFront">
              <a:rot lat="0" lon="0" rev="0"/>
            </a:camera>
            <a:lightRig rig="threePt" dir="t">
              <a:rot lat="0" lon="0" rev="1200000"/>
            </a:lightRig>
          </a:scene3d>
          <a:sp3d/>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r>
              <a:rPr kumimoji="0" lang="zh-TW" altLang="en-US" sz="1800" b="0" i="0" u="none" strike="noStrike" kern="0" cap="none" spc="0" normalizeH="0" baseline="0" noProof="0" dirty="0" smtClean="0">
                <a:ln>
                  <a:noFill/>
                </a:ln>
                <a:gradFill>
                  <a:gsLst>
                    <a:gs pos="0">
                      <a:prstClr val="white"/>
                    </a:gs>
                    <a:gs pos="100000">
                      <a:prstClr val="white"/>
                    </a:gs>
                  </a:gsLst>
                  <a:lin ang="13500000" scaled="1"/>
                </a:gradFill>
                <a:effectLst>
                  <a:outerShdw blurRad="38100" dist="38100" dir="2700000" algn="tl">
                    <a:srgbClr val="000000">
                      <a:alpha val="43137"/>
                    </a:srgbClr>
                  </a:outerShdw>
                </a:effectLst>
                <a:uLnTx/>
                <a:uFillTx/>
                <a:latin typeface="微軟正黑體" pitchFamily="34" charset="-120"/>
                <a:ea typeface="微軟正黑體" pitchFamily="34" charset="-120"/>
              </a:rPr>
              <a:t>完整</a:t>
            </a:r>
            <a:r>
              <a:rPr kumimoji="0" lang="en-US" altLang="zh-TW" sz="1800" b="0" i="0" u="none" strike="noStrike" kern="0" cap="none" spc="0" normalizeH="0" baseline="0" noProof="0" dirty="0" smtClean="0">
                <a:ln>
                  <a:noFill/>
                </a:ln>
                <a:gradFill>
                  <a:gsLst>
                    <a:gs pos="0">
                      <a:prstClr val="white"/>
                    </a:gs>
                    <a:gs pos="100000">
                      <a:prstClr val="white"/>
                    </a:gs>
                  </a:gsLst>
                  <a:lin ang="13500000" scaled="1"/>
                </a:gradFill>
                <a:effectLst>
                  <a:outerShdw blurRad="38100" dist="38100" dir="2700000" algn="tl">
                    <a:srgbClr val="000000">
                      <a:alpha val="43137"/>
                    </a:srgbClr>
                  </a:outerShdw>
                </a:effectLst>
                <a:uLnTx/>
                <a:uFillTx/>
                <a:latin typeface="微軟正黑體" pitchFamily="34" charset="-120"/>
                <a:ea typeface="微軟正黑體" pitchFamily="34" charset="-120"/>
              </a:rPr>
              <a:t>Windows</a:t>
            </a:r>
            <a:r>
              <a:rPr kumimoji="0" lang="zh-TW" altLang="en-US" sz="1800" b="0" i="0" u="none" strike="noStrike" kern="0" cap="none" spc="0" normalizeH="0" baseline="0" noProof="0" dirty="0" smtClean="0">
                <a:ln>
                  <a:noFill/>
                </a:ln>
                <a:gradFill>
                  <a:gsLst>
                    <a:gs pos="0">
                      <a:prstClr val="white"/>
                    </a:gs>
                    <a:gs pos="100000">
                      <a:prstClr val="white"/>
                    </a:gs>
                  </a:gsLst>
                  <a:lin ang="13500000" scaled="1"/>
                </a:gradFill>
                <a:effectLst>
                  <a:outerShdw blurRad="38100" dist="38100" dir="2700000" algn="tl">
                    <a:srgbClr val="000000">
                      <a:alpha val="43137"/>
                    </a:srgbClr>
                  </a:outerShdw>
                </a:effectLst>
                <a:uLnTx/>
                <a:uFillTx/>
                <a:latin typeface="微軟正黑體" pitchFamily="34" charset="-120"/>
                <a:ea typeface="微軟正黑體" pitchFamily="34" charset="-120"/>
              </a:rPr>
              <a:t>授權</a:t>
            </a:r>
            <a:endParaRPr kumimoji="0" lang="en-US" sz="1800" b="0" i="0" u="none" strike="noStrike" kern="0" cap="none" spc="0" normalizeH="0" baseline="0" noProof="0" dirty="0" smtClean="0">
              <a:ln>
                <a:noFill/>
              </a:ln>
              <a:gradFill>
                <a:gsLst>
                  <a:gs pos="0">
                    <a:prstClr val="white"/>
                  </a:gs>
                  <a:gs pos="100000">
                    <a:prstClr val="white"/>
                  </a:gs>
                </a:gsLst>
                <a:lin ang="13500000" scaled="1"/>
              </a:gradFill>
              <a:effectLst>
                <a:outerShdw blurRad="38100" dist="38100" dir="2700000" algn="tl">
                  <a:srgbClr val="000000">
                    <a:alpha val="43137"/>
                  </a:srgbClr>
                </a:outerShdw>
              </a:effectLst>
              <a:uLnTx/>
              <a:uFillTx/>
              <a:latin typeface="微軟正黑體" pitchFamily="34" charset="-120"/>
              <a:ea typeface="微軟正黑體" pitchFamily="34" charset="-120"/>
            </a:endParaRPr>
          </a:p>
        </p:txBody>
      </p:sp>
      <p:sp>
        <p:nvSpPr>
          <p:cNvPr id="23" name="Up Arrow 22"/>
          <p:cNvSpPr/>
          <p:nvPr/>
        </p:nvSpPr>
        <p:spPr bwMode="auto">
          <a:xfrm>
            <a:off x="6629400" y="4800600"/>
            <a:ext cx="381000" cy="304800"/>
          </a:xfrm>
          <a:prstGeom prst="upArrow">
            <a:avLst/>
          </a:prstGeom>
          <a:solidFill>
            <a:srgbClr val="0B5E09"/>
          </a:solidFill>
          <a:ln>
            <a:noFill/>
            <a:headEnd type="none" w="med" len="med"/>
            <a:tailEnd type="none" w="med" len="med"/>
          </a:ln>
          <a:effectLst>
            <a:outerShdw blurRad="50800" dist="38100" dir="8100000" algn="tr" rotWithShape="0">
              <a:prstClr val="black">
                <a:alpha val="73000"/>
              </a:prstClr>
            </a:outerShdw>
          </a:effectLst>
          <a:scene3d>
            <a:camera prst="orthographicFront">
              <a:rot lat="0" lon="0" rev="0"/>
            </a:camera>
            <a:lightRig rig="threePt" dir="t">
              <a:rot lat="0" lon="0" rev="1200000"/>
            </a:lightRig>
          </a:scene3d>
          <a:sp3d/>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gradFill>
                <a:gsLst>
                  <a:gs pos="0">
                    <a:prstClr val="white"/>
                  </a:gs>
                  <a:gs pos="100000">
                    <a:prstClr val="white"/>
                  </a:gs>
                </a:gsLst>
                <a:lin ang="13500000" scaled="1"/>
              </a:gradFill>
              <a:effectLst>
                <a:outerShdw blurRad="38100" dist="38100" dir="2700000" algn="tl">
                  <a:srgbClr val="000000">
                    <a:alpha val="43137"/>
                  </a:srgbClr>
                </a:outerShdw>
              </a:effectLst>
              <a:uLnTx/>
              <a:uFillTx/>
              <a:latin typeface="Segoe" pitchFamily="34" charset="0"/>
            </a:endParaRPr>
          </a:p>
        </p:txBody>
      </p:sp>
      <p:sp>
        <p:nvSpPr>
          <p:cNvPr id="24" name="Rectangle 23"/>
          <p:cNvSpPr/>
          <p:nvPr/>
        </p:nvSpPr>
        <p:spPr bwMode="auto">
          <a:xfrm>
            <a:off x="5410200" y="2590800"/>
            <a:ext cx="2743200" cy="838200"/>
          </a:xfrm>
          <a:prstGeom prst="rect">
            <a:avLst/>
          </a:prstGeom>
          <a:solidFill>
            <a:srgbClr val="0B5E09"/>
          </a:solidFill>
          <a:ln>
            <a:noFill/>
            <a:headEnd type="none" w="med" len="med"/>
            <a:tailEnd type="none" w="med" len="med"/>
          </a:ln>
          <a:effectLst>
            <a:outerShdw blurRad="50800" dist="38100" dir="8100000" algn="tr" rotWithShape="0">
              <a:prstClr val="black">
                <a:alpha val="73000"/>
              </a:prstClr>
            </a:outerShdw>
          </a:effectLst>
          <a:scene3d>
            <a:camera prst="orthographicFront">
              <a:rot lat="0" lon="0" rev="0"/>
            </a:camera>
            <a:lightRig rig="threePt" dir="t">
              <a:rot lat="0" lon="0" rev="1200000"/>
            </a:lightRig>
          </a:scene3d>
          <a:sp3d/>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r>
              <a:rPr kumimoji="0" lang="zh-TW" altLang="en-US" sz="1800" b="0" i="0" u="none" strike="noStrike" kern="0" cap="none" spc="0" normalizeH="0" baseline="0" noProof="0" dirty="0" smtClean="0">
                <a:ln>
                  <a:noFill/>
                </a:ln>
                <a:gradFill>
                  <a:gsLst>
                    <a:gs pos="0">
                      <a:prstClr val="white"/>
                    </a:gs>
                    <a:gs pos="100000">
                      <a:prstClr val="white"/>
                    </a:gs>
                  </a:gsLst>
                  <a:lin ang="13500000" scaled="1"/>
                </a:gradFill>
                <a:effectLst>
                  <a:outerShdw blurRad="38100" dist="38100" dir="2700000" algn="tl">
                    <a:srgbClr val="000000">
                      <a:alpha val="43137"/>
                    </a:srgbClr>
                  </a:outerShdw>
                </a:effectLst>
                <a:uLnTx/>
                <a:uFillTx/>
                <a:latin typeface="微軟正黑體" pitchFamily="34" charset="-120"/>
                <a:ea typeface="微軟正黑體" pitchFamily="34" charset="-120"/>
              </a:rPr>
              <a:t>大量授權方案所提供的</a:t>
            </a:r>
            <a:r>
              <a:rPr kumimoji="0" lang="en-US" altLang="zh-TW" sz="1800" b="0" i="0" u="none" strike="noStrike" kern="0" cap="none" spc="0" normalizeH="0" baseline="0" noProof="0" dirty="0" smtClean="0">
                <a:ln>
                  <a:noFill/>
                </a:ln>
                <a:gradFill>
                  <a:gsLst>
                    <a:gs pos="0">
                      <a:prstClr val="white"/>
                    </a:gs>
                    <a:gs pos="100000">
                      <a:prstClr val="white"/>
                    </a:gs>
                  </a:gsLst>
                  <a:lin ang="13500000" scaled="1"/>
                </a:gradFill>
                <a:effectLst>
                  <a:outerShdw blurRad="38100" dist="38100" dir="2700000" algn="tl">
                    <a:srgbClr val="000000">
                      <a:alpha val="43137"/>
                    </a:srgbClr>
                  </a:outerShdw>
                </a:effectLst>
                <a:uLnTx/>
                <a:uFillTx/>
                <a:latin typeface="微軟正黑體" pitchFamily="34" charset="-120"/>
                <a:ea typeface="微軟正黑體" pitchFamily="34" charset="-120"/>
              </a:rPr>
              <a:t>Windows</a:t>
            </a:r>
            <a:r>
              <a:rPr kumimoji="0" lang="zh-TW" altLang="en-US" sz="1800" b="0" i="0" u="none" strike="noStrike" kern="0" cap="none" spc="0" normalizeH="0" baseline="0" noProof="0" dirty="0" smtClean="0">
                <a:ln>
                  <a:noFill/>
                </a:ln>
                <a:gradFill>
                  <a:gsLst>
                    <a:gs pos="0">
                      <a:prstClr val="white"/>
                    </a:gs>
                    <a:gs pos="100000">
                      <a:prstClr val="white"/>
                    </a:gs>
                  </a:gsLst>
                  <a:lin ang="13500000" scaled="1"/>
                </a:gradFill>
                <a:effectLst>
                  <a:outerShdw blurRad="38100" dist="38100" dir="2700000" algn="tl">
                    <a:srgbClr val="000000">
                      <a:alpha val="43137"/>
                    </a:srgbClr>
                  </a:outerShdw>
                </a:effectLst>
                <a:uLnTx/>
                <a:uFillTx/>
                <a:latin typeface="微軟正黑體" pitchFamily="34" charset="-120"/>
                <a:ea typeface="微軟正黑體" pitchFamily="34" charset="-120"/>
              </a:rPr>
              <a:t>升級版</a:t>
            </a:r>
            <a:endParaRPr kumimoji="0" lang="en-US" sz="1800" b="0" i="0" u="none" strike="noStrike" kern="0" cap="none" spc="0" normalizeH="0" baseline="0" noProof="0" dirty="0" smtClean="0">
              <a:ln>
                <a:noFill/>
              </a:ln>
              <a:gradFill>
                <a:gsLst>
                  <a:gs pos="0">
                    <a:prstClr val="white"/>
                  </a:gs>
                  <a:gs pos="100000">
                    <a:prstClr val="white"/>
                  </a:gs>
                </a:gsLst>
                <a:lin ang="13500000" scaled="1"/>
              </a:gradFill>
              <a:effectLst>
                <a:outerShdw blurRad="38100" dist="38100" dir="2700000" algn="tl">
                  <a:srgbClr val="000000">
                    <a:alpha val="43137"/>
                  </a:srgbClr>
                </a:outerShdw>
              </a:effectLst>
              <a:uLnTx/>
              <a:uFillTx/>
              <a:latin typeface="微軟正黑體" pitchFamily="34" charset="-120"/>
              <a:ea typeface="微軟正黑體" pitchFamily="34" charset="-120"/>
            </a:endParaRPr>
          </a:p>
        </p:txBody>
      </p:sp>
      <p:sp>
        <p:nvSpPr>
          <p:cNvPr id="25" name="Plus 24"/>
          <p:cNvSpPr/>
          <p:nvPr/>
        </p:nvSpPr>
        <p:spPr bwMode="auto">
          <a:xfrm>
            <a:off x="6553200" y="3505200"/>
            <a:ext cx="381000" cy="342900"/>
          </a:xfrm>
          <a:prstGeom prst="mathPlus">
            <a:avLst/>
          </a:prstGeom>
          <a:solidFill>
            <a:srgbClr val="0B5E09"/>
          </a:solidFill>
          <a:ln>
            <a:noFill/>
            <a:headEnd type="none" w="med" len="med"/>
            <a:tailEnd type="none" w="med" len="med"/>
          </a:ln>
          <a:effectLst>
            <a:outerShdw blurRad="50800" dist="38100" dir="8100000" algn="tr" rotWithShape="0">
              <a:prstClr val="black">
                <a:alpha val="73000"/>
              </a:prstClr>
            </a:outerShdw>
          </a:effectLst>
          <a:scene3d>
            <a:camera prst="orthographicFront">
              <a:rot lat="0" lon="0" rev="0"/>
            </a:camera>
            <a:lightRig rig="threePt" dir="t">
              <a:rot lat="0" lon="0" rev="1200000"/>
            </a:lightRig>
          </a:scene3d>
          <a:sp3d/>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gradFill>
                <a:gsLst>
                  <a:gs pos="0">
                    <a:prstClr val="white"/>
                  </a:gs>
                  <a:gs pos="100000">
                    <a:prstClr val="white"/>
                  </a:gs>
                </a:gsLst>
                <a:lin ang="13500000" scaled="1"/>
              </a:gradFill>
              <a:effectLst>
                <a:outerShdw blurRad="38100" dist="38100" dir="2700000" algn="tl">
                  <a:srgbClr val="000000">
                    <a:alpha val="43137"/>
                  </a:srgbClr>
                </a:outerShdw>
              </a:effectLst>
              <a:uLnTx/>
              <a:uFillTx/>
              <a:latin typeface="Segoe" pitchFamily="34" charset="0"/>
            </a:endParaRPr>
          </a:p>
        </p:txBody>
      </p:sp>
      <p:sp>
        <p:nvSpPr>
          <p:cNvPr id="2" name="投影片編號版面配置區 1"/>
          <p:cNvSpPr>
            <a:spLocks noGrp="1"/>
          </p:cNvSpPr>
          <p:nvPr>
            <p:ph type="sldNum" sz="quarter" idx="12"/>
          </p:nvPr>
        </p:nvSpPr>
        <p:spPr/>
        <p:txBody>
          <a:bodyPr/>
          <a:lstStyle/>
          <a:p>
            <a:pPr>
              <a:defRPr/>
            </a:pPr>
            <a:fld id="{1D9970BA-2F58-4996-9806-696110DA0FEA}" type="slidenum">
              <a:rPr lang="en-US" smtClean="0"/>
              <a:pPr>
                <a:defRPr/>
              </a:pPr>
              <a:t>17</a:t>
            </a:fld>
            <a:endParaRPr lang="zh-CN" altLang="en-US"/>
          </a:p>
        </p:txBody>
      </p:sp>
    </p:spTree>
    <p:extLst>
      <p:ext uri="{BB962C8B-B14F-4D97-AF65-F5344CB8AC3E}">
        <p14:creationId xmlns:p14="http://schemas.microsoft.com/office/powerpoint/2010/main" val="32825654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zh-TW" altLang="en-US"/>
          </a:p>
        </p:txBody>
      </p:sp>
      <p:sp>
        <p:nvSpPr>
          <p:cNvPr id="4" name="Rounded Rectangle 3"/>
          <p:cNvSpPr/>
          <p:nvPr/>
        </p:nvSpPr>
        <p:spPr bwMode="auto">
          <a:xfrm>
            <a:off x="4724400" y="2438400"/>
            <a:ext cx="4177158" cy="3810000"/>
          </a:xfrm>
          <a:prstGeom prst="roundRect">
            <a:avLst/>
          </a:prstGeom>
          <a:solidFill>
            <a:srgbClr val="FFF316">
              <a:lumMod val="20000"/>
              <a:lumOff val="80000"/>
            </a:srgbClr>
          </a:solidFill>
          <a:ln>
            <a:noFill/>
            <a:headEnd type="none" w="med" len="med"/>
            <a:tailEnd type="none" w="med" len="med"/>
          </a:ln>
          <a:effectLst>
            <a:outerShdw blurRad="50800" dist="38100" dir="8100000" algn="tr" rotWithShape="0">
              <a:prstClr val="black">
                <a:alpha val="73000"/>
              </a:prstClr>
            </a:outerShdw>
          </a:effectLst>
          <a:scene3d>
            <a:camera prst="orthographicFront">
              <a:rot lat="0" lon="0" rev="0"/>
            </a:camera>
            <a:lightRig rig="threePt" dir="t">
              <a:rot lat="0" lon="0" rev="1200000"/>
            </a:lightRig>
          </a:scene3d>
          <a:sp3d>
            <a:bevelT/>
          </a:sp3d>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gradFill>
                <a:gsLst>
                  <a:gs pos="0">
                    <a:prstClr val="white"/>
                  </a:gs>
                  <a:gs pos="100000">
                    <a:prstClr val="white"/>
                  </a:gs>
                </a:gsLst>
                <a:lin ang="13500000" scaled="1"/>
              </a:gradFill>
              <a:effectLst>
                <a:outerShdw blurRad="38100" dist="38100" dir="2700000" algn="tl">
                  <a:srgbClr val="000000">
                    <a:alpha val="43137"/>
                  </a:srgbClr>
                </a:outerShdw>
              </a:effectLst>
              <a:uLnTx/>
              <a:uFillTx/>
              <a:latin typeface="Segoe" pitchFamily="34" charset="0"/>
            </a:endParaRPr>
          </a:p>
        </p:txBody>
      </p:sp>
      <p:sp>
        <p:nvSpPr>
          <p:cNvPr id="5" name="Rounded Rectangle 4"/>
          <p:cNvSpPr/>
          <p:nvPr/>
        </p:nvSpPr>
        <p:spPr bwMode="auto">
          <a:xfrm>
            <a:off x="381000" y="2438400"/>
            <a:ext cx="4114800" cy="3810000"/>
          </a:xfrm>
          <a:prstGeom prst="roundRect">
            <a:avLst/>
          </a:prstGeom>
          <a:solidFill>
            <a:srgbClr val="FFF316">
              <a:lumMod val="20000"/>
              <a:lumOff val="80000"/>
            </a:srgbClr>
          </a:solidFill>
          <a:ln>
            <a:noFill/>
            <a:headEnd type="none" w="med" len="med"/>
            <a:tailEnd type="none" w="med" len="med"/>
          </a:ln>
          <a:effectLst>
            <a:outerShdw blurRad="50800" dist="38100" dir="8100000" algn="tr" rotWithShape="0">
              <a:prstClr val="black">
                <a:alpha val="73000"/>
              </a:prstClr>
            </a:outerShdw>
          </a:effectLst>
          <a:scene3d>
            <a:camera prst="orthographicFront">
              <a:rot lat="0" lon="0" rev="0"/>
            </a:camera>
            <a:lightRig rig="threePt" dir="t">
              <a:rot lat="0" lon="0" rev="1200000"/>
            </a:lightRig>
          </a:scene3d>
          <a:sp3d>
            <a:bevelT/>
          </a:sp3d>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gradFill>
                <a:gsLst>
                  <a:gs pos="0">
                    <a:prstClr val="white"/>
                  </a:gs>
                  <a:gs pos="100000">
                    <a:prstClr val="white"/>
                  </a:gs>
                </a:gsLst>
                <a:lin ang="13500000" scaled="1"/>
              </a:gradFill>
              <a:effectLst>
                <a:outerShdw blurRad="38100" dist="38100" dir="2700000" algn="tl">
                  <a:srgbClr val="000000">
                    <a:alpha val="43137"/>
                  </a:srgbClr>
                </a:outerShdw>
              </a:effectLst>
              <a:uLnTx/>
              <a:uFillTx/>
              <a:latin typeface="Segoe" pitchFamily="34" charset="0"/>
            </a:endParaRPr>
          </a:p>
        </p:txBody>
      </p:sp>
      <p:sp>
        <p:nvSpPr>
          <p:cNvPr id="6" name="Title 1"/>
          <p:cNvSpPr txBox="1">
            <a:spLocks/>
          </p:cNvSpPr>
          <p:nvPr/>
        </p:nvSpPr>
        <p:spPr>
          <a:xfrm>
            <a:off x="347547" y="234462"/>
            <a:ext cx="8534400" cy="914400"/>
          </a:xfrm>
          <a:prstGeom prst="rect">
            <a:avLst/>
          </a:prstGeom>
        </p:spPr>
        <p:txBody>
          <a:bodyPr vert="horz" lIns="91440" tIns="45720" rIns="91440" bIns="45720" rtlCol="0" anchor="ctr">
            <a:normAutofit/>
          </a:bodyPr>
          <a:lstStyle>
            <a:lvl1pPr algn="l" defTabSz="457200" rtl="0" eaLnBrk="1" latinLnBrk="0" hangingPunct="1">
              <a:spcBef>
                <a:spcPct val="0"/>
              </a:spcBef>
              <a:buNone/>
              <a:defRPr sz="3400" kern="1200">
                <a:gradFill>
                  <a:gsLst>
                    <a:gs pos="0">
                      <a:schemeClr val="bg1"/>
                    </a:gs>
                    <a:gs pos="100000">
                      <a:schemeClr val="bg1"/>
                    </a:gs>
                  </a:gsLst>
                  <a:lin ang="5400000" scaled="0"/>
                </a:gradFill>
                <a:latin typeface="Segoe UI Light" pitchFamily="34" charset="0"/>
                <a:ea typeface="+mj-ea"/>
                <a:cs typeface="Segoe UI Light" pitchFamily="34" charset="0"/>
              </a:defRPr>
            </a:lvl1pPr>
          </a:lstStyle>
          <a:p>
            <a:pPr fontAlgn="auto">
              <a:spcAft>
                <a:spcPts val="0"/>
              </a:spcAft>
            </a:pPr>
            <a:r>
              <a:rPr lang="zh-TW" altLang="en-US" b="0" dirty="0" smtClean="0">
                <a:latin typeface="微軟正黑體" pitchFamily="34" charset="-120"/>
                <a:ea typeface="微軟正黑體" pitchFamily="34" charset="-120"/>
              </a:rPr>
              <a:t>甚麼時候需要買</a:t>
            </a:r>
            <a:r>
              <a:rPr lang="en-US" altLang="zh-TW" b="0" dirty="0" smtClean="0">
                <a:latin typeface="微軟正黑體" pitchFamily="34" charset="-120"/>
                <a:ea typeface="微軟正黑體" pitchFamily="34" charset="-120"/>
              </a:rPr>
              <a:t>GGWA</a:t>
            </a:r>
            <a:r>
              <a:rPr lang="zh-TW" altLang="en-US" b="0" dirty="0" smtClean="0">
                <a:latin typeface="微軟正黑體" pitchFamily="34" charset="-120"/>
                <a:ea typeface="微軟正黑體" pitchFamily="34" charset="-120"/>
              </a:rPr>
              <a:t>？</a:t>
            </a:r>
            <a:endParaRPr lang="en-US" b="0" dirty="0">
              <a:latin typeface="微軟正黑體" pitchFamily="34" charset="-120"/>
              <a:ea typeface="微軟正黑體" pitchFamily="34" charset="-120"/>
            </a:endParaRPr>
          </a:p>
        </p:txBody>
      </p:sp>
      <p:sp>
        <p:nvSpPr>
          <p:cNvPr id="7" name="Content Placeholder 2"/>
          <p:cNvSpPr txBox="1">
            <a:spLocks/>
          </p:cNvSpPr>
          <p:nvPr/>
        </p:nvSpPr>
        <p:spPr>
          <a:xfrm>
            <a:off x="457200" y="2667000"/>
            <a:ext cx="3962400" cy="3581400"/>
          </a:xfrm>
          <a:prstGeom prst="rect">
            <a:avLst/>
          </a:prstGeom>
        </p:spPr>
        <p:txBody>
          <a:bodyPr vert="horz" lIns="91440" tIns="45720" rIns="91440" bIns="45720" rtlCol="0">
            <a:noAutofit/>
          </a:bodyPr>
          <a:lstStyle>
            <a:lvl1pPr marL="342900" indent="-342900" algn="l" defTabSz="457200" rtl="0" eaLnBrk="1" latinLnBrk="0" hangingPunct="1">
              <a:spcBef>
                <a:spcPct val="20000"/>
              </a:spcBef>
              <a:buClr>
                <a:schemeClr val="tx2"/>
              </a:buClr>
              <a:buSzPct val="75000"/>
              <a:buFontTx/>
              <a:buBlip>
                <a:blip r:embed="rId2"/>
              </a:buBlip>
              <a:defRPr sz="2300" b="0" i="0" kern="1200">
                <a:gradFill>
                  <a:gsLst>
                    <a:gs pos="0">
                      <a:schemeClr val="tx1">
                        <a:lumMod val="75000"/>
                        <a:lumOff val="25000"/>
                      </a:schemeClr>
                    </a:gs>
                    <a:gs pos="100000">
                      <a:schemeClr val="tx1">
                        <a:lumMod val="75000"/>
                        <a:lumOff val="25000"/>
                      </a:schemeClr>
                    </a:gs>
                  </a:gsLst>
                  <a:lin ang="5400000" scaled="0"/>
                </a:gradFill>
                <a:latin typeface="+mn-lt"/>
                <a:ea typeface="+mn-ea"/>
                <a:cs typeface="Segoe"/>
              </a:defRPr>
            </a:lvl1pPr>
            <a:lvl2pPr marL="914400" indent="-457200" algn="l" defTabSz="457200" rtl="0" eaLnBrk="1" latinLnBrk="0" hangingPunct="1">
              <a:spcBef>
                <a:spcPct val="20000"/>
              </a:spcBef>
              <a:buClr>
                <a:schemeClr val="tx2"/>
              </a:buClr>
              <a:buSzPct val="75000"/>
              <a:buFontTx/>
              <a:buBlip>
                <a:blip r:embed="rId3"/>
              </a:buBlip>
              <a:defRPr sz="2100" b="0" i="0" kern="1200">
                <a:gradFill>
                  <a:gsLst>
                    <a:gs pos="0">
                      <a:schemeClr val="tx1">
                        <a:lumMod val="75000"/>
                        <a:lumOff val="25000"/>
                      </a:schemeClr>
                    </a:gs>
                    <a:gs pos="100000">
                      <a:schemeClr val="tx1">
                        <a:lumMod val="75000"/>
                        <a:lumOff val="25000"/>
                      </a:schemeClr>
                    </a:gs>
                  </a:gsLst>
                  <a:lin ang="5400000" scaled="0"/>
                </a:gradFill>
                <a:latin typeface="+mn-lt"/>
                <a:ea typeface="+mn-ea"/>
                <a:cs typeface="Segoe"/>
              </a:defRPr>
            </a:lvl2pPr>
            <a:lvl3pPr marL="1257300" indent="-342900" algn="l" defTabSz="457200" rtl="0" eaLnBrk="1" latinLnBrk="0" hangingPunct="1">
              <a:spcBef>
                <a:spcPct val="20000"/>
              </a:spcBef>
              <a:buClr>
                <a:schemeClr val="tx2"/>
              </a:buClr>
              <a:buSzPct val="75000"/>
              <a:buFontTx/>
              <a:buBlip>
                <a:blip r:embed="rId3"/>
              </a:buBlip>
              <a:defRPr sz="1800" b="0" i="0" kern="1200">
                <a:gradFill>
                  <a:gsLst>
                    <a:gs pos="0">
                      <a:schemeClr val="tx1">
                        <a:lumMod val="75000"/>
                        <a:lumOff val="25000"/>
                      </a:schemeClr>
                    </a:gs>
                    <a:gs pos="100000">
                      <a:schemeClr val="tx1">
                        <a:lumMod val="75000"/>
                        <a:lumOff val="25000"/>
                      </a:schemeClr>
                    </a:gs>
                  </a:gsLst>
                  <a:lin ang="5400000" scaled="0"/>
                </a:gradFill>
                <a:latin typeface="+mn-lt"/>
                <a:ea typeface="+mn-ea"/>
                <a:cs typeface="Segoe"/>
              </a:defRPr>
            </a:lvl3pPr>
            <a:lvl4pPr marL="1714500" indent="-342900" algn="l" defTabSz="457200" rtl="0" eaLnBrk="1" latinLnBrk="0" hangingPunct="1">
              <a:spcBef>
                <a:spcPct val="20000"/>
              </a:spcBef>
              <a:buClr>
                <a:schemeClr val="tx2"/>
              </a:buClr>
              <a:buSzPct val="75000"/>
              <a:buFontTx/>
              <a:buBlip>
                <a:blip r:embed="rId3"/>
              </a:buBlip>
              <a:defRPr sz="1800" b="0" i="0" u="none" kern="1200">
                <a:gradFill>
                  <a:gsLst>
                    <a:gs pos="0">
                      <a:schemeClr val="tx1">
                        <a:lumMod val="75000"/>
                        <a:lumOff val="25000"/>
                      </a:schemeClr>
                    </a:gs>
                    <a:gs pos="100000">
                      <a:schemeClr val="tx1">
                        <a:lumMod val="75000"/>
                        <a:lumOff val="25000"/>
                      </a:schemeClr>
                    </a:gs>
                  </a:gsLst>
                  <a:lin ang="5400000" scaled="0"/>
                </a:gradFill>
                <a:latin typeface="+mn-lt"/>
                <a:ea typeface="+mn-ea"/>
                <a:cs typeface="Segoe"/>
              </a:defRPr>
            </a:lvl4pPr>
            <a:lvl5pPr marL="2057400" indent="-228600" algn="l" defTabSz="457200" rtl="0" eaLnBrk="1" latinLnBrk="0" hangingPunct="1">
              <a:spcBef>
                <a:spcPct val="20000"/>
              </a:spcBef>
              <a:buFont typeface="Arial"/>
              <a:buChar char="»"/>
              <a:defRPr sz="2000" b="0" i="0" u="none" kern="1200">
                <a:solidFill>
                  <a:schemeClr val="tx1">
                    <a:lumMod val="75000"/>
                    <a:lumOff val="25000"/>
                  </a:schemeClr>
                </a:solidFill>
                <a:latin typeface="Segoe"/>
                <a:ea typeface="+mn-ea"/>
                <a:cs typeface="Sego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fontAlgn="auto">
              <a:spcAft>
                <a:spcPts val="0"/>
              </a:spcAft>
              <a:buFontTx/>
              <a:buNone/>
            </a:pPr>
            <a:r>
              <a:rPr lang="zh-TW" altLang="en-US" sz="1600" smtClean="0">
                <a:latin typeface="微軟正黑體" pitchFamily="34" charset="-120"/>
                <a:ea typeface="微軟正黑體" pitchFamily="34" charset="-120"/>
              </a:rPr>
              <a:t>客戶情況：</a:t>
            </a:r>
          </a:p>
          <a:p>
            <a:pPr marL="0" indent="0" algn="ctr" fontAlgn="auto">
              <a:spcAft>
                <a:spcPts val="0"/>
              </a:spcAft>
              <a:buFontTx/>
              <a:buNone/>
            </a:pPr>
            <a:endParaRPr lang="en-US" sz="1400" smtClean="0">
              <a:latin typeface="微軟正黑體" pitchFamily="34" charset="-120"/>
              <a:ea typeface="微軟正黑體" pitchFamily="34" charset="-120"/>
            </a:endParaRPr>
          </a:p>
          <a:p>
            <a:pPr algn="ctr" fontAlgn="auto">
              <a:spcAft>
                <a:spcPts val="0"/>
              </a:spcAft>
            </a:pPr>
            <a:endParaRPr lang="en-US" sz="1400" smtClean="0">
              <a:latin typeface="微軟正黑體" pitchFamily="34" charset="-120"/>
              <a:ea typeface="微軟正黑體" pitchFamily="34" charset="-120"/>
            </a:endParaRPr>
          </a:p>
          <a:p>
            <a:pPr algn="ctr" fontAlgn="auto">
              <a:spcAft>
                <a:spcPts val="0"/>
              </a:spcAft>
            </a:pPr>
            <a:endParaRPr lang="en-US" sz="1400" smtClean="0">
              <a:latin typeface="微軟正黑體" pitchFamily="34" charset="-120"/>
              <a:ea typeface="微軟正黑體" pitchFamily="34" charset="-120"/>
            </a:endParaRPr>
          </a:p>
          <a:p>
            <a:pPr marL="0" indent="0" algn="ctr" fontAlgn="auto">
              <a:spcAft>
                <a:spcPts val="0"/>
              </a:spcAft>
              <a:buFontTx/>
              <a:buNone/>
            </a:pPr>
            <a:endParaRPr lang="en-US" sz="1400" smtClean="0">
              <a:latin typeface="微軟正黑體" pitchFamily="34" charset="-120"/>
              <a:ea typeface="微軟正黑體" pitchFamily="34" charset="-120"/>
            </a:endParaRPr>
          </a:p>
          <a:p>
            <a:pPr marL="0" indent="0" algn="ctr" fontAlgn="auto">
              <a:spcAft>
                <a:spcPts val="0"/>
              </a:spcAft>
              <a:buFontTx/>
              <a:buNone/>
            </a:pPr>
            <a:endParaRPr lang="en-US" altLang="zh-TW" sz="1400" smtClean="0">
              <a:latin typeface="微軟正黑體" pitchFamily="34" charset="-120"/>
              <a:ea typeface="微軟正黑體" pitchFamily="34" charset="-120"/>
            </a:endParaRPr>
          </a:p>
          <a:p>
            <a:pPr marL="0" indent="0" algn="ctr" fontAlgn="auto">
              <a:spcAft>
                <a:spcPts val="0"/>
              </a:spcAft>
              <a:buFontTx/>
              <a:buNone/>
            </a:pPr>
            <a:endParaRPr lang="en-US" altLang="zh-TW" sz="1400" smtClean="0">
              <a:latin typeface="微軟正黑體" pitchFamily="34" charset="-120"/>
              <a:ea typeface="微軟正黑體" pitchFamily="34" charset="-120"/>
            </a:endParaRPr>
          </a:p>
          <a:p>
            <a:pPr marL="0" indent="0" algn="ctr" fontAlgn="auto">
              <a:spcAft>
                <a:spcPts val="0"/>
              </a:spcAft>
              <a:buFontTx/>
              <a:buNone/>
            </a:pPr>
            <a:endParaRPr lang="en-US" altLang="zh-TW" sz="1400" smtClean="0">
              <a:latin typeface="微軟正黑體" pitchFamily="34" charset="-120"/>
              <a:ea typeface="微軟正黑體" pitchFamily="34" charset="-120"/>
            </a:endParaRPr>
          </a:p>
          <a:p>
            <a:pPr marL="0" indent="0" algn="ctr" fontAlgn="auto">
              <a:spcAft>
                <a:spcPts val="0"/>
              </a:spcAft>
              <a:buFontTx/>
              <a:buNone/>
            </a:pPr>
            <a:endParaRPr lang="en-US" altLang="zh-TW" sz="1400" smtClean="0">
              <a:latin typeface="微軟正黑體" pitchFamily="34" charset="-120"/>
              <a:ea typeface="微軟正黑體" pitchFamily="34" charset="-120"/>
            </a:endParaRPr>
          </a:p>
          <a:p>
            <a:pPr marL="0" indent="0" algn="ctr" fontAlgn="auto">
              <a:spcAft>
                <a:spcPts val="0"/>
              </a:spcAft>
              <a:buFontTx/>
              <a:buNone/>
            </a:pPr>
            <a:endParaRPr lang="en-US" altLang="zh-TW" sz="1400" smtClean="0">
              <a:latin typeface="微軟正黑體" pitchFamily="34" charset="-120"/>
              <a:ea typeface="微軟正黑體" pitchFamily="34" charset="-120"/>
            </a:endParaRPr>
          </a:p>
          <a:p>
            <a:pPr marL="0" indent="0" algn="ctr" fontAlgn="auto">
              <a:spcAft>
                <a:spcPts val="0"/>
              </a:spcAft>
              <a:buFontTx/>
              <a:buNone/>
            </a:pPr>
            <a:endParaRPr lang="en-US" altLang="zh-TW" sz="1400" smtClean="0">
              <a:latin typeface="微軟正黑體" pitchFamily="34" charset="-120"/>
              <a:ea typeface="微軟正黑體" pitchFamily="34" charset="-120"/>
            </a:endParaRPr>
          </a:p>
          <a:p>
            <a:pPr marL="0" indent="0" algn="ctr" fontAlgn="auto">
              <a:spcAft>
                <a:spcPts val="0"/>
              </a:spcAft>
              <a:buFontTx/>
              <a:buNone/>
            </a:pPr>
            <a:r>
              <a:rPr lang="zh-TW" altLang="en-US" sz="1600" smtClean="0">
                <a:latin typeface="微軟正黑體" pitchFamily="34" charset="-120"/>
                <a:ea typeface="微軟正黑體" pitchFamily="34" charset="-120"/>
              </a:rPr>
              <a:t>缺乏底層</a:t>
            </a:r>
            <a:r>
              <a:rPr lang="en-US" altLang="zh-TW" sz="1600" smtClean="0">
                <a:latin typeface="微軟正黑體" pitchFamily="34" charset="-120"/>
                <a:ea typeface="微軟正黑體" pitchFamily="34" charset="-120"/>
              </a:rPr>
              <a:t>Windows</a:t>
            </a:r>
            <a:r>
              <a:rPr lang="zh-TW" altLang="en-US" sz="1600" smtClean="0">
                <a:latin typeface="微軟正黑體" pitchFamily="34" charset="-120"/>
                <a:ea typeface="微軟正黑體" pitchFamily="34" charset="-120"/>
              </a:rPr>
              <a:t>授權</a:t>
            </a:r>
            <a:endParaRPr lang="en-US" sz="1600" dirty="0">
              <a:latin typeface="微軟正黑體" pitchFamily="34" charset="-120"/>
              <a:ea typeface="微軟正黑體" pitchFamily="34" charset="-120"/>
            </a:endParaRPr>
          </a:p>
        </p:txBody>
      </p:sp>
      <p:sp>
        <p:nvSpPr>
          <p:cNvPr id="8" name="Up Arrow 7"/>
          <p:cNvSpPr/>
          <p:nvPr/>
        </p:nvSpPr>
        <p:spPr bwMode="auto">
          <a:xfrm>
            <a:off x="2362200" y="4724400"/>
            <a:ext cx="304800" cy="609600"/>
          </a:xfrm>
          <a:prstGeom prst="upArrow">
            <a:avLst/>
          </a:prstGeom>
          <a:solidFill>
            <a:srgbClr val="0B5E09"/>
          </a:solidFill>
          <a:ln>
            <a:noFill/>
            <a:headEnd type="none" w="med" len="med"/>
            <a:tailEnd type="none" w="med" len="med"/>
          </a:ln>
          <a:effectLst>
            <a:outerShdw blurRad="50800" dist="38100" dir="8100000" algn="tr" rotWithShape="0">
              <a:prstClr val="black">
                <a:alpha val="73000"/>
              </a:prstClr>
            </a:outerShdw>
          </a:effectLst>
          <a:scene3d>
            <a:camera prst="orthographicFront">
              <a:rot lat="0" lon="0" rev="0"/>
            </a:camera>
            <a:lightRig rig="threePt" dir="t">
              <a:rot lat="0" lon="0" rev="1200000"/>
            </a:lightRig>
          </a:scene3d>
          <a:sp3d/>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gradFill>
                <a:gsLst>
                  <a:gs pos="0">
                    <a:prstClr val="white"/>
                  </a:gs>
                  <a:gs pos="100000">
                    <a:prstClr val="white"/>
                  </a:gs>
                </a:gsLst>
                <a:lin ang="13500000" scaled="1"/>
              </a:gradFill>
              <a:effectLst>
                <a:outerShdw blurRad="38100" dist="38100" dir="2700000" algn="tl">
                  <a:srgbClr val="000000">
                    <a:alpha val="43137"/>
                  </a:srgbClr>
                </a:outerShdw>
              </a:effectLst>
              <a:uLnTx/>
              <a:uFillTx/>
              <a:latin typeface="Segoe" pitchFamily="34" charset="0"/>
            </a:endParaRPr>
          </a:p>
        </p:txBody>
      </p:sp>
      <p:sp>
        <p:nvSpPr>
          <p:cNvPr id="9" name="Content Placeholder 2"/>
          <p:cNvSpPr txBox="1">
            <a:spLocks/>
          </p:cNvSpPr>
          <p:nvPr/>
        </p:nvSpPr>
        <p:spPr>
          <a:xfrm>
            <a:off x="4800600" y="2667000"/>
            <a:ext cx="3995853" cy="3429000"/>
          </a:xfrm>
          <a:prstGeom prst="rect">
            <a:avLst/>
          </a:prstGeom>
        </p:spPr>
        <p:txBody>
          <a:bodyPr vert="horz" lIns="91440" tIns="45720" rIns="91440" bIns="45720" rtlCol="0">
            <a:normAutofit lnSpcReduction="10000"/>
          </a:bodyPr>
          <a:lstStyle>
            <a:lvl1pPr marL="342900" indent="-342900" algn="l" defTabSz="457200" rtl="0" eaLnBrk="1" latinLnBrk="0" hangingPunct="1">
              <a:spcBef>
                <a:spcPct val="20000"/>
              </a:spcBef>
              <a:buClr>
                <a:schemeClr val="tx2"/>
              </a:buClr>
              <a:buSzPct val="75000"/>
              <a:buFontTx/>
              <a:buBlip>
                <a:blip r:embed="rId2"/>
              </a:buBlip>
              <a:defRPr sz="2300" b="0" i="0" kern="1200">
                <a:gradFill>
                  <a:gsLst>
                    <a:gs pos="0">
                      <a:schemeClr val="tx1">
                        <a:lumMod val="75000"/>
                        <a:lumOff val="25000"/>
                      </a:schemeClr>
                    </a:gs>
                    <a:gs pos="100000">
                      <a:schemeClr val="tx1">
                        <a:lumMod val="75000"/>
                        <a:lumOff val="25000"/>
                      </a:schemeClr>
                    </a:gs>
                  </a:gsLst>
                  <a:lin ang="5400000" scaled="0"/>
                </a:gradFill>
                <a:latin typeface="+mn-lt"/>
                <a:ea typeface="+mn-ea"/>
                <a:cs typeface="Segoe"/>
              </a:defRPr>
            </a:lvl1pPr>
            <a:lvl2pPr marL="914400" indent="-457200" algn="l" defTabSz="457200" rtl="0" eaLnBrk="1" latinLnBrk="0" hangingPunct="1">
              <a:spcBef>
                <a:spcPct val="20000"/>
              </a:spcBef>
              <a:buClr>
                <a:schemeClr val="tx2"/>
              </a:buClr>
              <a:buSzPct val="75000"/>
              <a:buFontTx/>
              <a:buBlip>
                <a:blip r:embed="rId3"/>
              </a:buBlip>
              <a:defRPr sz="2100" b="0" i="0" kern="1200">
                <a:gradFill>
                  <a:gsLst>
                    <a:gs pos="0">
                      <a:schemeClr val="tx1">
                        <a:lumMod val="75000"/>
                        <a:lumOff val="25000"/>
                      </a:schemeClr>
                    </a:gs>
                    <a:gs pos="100000">
                      <a:schemeClr val="tx1">
                        <a:lumMod val="75000"/>
                        <a:lumOff val="25000"/>
                      </a:schemeClr>
                    </a:gs>
                  </a:gsLst>
                  <a:lin ang="5400000" scaled="0"/>
                </a:gradFill>
                <a:latin typeface="+mn-lt"/>
                <a:ea typeface="+mn-ea"/>
                <a:cs typeface="Segoe"/>
              </a:defRPr>
            </a:lvl2pPr>
            <a:lvl3pPr marL="1257300" indent="-342900" algn="l" defTabSz="457200" rtl="0" eaLnBrk="1" latinLnBrk="0" hangingPunct="1">
              <a:spcBef>
                <a:spcPct val="20000"/>
              </a:spcBef>
              <a:buClr>
                <a:schemeClr val="tx2"/>
              </a:buClr>
              <a:buSzPct val="75000"/>
              <a:buFontTx/>
              <a:buBlip>
                <a:blip r:embed="rId3"/>
              </a:buBlip>
              <a:defRPr sz="1800" b="0" i="0" kern="1200">
                <a:gradFill>
                  <a:gsLst>
                    <a:gs pos="0">
                      <a:schemeClr val="tx1">
                        <a:lumMod val="75000"/>
                        <a:lumOff val="25000"/>
                      </a:schemeClr>
                    </a:gs>
                    <a:gs pos="100000">
                      <a:schemeClr val="tx1">
                        <a:lumMod val="75000"/>
                        <a:lumOff val="25000"/>
                      </a:schemeClr>
                    </a:gs>
                  </a:gsLst>
                  <a:lin ang="5400000" scaled="0"/>
                </a:gradFill>
                <a:latin typeface="+mn-lt"/>
                <a:ea typeface="+mn-ea"/>
                <a:cs typeface="Segoe"/>
              </a:defRPr>
            </a:lvl3pPr>
            <a:lvl4pPr marL="1714500" indent="-342900" algn="l" defTabSz="457200" rtl="0" eaLnBrk="1" latinLnBrk="0" hangingPunct="1">
              <a:spcBef>
                <a:spcPct val="20000"/>
              </a:spcBef>
              <a:buClr>
                <a:schemeClr val="tx2"/>
              </a:buClr>
              <a:buSzPct val="75000"/>
              <a:buFontTx/>
              <a:buBlip>
                <a:blip r:embed="rId3"/>
              </a:buBlip>
              <a:defRPr sz="1800" b="0" i="0" u="none" kern="1200">
                <a:gradFill>
                  <a:gsLst>
                    <a:gs pos="0">
                      <a:schemeClr val="tx1">
                        <a:lumMod val="75000"/>
                        <a:lumOff val="25000"/>
                      </a:schemeClr>
                    </a:gs>
                    <a:gs pos="100000">
                      <a:schemeClr val="tx1">
                        <a:lumMod val="75000"/>
                        <a:lumOff val="25000"/>
                      </a:schemeClr>
                    </a:gs>
                  </a:gsLst>
                  <a:lin ang="5400000" scaled="0"/>
                </a:gradFill>
                <a:latin typeface="+mn-lt"/>
                <a:ea typeface="+mn-ea"/>
                <a:cs typeface="Segoe"/>
              </a:defRPr>
            </a:lvl4pPr>
            <a:lvl5pPr marL="2057400" indent="-228600" algn="l" defTabSz="457200" rtl="0" eaLnBrk="1" latinLnBrk="0" hangingPunct="1">
              <a:spcBef>
                <a:spcPct val="20000"/>
              </a:spcBef>
              <a:buFont typeface="Arial"/>
              <a:buChar char="»"/>
              <a:defRPr sz="2000" b="0" i="0" u="none" kern="1200">
                <a:solidFill>
                  <a:schemeClr val="tx1">
                    <a:lumMod val="75000"/>
                    <a:lumOff val="25000"/>
                  </a:schemeClr>
                </a:solidFill>
                <a:latin typeface="Segoe"/>
                <a:ea typeface="+mn-ea"/>
                <a:cs typeface="Sego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fontAlgn="auto">
              <a:spcAft>
                <a:spcPts val="0"/>
              </a:spcAft>
              <a:buClr>
                <a:srgbClr val="1F497D"/>
              </a:buClr>
              <a:buFontTx/>
              <a:buNone/>
            </a:pPr>
            <a:r>
              <a:rPr lang="zh-TW" altLang="en-US" sz="17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最佳解決方案：</a:t>
            </a:r>
            <a:endParaRPr lang="en-US" altLang="zh-TW" sz="17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endParaRPr>
          </a:p>
          <a:p>
            <a:pPr marL="0" indent="0" algn="ctr" fontAlgn="auto">
              <a:spcAft>
                <a:spcPts val="0"/>
              </a:spcAft>
              <a:buClr>
                <a:srgbClr val="1F497D"/>
              </a:buClr>
              <a:buFontTx/>
              <a:buNone/>
            </a:pPr>
            <a:endParaRPr lang="en-US" sz="16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endParaRPr>
          </a:p>
          <a:p>
            <a:pPr marL="0" indent="0" algn="ctr" fontAlgn="auto">
              <a:spcAft>
                <a:spcPts val="0"/>
              </a:spcAft>
              <a:buClr>
                <a:srgbClr val="1F497D"/>
              </a:buClr>
              <a:buFontTx/>
              <a:buNone/>
            </a:pPr>
            <a:endParaRPr lang="en-US" sz="14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endParaRPr>
          </a:p>
          <a:p>
            <a:pPr marL="0" indent="0" algn="ctr" fontAlgn="auto">
              <a:spcAft>
                <a:spcPts val="0"/>
              </a:spcAft>
              <a:buClr>
                <a:srgbClr val="1F497D"/>
              </a:buClr>
              <a:buFontTx/>
              <a:buNone/>
            </a:pPr>
            <a:endParaRPr lang="en-US" sz="14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endParaRPr>
          </a:p>
          <a:p>
            <a:pPr marL="0" indent="0" algn="ctr" fontAlgn="auto">
              <a:spcAft>
                <a:spcPts val="0"/>
              </a:spcAft>
              <a:buClr>
                <a:srgbClr val="1F497D"/>
              </a:buClr>
              <a:buFontTx/>
              <a:buNone/>
            </a:pPr>
            <a:endParaRPr lang="en-US" sz="14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endParaRPr>
          </a:p>
          <a:p>
            <a:pPr marL="0" indent="0" algn="ctr" fontAlgn="auto">
              <a:spcAft>
                <a:spcPts val="0"/>
              </a:spcAft>
              <a:buClr>
                <a:srgbClr val="1F497D"/>
              </a:buClr>
              <a:buFontTx/>
              <a:buNone/>
            </a:pPr>
            <a:endParaRPr lang="en-US" sz="1400" dirty="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endParaRPr>
          </a:p>
          <a:p>
            <a:pPr marL="0" indent="0" algn="ctr" fontAlgn="auto">
              <a:spcAft>
                <a:spcPts val="0"/>
              </a:spcAft>
              <a:buClr>
                <a:srgbClr val="1F497D"/>
              </a:buClr>
              <a:buFontTx/>
              <a:buNone/>
            </a:pPr>
            <a:endParaRPr lang="en-US" sz="14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endParaRPr>
          </a:p>
          <a:p>
            <a:pPr algn="ctr" fontAlgn="auto">
              <a:spcAft>
                <a:spcPts val="0"/>
              </a:spcAft>
              <a:buClr>
                <a:srgbClr val="1F497D"/>
              </a:buClr>
            </a:pPr>
            <a:endParaRPr lang="en-US" sz="14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endParaRPr>
          </a:p>
          <a:p>
            <a:pPr algn="ctr" fontAlgn="auto">
              <a:spcAft>
                <a:spcPts val="0"/>
              </a:spcAft>
              <a:buClr>
                <a:srgbClr val="1F497D"/>
              </a:buClr>
            </a:pPr>
            <a:endParaRPr lang="en-US" sz="14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endParaRPr>
          </a:p>
          <a:p>
            <a:pPr marL="0" indent="0" algn="ctr" fontAlgn="auto">
              <a:spcAft>
                <a:spcPts val="0"/>
              </a:spcAft>
              <a:buClr>
                <a:srgbClr val="1F497D"/>
              </a:buClr>
              <a:buFontTx/>
              <a:buNone/>
            </a:pPr>
            <a:endParaRPr lang="en-US" sz="14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endParaRPr>
          </a:p>
          <a:p>
            <a:pPr marL="0" indent="0" algn="ctr" fontAlgn="auto">
              <a:spcAft>
                <a:spcPts val="0"/>
              </a:spcAft>
              <a:buClr>
                <a:srgbClr val="1F497D"/>
              </a:buClr>
              <a:buFontTx/>
              <a:buNone/>
            </a:pPr>
            <a:endParaRPr lang="en-US" altLang="zh-TW" sz="14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endParaRPr>
          </a:p>
          <a:p>
            <a:pPr marL="0" indent="0" algn="ctr" fontAlgn="auto">
              <a:spcAft>
                <a:spcPts val="0"/>
              </a:spcAft>
              <a:buClr>
                <a:srgbClr val="1F497D"/>
              </a:buClr>
              <a:buFontTx/>
              <a:buNone/>
            </a:pPr>
            <a:endParaRPr lang="en-US" altLang="zh-TW" sz="16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endParaRPr>
          </a:p>
          <a:p>
            <a:pPr marL="0" indent="0" algn="ctr" fontAlgn="auto">
              <a:spcAft>
                <a:spcPts val="0"/>
              </a:spcAft>
              <a:buClr>
                <a:srgbClr val="1F497D"/>
              </a:buClr>
              <a:buFontTx/>
              <a:buNone/>
            </a:pPr>
            <a:r>
              <a:rPr lang="zh-TW" altLang="en-US" sz="16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自</a:t>
            </a:r>
            <a:r>
              <a:rPr lang="en-US" altLang="zh-TW" sz="16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GGWA</a:t>
            </a:r>
            <a:r>
              <a:rPr lang="zh-TW" altLang="en-US" sz="16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取得的</a:t>
            </a:r>
            <a:r>
              <a:rPr lang="en-US" altLang="zh-TW" sz="16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Windows </a:t>
            </a:r>
            <a:r>
              <a:rPr lang="zh-TW" altLang="en-US" sz="16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rPr>
              <a:t>完整版</a:t>
            </a:r>
            <a:endParaRPr lang="en-US" altLang="zh-TW" sz="1600" dirty="0" smtClean="0">
              <a:gradFill>
                <a:gsLst>
                  <a:gs pos="0">
                    <a:prstClr val="black">
                      <a:lumMod val="75000"/>
                      <a:lumOff val="25000"/>
                    </a:prstClr>
                  </a:gs>
                  <a:gs pos="100000">
                    <a:prstClr val="black">
                      <a:lumMod val="75000"/>
                      <a:lumOff val="25000"/>
                    </a:prstClr>
                  </a:gs>
                </a:gsLst>
                <a:lin ang="5400000" scaled="0"/>
              </a:gradFill>
              <a:latin typeface="微軟正黑體" pitchFamily="34" charset="-120"/>
              <a:ea typeface="微軟正黑體" pitchFamily="34" charset="-120"/>
            </a:endParaRPr>
          </a:p>
        </p:txBody>
      </p:sp>
      <p:sp>
        <p:nvSpPr>
          <p:cNvPr id="10" name="Rectangle 9"/>
          <p:cNvSpPr/>
          <p:nvPr/>
        </p:nvSpPr>
        <p:spPr bwMode="auto">
          <a:xfrm>
            <a:off x="5410200" y="3276600"/>
            <a:ext cx="2743200" cy="1333500"/>
          </a:xfrm>
          <a:prstGeom prst="rect">
            <a:avLst/>
          </a:prstGeom>
          <a:solidFill>
            <a:srgbClr val="0B5E09"/>
          </a:solidFill>
          <a:ln>
            <a:noFill/>
            <a:headEnd type="none" w="med" len="med"/>
            <a:tailEnd type="none" w="med" len="med"/>
          </a:ln>
          <a:effectLst>
            <a:outerShdw blurRad="50800" dist="38100" dir="8100000" algn="tr" rotWithShape="0">
              <a:prstClr val="black">
                <a:alpha val="73000"/>
              </a:prstClr>
            </a:outerShdw>
          </a:effectLst>
          <a:scene3d>
            <a:camera prst="orthographicFront">
              <a:rot lat="0" lon="0" rev="0"/>
            </a:camera>
            <a:lightRig rig="threePt" dir="t">
              <a:rot lat="0" lon="0" rev="1200000"/>
            </a:lightRig>
          </a:scene3d>
          <a:sp3d/>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r>
              <a:rPr kumimoji="0" lang="en-US" altLang="zh-TW" sz="1600" b="0" i="0" u="none" strike="noStrike" kern="0" cap="none" spc="0" normalizeH="0" baseline="0" noProof="0" dirty="0" smtClean="0">
                <a:ln>
                  <a:noFill/>
                </a:ln>
                <a:gradFill>
                  <a:gsLst>
                    <a:gs pos="0">
                      <a:prstClr val="white"/>
                    </a:gs>
                    <a:gs pos="100000">
                      <a:prstClr val="white"/>
                    </a:gs>
                  </a:gsLst>
                  <a:lin ang="13500000" scaled="1"/>
                </a:gradFill>
                <a:effectLst/>
                <a:uLnTx/>
                <a:uFillTx/>
                <a:latin typeface="微軟正黑體" pitchFamily="34" charset="-120"/>
                <a:ea typeface="微軟正黑體" pitchFamily="34" charset="-120"/>
              </a:rPr>
              <a:t>GGWA</a:t>
            </a:r>
            <a:endParaRPr kumimoji="0" lang="en-US" sz="1600" b="0" i="0" u="none" strike="noStrike" kern="0" cap="none" spc="0" normalizeH="0" baseline="0" noProof="0" dirty="0" smtClean="0">
              <a:ln>
                <a:noFill/>
              </a:ln>
              <a:gradFill>
                <a:gsLst>
                  <a:gs pos="0">
                    <a:prstClr val="white"/>
                  </a:gs>
                  <a:gs pos="100000">
                    <a:prstClr val="white"/>
                  </a:gs>
                </a:gsLst>
                <a:lin ang="13500000" scaled="1"/>
              </a:gradFill>
              <a:effectLst/>
              <a:uLnTx/>
              <a:uFillTx/>
              <a:latin typeface="微軟正黑體" pitchFamily="34" charset="-120"/>
              <a:ea typeface="微軟正黑體" pitchFamily="34" charset="-120"/>
            </a:endParaRPr>
          </a:p>
        </p:txBody>
      </p:sp>
      <p:sp>
        <p:nvSpPr>
          <p:cNvPr id="11" name="TextBox 10"/>
          <p:cNvSpPr txBox="1"/>
          <p:nvPr/>
        </p:nvSpPr>
        <p:spPr>
          <a:xfrm>
            <a:off x="392723" y="953869"/>
            <a:ext cx="8077200" cy="707886"/>
          </a:xfrm>
          <a:prstGeom prst="rect">
            <a:avLst/>
          </a:prstGeom>
          <a:noFill/>
        </p:spPr>
        <p:txBody>
          <a:bodyPr wrap="square" rtlCol="0">
            <a:spAutoFit/>
          </a:bodyPr>
          <a:lstStyle/>
          <a:p>
            <a:pPr defTabSz="914363" fontAlgn="auto">
              <a:spcBef>
                <a:spcPts val="0"/>
              </a:spcBef>
              <a:spcAft>
                <a:spcPts val="0"/>
              </a:spcAft>
            </a:pPr>
            <a:r>
              <a:rPr lang="zh-TW" altLang="en-US" sz="2000" dirty="0" smtClean="0">
                <a:gradFill>
                  <a:gsLst>
                    <a:gs pos="0">
                      <a:prstClr val="black">
                        <a:lumMod val="75000"/>
                        <a:lumOff val="25000"/>
                      </a:prstClr>
                    </a:gs>
                    <a:gs pos="99000">
                      <a:prstClr val="black">
                        <a:lumMod val="75000"/>
                        <a:lumOff val="25000"/>
                      </a:prstClr>
                    </a:gs>
                  </a:gsLst>
                  <a:lin ang="5400000" scaled="0"/>
                </a:gradFill>
                <a:latin typeface="微軟正黑體" pitchFamily="34" charset="-120"/>
                <a:ea typeface="微軟正黑體" pitchFamily="34" charset="-120"/>
              </a:rPr>
              <a:t>情境：</a:t>
            </a:r>
            <a:r>
              <a:rPr lang="en-US" altLang="zh-TW" sz="2000" dirty="0" smtClean="0">
                <a:gradFill>
                  <a:gsLst>
                    <a:gs pos="0">
                      <a:prstClr val="black">
                        <a:lumMod val="75000"/>
                        <a:lumOff val="25000"/>
                      </a:prstClr>
                    </a:gs>
                    <a:gs pos="99000">
                      <a:prstClr val="black">
                        <a:lumMod val="75000"/>
                        <a:lumOff val="25000"/>
                      </a:prstClr>
                    </a:gs>
                  </a:gsLst>
                  <a:lin ang="5400000" scaled="0"/>
                </a:gradFill>
                <a:latin typeface="微軟正黑體" pitchFamily="34" charset="-120"/>
                <a:ea typeface="微軟正黑體" pitchFamily="34" charset="-120"/>
              </a:rPr>
              <a:t>A</a:t>
            </a:r>
            <a:r>
              <a:rPr lang="zh-TW" altLang="en-US" sz="2000" dirty="0" smtClean="0">
                <a:gradFill>
                  <a:gsLst>
                    <a:gs pos="0">
                      <a:prstClr val="black">
                        <a:lumMod val="75000"/>
                        <a:lumOff val="25000"/>
                      </a:prstClr>
                    </a:gs>
                    <a:gs pos="99000">
                      <a:prstClr val="black">
                        <a:lumMod val="75000"/>
                        <a:lumOff val="25000"/>
                      </a:prstClr>
                    </a:gs>
                  </a:gsLst>
                  <a:lin ang="5400000" scaled="0"/>
                </a:gradFill>
                <a:latin typeface="微軟正黑體" pitchFamily="34" charset="-120"/>
                <a:ea typeface="微軟正黑體" pitchFamily="34" charset="-120"/>
              </a:rPr>
              <a:t> </a:t>
            </a:r>
            <a:r>
              <a:rPr lang="zh-TW" altLang="en-US" sz="2000" dirty="0">
                <a:gradFill>
                  <a:gsLst>
                    <a:gs pos="0">
                      <a:prstClr val="black">
                        <a:lumMod val="75000"/>
                        <a:lumOff val="25000"/>
                      </a:prstClr>
                    </a:gs>
                    <a:gs pos="99000">
                      <a:prstClr val="black">
                        <a:lumMod val="75000"/>
                        <a:lumOff val="25000"/>
                      </a:prstClr>
                    </a:gs>
                  </a:gsLst>
                  <a:lin ang="5400000" scaled="0"/>
                </a:gradFill>
                <a:latin typeface="微軟正黑體" pitchFamily="34" charset="-120"/>
                <a:ea typeface="微軟正黑體" pitchFamily="34" charset="-120"/>
              </a:rPr>
              <a:t>客戶</a:t>
            </a:r>
            <a:r>
              <a:rPr lang="zh-TW" altLang="en-US" sz="2000" dirty="0" smtClean="0">
                <a:gradFill>
                  <a:gsLst>
                    <a:gs pos="0">
                      <a:prstClr val="black">
                        <a:lumMod val="75000"/>
                        <a:lumOff val="25000"/>
                      </a:prstClr>
                    </a:gs>
                    <a:gs pos="99000">
                      <a:prstClr val="black">
                        <a:lumMod val="75000"/>
                        <a:lumOff val="25000"/>
                      </a:prstClr>
                    </a:gs>
                  </a:gsLst>
                  <a:lin ang="5400000" scaled="0"/>
                </a:gradFill>
                <a:latin typeface="微軟正黑體" pitchFamily="34" charset="-120"/>
                <a:ea typeface="微軟正黑體" pitchFamily="34" charset="-120"/>
              </a:rPr>
              <a:t>採購電腦時，沒有預先安裝</a:t>
            </a:r>
            <a:r>
              <a:rPr lang="en-US" altLang="zh-TW" sz="2000" dirty="0" smtClean="0">
                <a:gradFill>
                  <a:gsLst>
                    <a:gs pos="0">
                      <a:prstClr val="black">
                        <a:lumMod val="75000"/>
                        <a:lumOff val="25000"/>
                      </a:prstClr>
                    </a:gs>
                    <a:gs pos="99000">
                      <a:prstClr val="black">
                        <a:lumMod val="75000"/>
                        <a:lumOff val="25000"/>
                      </a:prstClr>
                    </a:gs>
                  </a:gsLst>
                  <a:lin ang="5400000" scaled="0"/>
                </a:gradFill>
                <a:latin typeface="微軟正黑體" pitchFamily="34" charset="-120"/>
                <a:ea typeface="微軟正黑體" pitchFamily="34" charset="-120"/>
              </a:rPr>
              <a:t>Windows</a:t>
            </a:r>
            <a:r>
              <a:rPr lang="zh-TW" altLang="en-US" sz="2000" dirty="0" smtClean="0">
                <a:gradFill>
                  <a:gsLst>
                    <a:gs pos="0">
                      <a:prstClr val="black">
                        <a:lumMod val="75000"/>
                        <a:lumOff val="25000"/>
                      </a:prstClr>
                    </a:gs>
                    <a:gs pos="99000">
                      <a:prstClr val="black">
                        <a:lumMod val="75000"/>
                        <a:lumOff val="25000"/>
                      </a:prstClr>
                    </a:gs>
                  </a:gsLst>
                  <a:lin ang="5400000" scaled="0"/>
                </a:gradFill>
                <a:latin typeface="微軟正黑體" pitchFamily="34" charset="-120"/>
                <a:ea typeface="微軟正黑體" pitchFamily="34" charset="-120"/>
              </a:rPr>
              <a:t>作業系統，然後使用大量授權的</a:t>
            </a:r>
            <a:r>
              <a:rPr lang="en-US" altLang="zh-TW" sz="2000" dirty="0" smtClean="0">
                <a:gradFill>
                  <a:gsLst>
                    <a:gs pos="0">
                      <a:prstClr val="black">
                        <a:lumMod val="75000"/>
                        <a:lumOff val="25000"/>
                      </a:prstClr>
                    </a:gs>
                    <a:gs pos="99000">
                      <a:prstClr val="black">
                        <a:lumMod val="75000"/>
                        <a:lumOff val="25000"/>
                      </a:prstClr>
                    </a:gs>
                  </a:gsLst>
                  <a:lin ang="5400000" scaled="0"/>
                </a:gradFill>
                <a:latin typeface="微軟正黑體" pitchFamily="34" charset="-120"/>
                <a:ea typeface="微軟正黑體" pitchFamily="34" charset="-120"/>
              </a:rPr>
              <a:t>Windows</a:t>
            </a:r>
            <a:r>
              <a:rPr lang="zh-TW" altLang="en-US" sz="2000" dirty="0" smtClean="0">
                <a:gradFill>
                  <a:gsLst>
                    <a:gs pos="0">
                      <a:prstClr val="black">
                        <a:lumMod val="75000"/>
                        <a:lumOff val="25000"/>
                      </a:prstClr>
                    </a:gs>
                    <a:gs pos="99000">
                      <a:prstClr val="black">
                        <a:lumMod val="75000"/>
                        <a:lumOff val="25000"/>
                      </a:prstClr>
                    </a:gs>
                  </a:gsLst>
                  <a:lin ang="5400000" scaled="0"/>
                </a:gradFill>
                <a:latin typeface="微軟正黑體" pitchFamily="34" charset="-120"/>
                <a:ea typeface="微軟正黑體" pitchFamily="34" charset="-120"/>
              </a:rPr>
              <a:t>升級版去安裝電腦裡的作業系統。</a:t>
            </a:r>
            <a:endParaRPr lang="en-US" sz="2000" dirty="0" err="1" smtClean="0">
              <a:gradFill>
                <a:gsLst>
                  <a:gs pos="0">
                    <a:prstClr val="black">
                      <a:lumMod val="75000"/>
                      <a:lumOff val="25000"/>
                    </a:prstClr>
                  </a:gs>
                  <a:gs pos="99000">
                    <a:prstClr val="black">
                      <a:lumMod val="75000"/>
                      <a:lumOff val="25000"/>
                    </a:prstClr>
                  </a:gs>
                </a:gsLst>
                <a:lin ang="5400000" scaled="0"/>
              </a:gradFill>
              <a:latin typeface="微軟正黑體" pitchFamily="34" charset="-120"/>
              <a:ea typeface="微軟正黑體" pitchFamily="34" charset="-120"/>
            </a:endParaRPr>
          </a:p>
        </p:txBody>
      </p:sp>
      <p:sp>
        <p:nvSpPr>
          <p:cNvPr id="12" name="Rectangle 11"/>
          <p:cNvSpPr/>
          <p:nvPr/>
        </p:nvSpPr>
        <p:spPr bwMode="auto">
          <a:xfrm>
            <a:off x="1066800" y="4114800"/>
            <a:ext cx="2743200" cy="495300"/>
          </a:xfrm>
          <a:prstGeom prst="rect">
            <a:avLst/>
          </a:prstGeom>
          <a:solidFill>
            <a:srgbClr val="0B5E09"/>
          </a:solidFill>
          <a:ln>
            <a:noFill/>
            <a:headEnd type="none" w="med" len="med"/>
            <a:tailEnd type="none" w="med" len="med"/>
          </a:ln>
          <a:effectLst>
            <a:outerShdw blurRad="50800" dist="38100" dir="8100000" algn="tr" rotWithShape="0">
              <a:prstClr val="black">
                <a:alpha val="73000"/>
              </a:prstClr>
            </a:outerShdw>
          </a:effectLst>
          <a:scene3d>
            <a:camera prst="orthographicFront">
              <a:rot lat="0" lon="0" rev="0"/>
            </a:camera>
            <a:lightRig rig="threePt" dir="t">
              <a:rot lat="0" lon="0" rev="1200000"/>
            </a:lightRig>
          </a:scene3d>
          <a:sp3d/>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r>
              <a:rPr kumimoji="0" lang="zh-TW" altLang="en-US" sz="1400" b="0" i="0" u="none" strike="noStrike" kern="0" cap="none" spc="0" normalizeH="0" baseline="0" noProof="0" dirty="0" smtClean="0">
                <a:ln>
                  <a:noFill/>
                </a:ln>
                <a:gradFill>
                  <a:gsLst>
                    <a:gs pos="0">
                      <a:prstClr val="white"/>
                    </a:gs>
                    <a:gs pos="100000">
                      <a:prstClr val="white"/>
                    </a:gs>
                  </a:gsLst>
                  <a:lin ang="13500000" scaled="1"/>
                </a:gradFill>
                <a:effectLst/>
                <a:uLnTx/>
                <a:uFillTx/>
                <a:latin typeface="微軟正黑體" pitchFamily="34" charset="-120"/>
                <a:ea typeface="微軟正黑體" pitchFamily="34" charset="-120"/>
              </a:rPr>
              <a:t>完整</a:t>
            </a:r>
            <a:r>
              <a:rPr kumimoji="0" lang="en-US" altLang="zh-TW" sz="1400" b="0" i="0" u="none" strike="noStrike" kern="0" cap="none" spc="0" normalizeH="0" baseline="0" noProof="0" dirty="0" smtClean="0">
                <a:ln>
                  <a:noFill/>
                </a:ln>
                <a:gradFill>
                  <a:gsLst>
                    <a:gs pos="0">
                      <a:prstClr val="white"/>
                    </a:gs>
                    <a:gs pos="100000">
                      <a:prstClr val="white"/>
                    </a:gs>
                  </a:gsLst>
                  <a:lin ang="13500000" scaled="1"/>
                </a:gradFill>
                <a:effectLst/>
                <a:uLnTx/>
                <a:uFillTx/>
                <a:latin typeface="微軟正黑體" pitchFamily="34" charset="-120"/>
                <a:ea typeface="微軟正黑體" pitchFamily="34" charset="-120"/>
              </a:rPr>
              <a:t>Windows</a:t>
            </a:r>
            <a:r>
              <a:rPr kumimoji="0" lang="zh-TW" altLang="en-US" sz="1400" b="0" i="0" u="none" strike="noStrike" kern="0" cap="none" spc="0" normalizeH="0" baseline="0" noProof="0" dirty="0" smtClean="0">
                <a:ln>
                  <a:noFill/>
                </a:ln>
                <a:gradFill>
                  <a:gsLst>
                    <a:gs pos="0">
                      <a:prstClr val="white"/>
                    </a:gs>
                    <a:gs pos="100000">
                      <a:prstClr val="white"/>
                    </a:gs>
                  </a:gsLst>
                  <a:lin ang="13500000" scaled="1"/>
                </a:gradFill>
                <a:effectLst/>
                <a:uLnTx/>
                <a:uFillTx/>
                <a:latin typeface="微軟正黑體" pitchFamily="34" charset="-120"/>
                <a:ea typeface="微軟正黑體" pitchFamily="34" charset="-120"/>
              </a:rPr>
              <a:t>授權</a:t>
            </a:r>
            <a:endParaRPr kumimoji="0" lang="en-US" sz="1400" b="0" i="0" u="none" strike="noStrike" kern="0" cap="none" spc="0" normalizeH="0" baseline="0" noProof="0" dirty="0" smtClean="0">
              <a:ln>
                <a:noFill/>
              </a:ln>
              <a:gradFill>
                <a:gsLst>
                  <a:gs pos="0">
                    <a:prstClr val="white"/>
                  </a:gs>
                  <a:gs pos="100000">
                    <a:prstClr val="white"/>
                  </a:gs>
                </a:gsLst>
                <a:lin ang="13500000" scaled="1"/>
              </a:gradFill>
              <a:effectLst/>
              <a:uLnTx/>
              <a:uFillTx/>
              <a:latin typeface="微軟正黑體" pitchFamily="34" charset="-120"/>
              <a:ea typeface="微軟正黑體" pitchFamily="34" charset="-120"/>
            </a:endParaRPr>
          </a:p>
        </p:txBody>
      </p:sp>
      <p:cxnSp>
        <p:nvCxnSpPr>
          <p:cNvPr id="13" name="Straight Connector 12"/>
          <p:cNvCxnSpPr/>
          <p:nvPr/>
        </p:nvCxnSpPr>
        <p:spPr>
          <a:xfrm>
            <a:off x="1066800" y="4152900"/>
            <a:ext cx="2743200" cy="457200"/>
          </a:xfrm>
          <a:prstGeom prst="line">
            <a:avLst/>
          </a:prstGeom>
          <a:noFill/>
          <a:ln w="25400" cap="flat" cmpd="sng" algn="ctr">
            <a:solidFill>
              <a:srgbClr val="FFFF00"/>
            </a:solidFill>
            <a:prstDash val="solid"/>
          </a:ln>
          <a:effectLst>
            <a:outerShdw blurRad="40000" dist="20000" dir="5400000" rotWithShape="0">
              <a:srgbClr val="000000">
                <a:alpha val="38000"/>
              </a:srgbClr>
            </a:outerShdw>
          </a:effectLst>
        </p:spPr>
      </p:cxnSp>
      <p:cxnSp>
        <p:nvCxnSpPr>
          <p:cNvPr id="14" name="Straight Connector 13"/>
          <p:cNvCxnSpPr/>
          <p:nvPr/>
        </p:nvCxnSpPr>
        <p:spPr>
          <a:xfrm flipH="1">
            <a:off x="1049079" y="4108598"/>
            <a:ext cx="2743200" cy="495300"/>
          </a:xfrm>
          <a:prstGeom prst="line">
            <a:avLst/>
          </a:prstGeom>
          <a:noFill/>
          <a:ln w="25400" cap="flat" cmpd="sng" algn="ctr">
            <a:solidFill>
              <a:srgbClr val="FFFF00"/>
            </a:solidFill>
            <a:prstDash val="solid"/>
          </a:ln>
          <a:effectLst>
            <a:outerShdw blurRad="40000" dist="20000" dir="5400000" rotWithShape="0">
              <a:srgbClr val="000000">
                <a:alpha val="38000"/>
              </a:srgbClr>
            </a:outerShdw>
          </a:effectLst>
        </p:spPr>
      </p:cxnSp>
      <p:sp>
        <p:nvSpPr>
          <p:cNvPr id="15" name="Rectangle 14"/>
          <p:cNvSpPr/>
          <p:nvPr/>
        </p:nvSpPr>
        <p:spPr bwMode="auto">
          <a:xfrm>
            <a:off x="1066800" y="3276600"/>
            <a:ext cx="2743200" cy="551564"/>
          </a:xfrm>
          <a:prstGeom prst="rect">
            <a:avLst/>
          </a:prstGeom>
          <a:solidFill>
            <a:srgbClr val="0B5E09"/>
          </a:solidFill>
          <a:ln>
            <a:noFill/>
            <a:headEnd type="none" w="med" len="med"/>
            <a:tailEnd type="none" w="med" len="med"/>
          </a:ln>
          <a:effectLst>
            <a:outerShdw blurRad="50800" dist="38100" dir="8100000" algn="tr" rotWithShape="0">
              <a:prstClr val="black">
                <a:alpha val="73000"/>
              </a:prstClr>
            </a:outerShdw>
          </a:effectLst>
          <a:scene3d>
            <a:camera prst="orthographicFront">
              <a:rot lat="0" lon="0" rev="0"/>
            </a:camera>
            <a:lightRig rig="threePt" dir="t">
              <a:rot lat="0" lon="0" rev="1200000"/>
            </a:lightRig>
          </a:scene3d>
          <a:sp3d/>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r>
              <a:rPr kumimoji="0" lang="zh-TW" altLang="en-US" sz="1400" b="0" i="0" u="none" strike="noStrike" kern="0" cap="none" spc="0" normalizeH="0" baseline="0" noProof="0" dirty="0" smtClean="0">
                <a:ln>
                  <a:noFill/>
                </a:ln>
                <a:gradFill>
                  <a:gsLst>
                    <a:gs pos="0">
                      <a:prstClr val="white"/>
                    </a:gs>
                    <a:gs pos="100000">
                      <a:prstClr val="white"/>
                    </a:gs>
                  </a:gsLst>
                  <a:lin ang="13500000" scaled="1"/>
                </a:gradFill>
                <a:effectLst/>
                <a:uLnTx/>
                <a:uFillTx/>
                <a:latin typeface="微軟正黑體" pitchFamily="34" charset="-120"/>
                <a:ea typeface="微軟正黑體" pitchFamily="34" charset="-120"/>
              </a:rPr>
              <a:t>大量授權方案所提供的</a:t>
            </a:r>
            <a:endParaRPr kumimoji="0" lang="en-US" altLang="zh-TW" sz="1400" b="0" i="0" u="none" strike="noStrike" kern="0" cap="none" spc="0" normalizeH="0" baseline="0" noProof="0" dirty="0" smtClean="0">
              <a:ln>
                <a:noFill/>
              </a:ln>
              <a:gradFill>
                <a:gsLst>
                  <a:gs pos="0">
                    <a:prstClr val="white"/>
                  </a:gs>
                  <a:gs pos="100000">
                    <a:prstClr val="white"/>
                  </a:gs>
                </a:gsLst>
                <a:lin ang="13500000" scaled="1"/>
              </a:gradFill>
              <a:effectLst/>
              <a:uLnTx/>
              <a:uFillTx/>
              <a:latin typeface="微軟正黑體" pitchFamily="34" charset="-120"/>
              <a:ea typeface="微軟正黑體" pitchFamily="34" charset="-120"/>
            </a:endParaRPr>
          </a:p>
          <a:p>
            <a:pPr marL="0" marR="0" lvl="0" indent="0" algn="ctr" defTabSz="914099" eaLnBrk="1" fontAlgn="auto" latinLnBrk="0" hangingPunct="1">
              <a:lnSpc>
                <a:spcPct val="100000"/>
              </a:lnSpc>
              <a:spcBef>
                <a:spcPts val="0"/>
              </a:spcBef>
              <a:spcAft>
                <a:spcPts val="0"/>
              </a:spcAft>
              <a:buClrTx/>
              <a:buSzTx/>
              <a:buFontTx/>
              <a:buNone/>
              <a:tabLst/>
              <a:defRPr/>
            </a:pPr>
            <a:r>
              <a:rPr kumimoji="0" lang="en-US" altLang="zh-TW" sz="1400" b="0" i="0" u="none" strike="noStrike" kern="0" cap="none" spc="0" normalizeH="0" baseline="0" noProof="0" dirty="0" smtClean="0">
                <a:ln>
                  <a:noFill/>
                </a:ln>
                <a:gradFill>
                  <a:gsLst>
                    <a:gs pos="0">
                      <a:prstClr val="white"/>
                    </a:gs>
                    <a:gs pos="100000">
                      <a:prstClr val="white"/>
                    </a:gs>
                  </a:gsLst>
                  <a:lin ang="13500000" scaled="1"/>
                </a:gradFill>
                <a:effectLst/>
                <a:uLnTx/>
                <a:uFillTx/>
                <a:latin typeface="微軟正黑體" pitchFamily="34" charset="-120"/>
                <a:ea typeface="微軟正黑體" pitchFamily="34" charset="-120"/>
              </a:rPr>
              <a:t>Windows</a:t>
            </a:r>
            <a:r>
              <a:rPr kumimoji="0" lang="zh-TW" altLang="en-US" sz="1400" b="0" i="0" u="none" strike="noStrike" kern="0" cap="none" spc="0" normalizeH="0" baseline="0" noProof="0" dirty="0" smtClean="0">
                <a:ln>
                  <a:noFill/>
                </a:ln>
                <a:gradFill>
                  <a:gsLst>
                    <a:gs pos="0">
                      <a:prstClr val="white"/>
                    </a:gs>
                    <a:gs pos="100000">
                      <a:prstClr val="white"/>
                    </a:gs>
                  </a:gsLst>
                  <a:lin ang="13500000" scaled="1"/>
                </a:gradFill>
                <a:effectLst/>
                <a:uLnTx/>
                <a:uFillTx/>
                <a:latin typeface="微軟正黑體" pitchFamily="34" charset="-120"/>
                <a:ea typeface="微軟正黑體" pitchFamily="34" charset="-120"/>
              </a:rPr>
              <a:t>升級版</a:t>
            </a:r>
            <a:endParaRPr kumimoji="0" lang="en-US" sz="1400" b="0" i="0" u="none" strike="noStrike" kern="0" cap="none" spc="0" normalizeH="0" baseline="0" noProof="0" dirty="0" smtClean="0">
              <a:ln>
                <a:noFill/>
              </a:ln>
              <a:gradFill>
                <a:gsLst>
                  <a:gs pos="0">
                    <a:prstClr val="white"/>
                  </a:gs>
                  <a:gs pos="100000">
                    <a:prstClr val="white"/>
                  </a:gs>
                </a:gsLst>
                <a:lin ang="13500000" scaled="1"/>
              </a:gradFill>
              <a:effectLst/>
              <a:uLnTx/>
              <a:uFillTx/>
              <a:latin typeface="微軟正黑體" pitchFamily="34" charset="-120"/>
              <a:ea typeface="微軟正黑體" pitchFamily="34" charset="-120"/>
            </a:endParaRPr>
          </a:p>
        </p:txBody>
      </p:sp>
      <p:sp>
        <p:nvSpPr>
          <p:cNvPr id="16" name="Up Arrow 15"/>
          <p:cNvSpPr/>
          <p:nvPr/>
        </p:nvSpPr>
        <p:spPr bwMode="auto">
          <a:xfrm>
            <a:off x="6629400" y="4724400"/>
            <a:ext cx="304800" cy="609600"/>
          </a:xfrm>
          <a:prstGeom prst="upArrow">
            <a:avLst/>
          </a:prstGeom>
          <a:solidFill>
            <a:srgbClr val="0B5E09"/>
          </a:solidFill>
          <a:ln>
            <a:noFill/>
            <a:headEnd type="none" w="med" len="med"/>
            <a:tailEnd type="none" w="med" len="med"/>
          </a:ln>
          <a:effectLst>
            <a:outerShdw blurRad="50800" dist="38100" dir="8100000" algn="tr" rotWithShape="0">
              <a:prstClr val="black">
                <a:alpha val="73000"/>
              </a:prstClr>
            </a:outerShdw>
          </a:effectLst>
          <a:scene3d>
            <a:camera prst="orthographicFront">
              <a:rot lat="0" lon="0" rev="0"/>
            </a:camera>
            <a:lightRig rig="threePt" dir="t">
              <a:rot lat="0" lon="0" rev="1200000"/>
            </a:lightRig>
          </a:scene3d>
          <a:sp3d/>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gradFill>
                <a:gsLst>
                  <a:gs pos="0">
                    <a:prstClr val="white"/>
                  </a:gs>
                  <a:gs pos="100000">
                    <a:prstClr val="white"/>
                  </a:gs>
                </a:gsLst>
                <a:lin ang="13500000" scaled="1"/>
              </a:gradFill>
              <a:effectLst>
                <a:outerShdw blurRad="38100" dist="38100" dir="2700000" algn="tl">
                  <a:srgbClr val="000000">
                    <a:alpha val="43137"/>
                  </a:srgbClr>
                </a:outerShdw>
              </a:effectLst>
              <a:uLnTx/>
              <a:uFillTx/>
              <a:latin typeface="Segoe" pitchFamily="34" charset="0"/>
            </a:endParaRPr>
          </a:p>
        </p:txBody>
      </p:sp>
      <p:sp>
        <p:nvSpPr>
          <p:cNvPr id="3" name="投影片編號版面配置區 2"/>
          <p:cNvSpPr>
            <a:spLocks noGrp="1"/>
          </p:cNvSpPr>
          <p:nvPr>
            <p:ph type="sldNum" sz="quarter" idx="12"/>
          </p:nvPr>
        </p:nvSpPr>
        <p:spPr/>
        <p:txBody>
          <a:bodyPr/>
          <a:lstStyle/>
          <a:p>
            <a:pPr>
              <a:defRPr/>
            </a:pPr>
            <a:fld id="{1D9970BA-2F58-4996-9806-696110DA0FEA}" type="slidenum">
              <a:rPr lang="en-US" smtClean="0"/>
              <a:pPr>
                <a:defRPr/>
              </a:pPr>
              <a:t>18</a:t>
            </a:fld>
            <a:endParaRPr lang="zh-CN" altLang="en-US"/>
          </a:p>
        </p:txBody>
      </p:sp>
    </p:spTree>
    <p:extLst>
      <p:ext uri="{BB962C8B-B14F-4D97-AF65-F5344CB8AC3E}">
        <p14:creationId xmlns:p14="http://schemas.microsoft.com/office/powerpoint/2010/main" val="4115676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內容版面配置區 2"/>
          <p:cNvSpPr>
            <a:spLocks noGrp="1"/>
          </p:cNvSpPr>
          <p:nvPr>
            <p:ph idx="1"/>
          </p:nvPr>
        </p:nvSpPr>
        <p:spPr>
          <a:xfrm>
            <a:off x="457200" y="2428875"/>
            <a:ext cx="8229600" cy="3895725"/>
          </a:xfrm>
        </p:spPr>
        <p:txBody>
          <a:bodyPr/>
          <a:lstStyle/>
          <a:p>
            <a:pPr algn="ctr">
              <a:buNone/>
            </a:pPr>
            <a:r>
              <a:rPr lang="zh-TW" altLang="en-US" sz="3600" smtClean="0">
                <a:latin typeface="微軟正黑體" panose="020B0604030504040204" pitchFamily="34" charset="-120"/>
                <a:ea typeface="微軟正黑體" panose="020B0604030504040204" pitchFamily="34" charset="-120"/>
              </a:rPr>
              <a:t>常見問題一</a:t>
            </a:r>
            <a:r>
              <a:rPr lang="en-US" altLang="zh-TW" sz="3600" smtClean="0">
                <a:latin typeface="微軟正黑體" panose="020B0604030504040204" pitchFamily="34" charset="-120"/>
                <a:ea typeface="微軟正黑體" panose="020B0604030504040204" pitchFamily="34" charset="-120"/>
              </a:rPr>
              <a:t>:</a:t>
            </a:r>
          </a:p>
          <a:p>
            <a:pPr algn="ctr">
              <a:buNone/>
            </a:pPr>
            <a:r>
              <a:rPr lang="en-US" altLang="zh-TW" sz="3600" smtClean="0">
                <a:latin typeface="微軟正黑體" panose="020B0604030504040204" pitchFamily="34" charset="-120"/>
                <a:ea typeface="微軟正黑體" panose="020B0604030504040204" pitchFamily="34" charset="-120"/>
              </a:rPr>
              <a:t>Windows </a:t>
            </a:r>
          </a:p>
          <a:p>
            <a:pPr algn="ctr">
              <a:buNone/>
            </a:pPr>
            <a:r>
              <a:rPr lang="zh-TW" altLang="en-US" sz="3600" smtClean="0">
                <a:latin typeface="微軟正黑體" panose="020B0604030504040204" pitchFamily="34" charset="-120"/>
                <a:ea typeface="微軟正黑體" panose="020B0604030504040204" pitchFamily="34" charset="-120"/>
              </a:rPr>
              <a:t>大量授權與隨機版有何不同</a:t>
            </a:r>
            <a:r>
              <a:rPr lang="en-US" altLang="zh-TW" sz="3600" smtClean="0">
                <a:latin typeface="微軟正黑體" panose="020B0604030504040204" pitchFamily="34" charset="-120"/>
                <a:ea typeface="微軟正黑體" panose="020B0604030504040204" pitchFamily="34" charset="-120"/>
              </a:rPr>
              <a:t>?</a:t>
            </a:r>
            <a:endParaRPr lang="zh-TW" altLang="en-US" sz="3600" smtClean="0">
              <a:latin typeface="微軟正黑體" panose="020B0604030504040204" pitchFamily="34" charset="-120"/>
              <a:ea typeface="微軟正黑體" panose="020B0604030504040204" pitchFamily="34" charset="-120"/>
            </a:endParaRPr>
          </a:p>
          <a:p>
            <a:pPr marL="0" indent="0" eaLnBrk="1" hangingPunct="1">
              <a:buNone/>
            </a:pPr>
            <a:endParaRPr lang="en-US" altLang="zh-TW" sz="3600" dirty="0" smtClean="0">
              <a:latin typeface="微軟正黑體" panose="020B0604030504040204" pitchFamily="34" charset="-120"/>
              <a:ea typeface="微軟正黑體" panose="020B0604030504040204" pitchFamily="34" charset="-120"/>
            </a:endParaRPr>
          </a:p>
        </p:txBody>
      </p:sp>
      <p:sp>
        <p:nvSpPr>
          <p:cNvPr id="2" name="標題 1"/>
          <p:cNvSpPr>
            <a:spLocks noGrp="1"/>
          </p:cNvSpPr>
          <p:nvPr>
            <p:ph type="title"/>
          </p:nvPr>
        </p:nvSpPr>
        <p:spPr>
          <a:xfrm>
            <a:off x="427220" y="724343"/>
            <a:ext cx="8229600" cy="1143000"/>
          </a:xfrm>
        </p:spPr>
        <p:txBody>
          <a:bodyPr>
            <a:normAutofit/>
          </a:bodyPr>
          <a:lstStyle/>
          <a:p>
            <a:pPr eaLnBrk="1" fontAlgn="auto" hangingPunct="1">
              <a:spcAft>
                <a:spcPts val="0"/>
              </a:spcAft>
              <a:defRPr/>
            </a:pPr>
            <a:r>
              <a:rPr lang="zh-TW" altLang="en-US" smtClean="0">
                <a:latin typeface="微軟正黑體" panose="020B0604030504040204" pitchFamily="34" charset="-120"/>
                <a:ea typeface="微軟正黑體" panose="020B0604030504040204" pitchFamily="34" charset="-120"/>
              </a:rPr>
              <a:t>常見微軟授權疑問一</a:t>
            </a:r>
            <a:r>
              <a:rPr lang="en-US" altLang="zh-TW" smtClean="0">
                <a:latin typeface="微軟正黑體" panose="020B0604030504040204" pitchFamily="34" charset="-120"/>
                <a:ea typeface="微軟正黑體" panose="020B0604030504040204" pitchFamily="34" charset="-120"/>
              </a:rPr>
              <a:t>:</a:t>
            </a:r>
            <a:r>
              <a:rPr lang="zh-TW" altLang="en-US" smtClean="0">
                <a:latin typeface="微軟正黑體" panose="020B0604030504040204" pitchFamily="34" charset="-120"/>
                <a:ea typeface="微軟正黑體" panose="020B0604030504040204" pitchFamily="34" charset="-120"/>
              </a:rPr>
              <a:t> </a:t>
            </a:r>
            <a:endParaRPr lang="zh-TW" altLang="en-US" dirty="0">
              <a:latin typeface="微軟正黑體" panose="020B0604030504040204" pitchFamily="34" charset="-120"/>
              <a:ea typeface="微軟正黑體" panose="020B0604030504040204" pitchFamily="34" charset="-120"/>
            </a:endParaRPr>
          </a:p>
        </p:txBody>
      </p:sp>
      <p:sp>
        <p:nvSpPr>
          <p:cNvPr id="3" name="投影片編號版面配置區 2"/>
          <p:cNvSpPr>
            <a:spLocks noGrp="1"/>
          </p:cNvSpPr>
          <p:nvPr>
            <p:ph type="sldNum" sz="quarter" idx="12"/>
          </p:nvPr>
        </p:nvSpPr>
        <p:spPr/>
        <p:txBody>
          <a:bodyPr/>
          <a:lstStyle/>
          <a:p>
            <a:pPr>
              <a:defRPr/>
            </a:pPr>
            <a:fld id="{1D9970BA-2F58-4996-9806-696110DA0FEA}" type="slidenum">
              <a:rPr lang="en-US" smtClean="0"/>
              <a:pPr>
                <a:defRPr/>
              </a:pPr>
              <a:t>19</a:t>
            </a:fld>
            <a:endParaRPr lang="zh-CN" altLang="en-US"/>
          </a:p>
        </p:txBody>
      </p:sp>
    </p:spTree>
    <p:extLst>
      <p:ext uri="{BB962C8B-B14F-4D97-AF65-F5344CB8AC3E}">
        <p14:creationId xmlns:p14="http://schemas.microsoft.com/office/powerpoint/2010/main" val="193911827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nvPr>
        </p:nvSpPr>
        <p:spPr>
          <a:xfrm>
            <a:off x="842432" y="949085"/>
            <a:ext cx="7772400" cy="1524000"/>
          </a:xfrm>
        </p:spPr>
        <p:txBody>
          <a:bodyPr>
            <a:normAutofit fontScale="90000"/>
          </a:bodyPr>
          <a:lstStyle/>
          <a:p>
            <a:pPr algn="just" eaLnBrk="1" fontAlgn="auto" hangingPunct="1">
              <a:spcAft>
                <a:spcPts val="0"/>
              </a:spcAft>
              <a:defRPr/>
            </a:pPr>
            <a:r>
              <a:rPr lang="zh-TW" altLang="en-US" sz="3600" dirty="0" smtClean="0">
                <a:latin typeface="標楷體" pitchFamily="65" charset="-120"/>
                <a:ea typeface="標楷體" pitchFamily="65" charset="-120"/>
              </a:rPr>
              <a:t>政府採購常見被誤導或混淆的軟體授權概念，以</a:t>
            </a:r>
            <a:r>
              <a:rPr lang="en-US" altLang="zh-TW" sz="3600" dirty="0" smtClean="0">
                <a:latin typeface="標楷體" pitchFamily="65" charset="-120"/>
                <a:ea typeface="標楷體" pitchFamily="65" charset="-120"/>
              </a:rPr>
              <a:t>Adobe, Autodesk and Microsoft </a:t>
            </a:r>
            <a:r>
              <a:rPr lang="zh-TW" altLang="en-US" sz="3600" dirty="0" smtClean="0">
                <a:latin typeface="標楷體" pitchFamily="65" charset="-120"/>
                <a:ea typeface="標楷體" pitchFamily="65" charset="-120"/>
              </a:rPr>
              <a:t>產品為例</a:t>
            </a:r>
            <a:endParaRPr lang="en-US" altLang="zh-TW" sz="3600" dirty="0" smtClean="0">
              <a:latin typeface="標楷體" pitchFamily="65" charset="-120"/>
              <a:ea typeface="標楷體" pitchFamily="65" charset="-120"/>
            </a:endParaRPr>
          </a:p>
        </p:txBody>
      </p:sp>
      <p:sp>
        <p:nvSpPr>
          <p:cNvPr id="2" name="投影片編號版面配置區 1"/>
          <p:cNvSpPr>
            <a:spLocks noGrp="1"/>
          </p:cNvSpPr>
          <p:nvPr>
            <p:ph type="sldNum" sz="quarter" idx="12"/>
          </p:nvPr>
        </p:nvSpPr>
        <p:spPr/>
        <p:txBody>
          <a:bodyPr/>
          <a:lstStyle/>
          <a:p>
            <a:pPr>
              <a:defRPr/>
            </a:pPr>
            <a:fld id="{24C6579D-D8A0-414D-A023-3E30D95D7F6B}" type="slidenum">
              <a:rPr lang="en-US" smtClean="0"/>
              <a:pPr>
                <a:defRPr/>
              </a:pPr>
              <a:t>2</a:t>
            </a:fld>
            <a:endParaRPr lang="zh-CN" altLang="en-US"/>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547391" y="30480"/>
            <a:ext cx="8229600" cy="1143000"/>
          </a:xfrm>
        </p:spPr>
        <p:txBody>
          <a:bodyPr/>
          <a:lstStyle/>
          <a:p>
            <a:pPr eaLnBrk="1" fontAlgn="auto" hangingPunct="1">
              <a:spcAft>
                <a:spcPts val="0"/>
              </a:spcAft>
              <a:defRPr/>
            </a:pPr>
            <a:r>
              <a:rPr lang="en-US" altLang="zh-TW" smtClean="0">
                <a:latin typeface="微軟正黑體" panose="020B0604030504040204" pitchFamily="34" charset="-120"/>
                <a:ea typeface="微軟正黑體" panose="020B0604030504040204" pitchFamily="34" charset="-120"/>
              </a:rPr>
              <a:t>Windows </a:t>
            </a:r>
            <a:r>
              <a:rPr lang="zh-TW" altLang="en-US" smtClean="0">
                <a:latin typeface="微軟正黑體" panose="020B0604030504040204" pitchFamily="34" charset="-120"/>
                <a:ea typeface="微軟正黑體" panose="020B0604030504040204" pitchFamily="34" charset="-120"/>
              </a:rPr>
              <a:t>大量授權 </a:t>
            </a:r>
            <a:r>
              <a:rPr lang="en-US" altLang="zh-TW" smtClean="0">
                <a:latin typeface="微軟正黑體" panose="020B0604030504040204" pitchFamily="34" charset="-120"/>
                <a:ea typeface="微軟正黑體" panose="020B0604030504040204" pitchFamily="34" charset="-120"/>
              </a:rPr>
              <a:t>vs.</a:t>
            </a:r>
            <a:r>
              <a:rPr lang="zh-TW" altLang="en-US" smtClean="0">
                <a:latin typeface="微軟正黑體" panose="020B0604030504040204" pitchFamily="34" charset="-120"/>
                <a:ea typeface="微軟正黑體" panose="020B0604030504040204" pitchFamily="34" charset="-120"/>
              </a:rPr>
              <a:t> 隨機版</a:t>
            </a:r>
            <a:endParaRPr lang="zh-TW" altLang="en-US" dirty="0">
              <a:latin typeface="微軟正黑體" panose="020B0604030504040204" pitchFamily="34" charset="-120"/>
              <a:ea typeface="微軟正黑體" panose="020B0604030504040204" pitchFamily="34" charset="-120"/>
            </a:endParaRPr>
          </a:p>
        </p:txBody>
      </p:sp>
      <p:graphicFrame>
        <p:nvGraphicFramePr>
          <p:cNvPr id="5" name="表格 4"/>
          <p:cNvGraphicFramePr>
            <a:graphicFrameLocks noGrp="1"/>
          </p:cNvGraphicFramePr>
          <p:nvPr>
            <p:extLst/>
          </p:nvPr>
        </p:nvGraphicFramePr>
        <p:xfrm>
          <a:off x="244549" y="1143000"/>
          <a:ext cx="8654901" cy="5107629"/>
        </p:xfrm>
        <a:graphic>
          <a:graphicData uri="http://schemas.openxmlformats.org/drawingml/2006/table">
            <a:tbl>
              <a:tblPr>
                <a:tableStyleId>{5940675A-B579-460E-94D1-54222C63F5DA}</a:tableStyleId>
              </a:tblPr>
              <a:tblGrid>
                <a:gridCol w="2161194"/>
                <a:gridCol w="3739025"/>
                <a:gridCol w="2754682"/>
              </a:tblGrid>
              <a:tr h="506405">
                <a:tc>
                  <a:txBody>
                    <a:bodyPr/>
                    <a:lstStyle/>
                    <a:p>
                      <a:pPr algn="ctr" fontAlgn="ctr"/>
                      <a:r>
                        <a:rPr lang="zh-TW" altLang="en-US" sz="2000" u="none" strike="noStrike" dirty="0">
                          <a:latin typeface="微軟正黑體" panose="020B0604030504040204" pitchFamily="34" charset="-120"/>
                          <a:ea typeface="微軟正黑體" panose="020B0604030504040204" pitchFamily="34" charset="-120"/>
                        </a:rPr>
                        <a:t>授權權益</a:t>
                      </a:r>
                      <a:endParaRPr lang="zh-TW" altLang="en-US" sz="2000" b="0" i="0" u="none" strike="noStrike" dirty="0">
                        <a:solidFill>
                          <a:schemeClr val="bg2"/>
                        </a:solidFill>
                        <a:latin typeface="微軟正黑體" panose="020B0604030504040204" pitchFamily="34" charset="-120"/>
                        <a:ea typeface="微軟正黑體" panose="020B0604030504040204" pitchFamily="34" charset="-120"/>
                      </a:endParaRPr>
                    </a:p>
                  </a:txBody>
                  <a:tcPr marL="9525" marR="9525" marT="9525" marB="0" anchor="ctr"/>
                </a:tc>
                <a:tc>
                  <a:txBody>
                    <a:bodyPr/>
                    <a:lstStyle/>
                    <a:p>
                      <a:pPr algn="ctr" fontAlgn="ctr"/>
                      <a:r>
                        <a:rPr lang="zh-TW" altLang="en-US" sz="2000" u="none" strike="noStrike" dirty="0">
                          <a:latin typeface="微軟正黑體" panose="020B0604030504040204" pitchFamily="34" charset="-120"/>
                          <a:ea typeface="微軟正黑體" panose="020B0604030504040204" pitchFamily="34" charset="-120"/>
                        </a:rPr>
                        <a:t>隨機版</a:t>
                      </a:r>
                      <a:endParaRPr lang="zh-TW" altLang="en-US" sz="2000" b="0" i="0" u="none" strike="noStrike" dirty="0">
                        <a:solidFill>
                          <a:schemeClr val="bg2"/>
                        </a:solidFill>
                        <a:latin typeface="微軟正黑體" panose="020B0604030504040204" pitchFamily="34" charset="-120"/>
                        <a:ea typeface="微軟正黑體" panose="020B0604030504040204" pitchFamily="34" charset="-120"/>
                      </a:endParaRPr>
                    </a:p>
                  </a:txBody>
                  <a:tcPr marL="9525" marR="9525" marT="9525" marB="0" anchor="ctr"/>
                </a:tc>
                <a:tc>
                  <a:txBody>
                    <a:bodyPr/>
                    <a:lstStyle/>
                    <a:p>
                      <a:pPr algn="ctr" fontAlgn="ctr"/>
                      <a:r>
                        <a:rPr lang="zh-TW" altLang="en-US" sz="2000" u="none" strike="noStrike" dirty="0">
                          <a:latin typeface="微軟正黑體" panose="020B0604030504040204" pitchFamily="34" charset="-120"/>
                          <a:ea typeface="微軟正黑體" panose="020B0604030504040204" pitchFamily="34" charset="-120"/>
                        </a:rPr>
                        <a:t>大量授權</a:t>
                      </a:r>
                      <a:endParaRPr lang="zh-TW" altLang="en-US" sz="2000" b="0" i="0" u="none" strike="noStrike" dirty="0">
                        <a:solidFill>
                          <a:schemeClr val="bg2"/>
                        </a:solidFill>
                        <a:latin typeface="微軟正黑體" panose="020B0604030504040204" pitchFamily="34" charset="-120"/>
                        <a:ea typeface="微軟正黑體" panose="020B0604030504040204" pitchFamily="34" charset="-120"/>
                      </a:endParaRPr>
                    </a:p>
                  </a:txBody>
                  <a:tcPr marL="9525" marR="9525" marT="9525" marB="0" anchor="ctr"/>
                </a:tc>
              </a:tr>
              <a:tr h="506405">
                <a:tc>
                  <a:txBody>
                    <a:bodyPr/>
                    <a:lstStyle/>
                    <a:p>
                      <a:pPr algn="l" rtl="0" fontAlgn="t"/>
                      <a:r>
                        <a:rPr lang="zh-TW" altLang="en-US" sz="2000" b="0" i="0" u="none" strike="noStrike" dirty="0" smtClean="0">
                          <a:solidFill>
                            <a:schemeClr val="tx1"/>
                          </a:solidFill>
                          <a:latin typeface="微軟正黑體" panose="020B0604030504040204" pitchFamily="34" charset="-120"/>
                          <a:ea typeface="微軟正黑體" panose="020B0604030504040204" pitchFamily="34" charset="-120"/>
                        </a:rPr>
                        <a:t>授權內容</a:t>
                      </a:r>
                      <a:endParaRPr lang="en-US" sz="2000" b="0" i="0" u="none" strike="noStrike" dirty="0">
                        <a:solidFill>
                          <a:schemeClr val="bg2"/>
                        </a:solidFill>
                        <a:latin typeface="微軟正黑體" panose="020B0604030504040204" pitchFamily="34" charset="-120"/>
                        <a:ea typeface="微軟正黑體" panose="020B0604030504040204" pitchFamily="34" charset="-120"/>
                      </a:endParaRPr>
                    </a:p>
                  </a:txBody>
                  <a:tcPr marL="9525" marR="9525" marT="9525" marB="0" anchor="ctr"/>
                </a:tc>
                <a:tc>
                  <a:txBody>
                    <a:bodyPr/>
                    <a:lstStyle/>
                    <a:p>
                      <a:pPr algn="l" fontAlgn="ctr"/>
                      <a:r>
                        <a:rPr lang="zh-TW" altLang="en-US" sz="2000" u="none" strike="noStrike" dirty="0" smtClean="0">
                          <a:latin typeface="微軟正黑體" panose="020B0604030504040204" pitchFamily="34" charset="-120"/>
                          <a:ea typeface="微軟正黑體" panose="020B0604030504040204" pitchFamily="34" charset="-120"/>
                        </a:rPr>
                        <a:t>完整版授權</a:t>
                      </a:r>
                      <a:endParaRPr lang="zh-TW" altLang="en-US" sz="2000" b="0" i="0" u="none" strike="noStrike" dirty="0">
                        <a:solidFill>
                          <a:schemeClr val="bg2"/>
                        </a:solidFill>
                        <a:latin typeface="微軟正黑體" panose="020B0604030504040204" pitchFamily="34" charset="-120"/>
                        <a:ea typeface="微軟正黑體" panose="020B0604030504040204" pitchFamily="34" charset="-120"/>
                      </a:endParaRPr>
                    </a:p>
                  </a:txBody>
                  <a:tcPr marL="9525" marR="9525" marT="9525" marB="0" anchor="ctr"/>
                </a:tc>
                <a:tc>
                  <a:txBody>
                    <a:bodyPr/>
                    <a:lstStyle/>
                    <a:p>
                      <a:pPr algn="l" fontAlgn="ctr"/>
                      <a:r>
                        <a:rPr lang="zh-TW" altLang="en-US" sz="2000" u="none" strike="noStrike" dirty="0" smtClean="0">
                          <a:latin typeface="微軟正黑體" panose="020B0604030504040204" pitchFamily="34" charset="-120"/>
                          <a:ea typeface="微軟正黑體" panose="020B0604030504040204" pitchFamily="34" charset="-120"/>
                        </a:rPr>
                        <a:t>升級版授權</a:t>
                      </a:r>
                      <a:endParaRPr lang="zh-TW" altLang="en-US" sz="2000" b="0" i="0" u="none" strike="noStrike" dirty="0">
                        <a:solidFill>
                          <a:schemeClr val="bg2"/>
                        </a:solidFill>
                        <a:latin typeface="微軟正黑體" panose="020B0604030504040204" pitchFamily="34" charset="-120"/>
                        <a:ea typeface="微軟正黑體" panose="020B0604030504040204" pitchFamily="34" charset="-120"/>
                      </a:endParaRPr>
                    </a:p>
                  </a:txBody>
                  <a:tcPr marL="9525" marR="9525" marT="9525" marB="0" anchor="ctr"/>
                </a:tc>
              </a:tr>
              <a:tr h="2721051">
                <a:tc>
                  <a:txBody>
                    <a:bodyPr/>
                    <a:lstStyle/>
                    <a:p>
                      <a:pPr algn="l" rtl="0" fontAlgn="t"/>
                      <a:r>
                        <a:rPr lang="zh-TW" altLang="en-US" sz="2000" u="none" strike="noStrike" dirty="0">
                          <a:latin typeface="微軟正黑體" panose="020B0604030504040204" pitchFamily="34" charset="-120"/>
                          <a:ea typeface="微軟正黑體" panose="020B0604030504040204" pitchFamily="34" charset="-120"/>
                        </a:rPr>
                        <a:t>降級</a:t>
                      </a:r>
                      <a:r>
                        <a:rPr lang="zh-TW" altLang="en-US" sz="2000" u="none" strike="noStrike" dirty="0" smtClean="0">
                          <a:latin typeface="微軟正黑體" panose="020B0604030504040204" pitchFamily="34" charset="-120"/>
                          <a:ea typeface="微軟正黑體" panose="020B0604030504040204" pitchFamily="34" charset="-120"/>
                        </a:rPr>
                        <a:t>權</a:t>
                      </a:r>
                      <a:endParaRPr lang="en-US" sz="2000" b="0" i="0" u="none" strike="noStrike" dirty="0">
                        <a:solidFill>
                          <a:schemeClr val="bg2"/>
                        </a:solidFill>
                        <a:latin typeface="微軟正黑體" panose="020B0604030504040204" pitchFamily="34" charset="-120"/>
                        <a:ea typeface="微軟正黑體" panose="020B0604030504040204" pitchFamily="34" charset="-120"/>
                      </a:endParaRPr>
                    </a:p>
                  </a:txBody>
                  <a:tcPr marL="9525" marR="9525" marT="9525" marB="0" anchor="ctr"/>
                </a:tc>
                <a:tc>
                  <a:txBody>
                    <a:bodyPr/>
                    <a:lstStyle/>
                    <a:p>
                      <a:pPr marL="0" algn="l" rtl="0" eaLnBrk="1" fontAlgn="ctr" latinLnBrk="0" hangingPunct="1"/>
                      <a:r>
                        <a:rPr kumimoji="0" lang="zh-TW" altLang="en-US" sz="2000" u="none" strike="noStrike" kern="1200" dirty="0" smtClean="0">
                          <a:latin typeface="微軟正黑體" panose="020B0604030504040204" pitchFamily="34" charset="-120"/>
                          <a:ea typeface="微軟正黑體" panose="020B0604030504040204" pitchFamily="34" charset="-120"/>
                        </a:rPr>
                        <a:t>可，</a:t>
                      </a:r>
                      <a:r>
                        <a:rPr kumimoji="0" lang="en-US" altLang="zh-TW" sz="2000" u="none" strike="noStrike" kern="1200" dirty="0" smtClean="0">
                          <a:latin typeface="微軟正黑體" panose="020B0604030504040204" pitchFamily="34" charset="-120"/>
                          <a:ea typeface="微軟正黑體" panose="020B0604030504040204" pitchFamily="34" charset="-120"/>
                        </a:rPr>
                        <a:t>Windows</a:t>
                      </a:r>
                      <a:r>
                        <a:rPr kumimoji="0" lang="zh-TW" altLang="en-US" sz="2000" u="none" strike="noStrike" kern="1200" dirty="0" smtClean="0">
                          <a:latin typeface="微軟正黑體" panose="020B0604030504040204" pitchFamily="34" charset="-120"/>
                          <a:ea typeface="微軟正黑體" panose="020B0604030504040204" pitchFamily="34" charset="-120"/>
                        </a:rPr>
                        <a:t>專業隨機版可降級至前兩個版本使用</a:t>
                      </a:r>
                      <a:r>
                        <a:rPr kumimoji="0" lang="en-US" altLang="zh-TW" sz="2000" u="none" strike="noStrike" kern="1200" dirty="0" smtClean="0">
                          <a:latin typeface="微軟正黑體" panose="020B0604030504040204" pitchFamily="34" charset="-120"/>
                          <a:ea typeface="微軟正黑體" panose="020B0604030504040204" pitchFamily="34" charset="-120"/>
                        </a:rPr>
                        <a:t>(</a:t>
                      </a:r>
                      <a:r>
                        <a:rPr kumimoji="0" lang="zh-TW" altLang="en-US" sz="2000" u="none" strike="noStrike" kern="1200" dirty="0" smtClean="0">
                          <a:latin typeface="微軟正黑體" panose="020B0604030504040204" pitchFamily="34" charset="-120"/>
                          <a:ea typeface="微軟正黑體" panose="020B0604030504040204" pitchFamily="34" charset="-120"/>
                        </a:rPr>
                        <a:t>例如</a:t>
                      </a:r>
                      <a:r>
                        <a:rPr kumimoji="0" lang="en-US" altLang="zh-TW" sz="2000" u="none" strike="noStrike" kern="1200" dirty="0" smtClean="0">
                          <a:latin typeface="微軟正黑體" panose="020B0604030504040204" pitchFamily="34" charset="-120"/>
                          <a:ea typeface="微軟正黑體" panose="020B0604030504040204" pitchFamily="34" charset="-120"/>
                        </a:rPr>
                        <a:t>:Windows 7</a:t>
                      </a:r>
                      <a:r>
                        <a:rPr kumimoji="0" lang="zh-TW" altLang="en-US" sz="2000" u="none" strike="noStrike" kern="1200" dirty="0" smtClean="0">
                          <a:latin typeface="微軟正黑體" panose="020B0604030504040204" pitchFamily="34" charset="-120"/>
                          <a:ea typeface="微軟正黑體" panose="020B0604030504040204" pitchFamily="34" charset="-120"/>
                        </a:rPr>
                        <a:t>專業版可以降到</a:t>
                      </a:r>
                      <a:r>
                        <a:rPr kumimoji="0" lang="en-US" altLang="zh-TW" sz="2000" u="none" strike="noStrike" kern="1200" dirty="0" smtClean="0">
                          <a:latin typeface="微軟正黑體" panose="020B0604030504040204" pitchFamily="34" charset="-120"/>
                          <a:ea typeface="微軟正黑體" panose="020B0604030504040204" pitchFamily="34" charset="-120"/>
                        </a:rPr>
                        <a:t>Windows</a:t>
                      </a:r>
                      <a:r>
                        <a:rPr kumimoji="0" lang="en-US" altLang="zh-TW" sz="2000" u="none" strike="noStrike" kern="1200" baseline="0" dirty="0" smtClean="0">
                          <a:latin typeface="微軟正黑體" panose="020B0604030504040204" pitchFamily="34" charset="-120"/>
                          <a:ea typeface="微軟正黑體" panose="020B0604030504040204" pitchFamily="34" charset="-120"/>
                        </a:rPr>
                        <a:t> Vista</a:t>
                      </a:r>
                      <a:r>
                        <a:rPr kumimoji="0" lang="zh-TW" altLang="en-US" sz="2000" u="none" strike="noStrike" kern="1200" baseline="0" dirty="0" smtClean="0">
                          <a:latin typeface="微軟正黑體" panose="020B0604030504040204" pitchFamily="34" charset="-120"/>
                          <a:ea typeface="微軟正黑體" panose="020B0604030504040204" pitchFamily="34" charset="-120"/>
                        </a:rPr>
                        <a:t>商用版</a:t>
                      </a:r>
                      <a:r>
                        <a:rPr kumimoji="0" lang="en-US" altLang="zh-TW" sz="2000" u="none" strike="noStrike" kern="1200" baseline="0" dirty="0" smtClean="0">
                          <a:latin typeface="微軟正黑體" panose="020B0604030504040204" pitchFamily="34" charset="-120"/>
                          <a:ea typeface="微軟正黑體" panose="020B0604030504040204" pitchFamily="34" charset="-120"/>
                        </a:rPr>
                        <a:t>, XP</a:t>
                      </a:r>
                      <a:r>
                        <a:rPr kumimoji="0" lang="zh-TW" altLang="en-US" sz="2000" u="none" strike="noStrike" kern="1200" baseline="0" dirty="0" smtClean="0">
                          <a:latin typeface="微軟正黑體" panose="020B0604030504040204" pitchFamily="34" charset="-120"/>
                          <a:ea typeface="微軟正黑體" panose="020B0604030504040204" pitchFamily="34" charset="-120"/>
                        </a:rPr>
                        <a:t>專業版；</a:t>
                      </a:r>
                      <a:r>
                        <a:rPr kumimoji="0" lang="en-US" altLang="zh-TW" sz="2000" u="none" strike="noStrike" kern="1200" dirty="0" smtClean="0">
                          <a:latin typeface="微軟正黑體" panose="020B0604030504040204" pitchFamily="34" charset="-120"/>
                          <a:ea typeface="微軟正黑體" panose="020B0604030504040204" pitchFamily="34" charset="-120"/>
                        </a:rPr>
                        <a:t>Windows</a:t>
                      </a:r>
                      <a:r>
                        <a:rPr kumimoji="0" lang="zh-TW" altLang="en-US" sz="2000" u="none" strike="noStrike" kern="1200" dirty="0" smtClean="0">
                          <a:latin typeface="微軟正黑體" panose="020B0604030504040204" pitchFamily="34" charset="-120"/>
                          <a:ea typeface="微軟正黑體" panose="020B0604030504040204" pitchFamily="34" charset="-120"/>
                        </a:rPr>
                        <a:t> </a:t>
                      </a:r>
                      <a:r>
                        <a:rPr kumimoji="0" lang="en-US" altLang="zh-TW" sz="2000" u="none" strike="noStrike" kern="1200" dirty="0" smtClean="0">
                          <a:latin typeface="微軟正黑體" panose="020B0604030504040204" pitchFamily="34" charset="-120"/>
                          <a:ea typeface="微軟正黑體" panose="020B0604030504040204" pitchFamily="34" charset="-120"/>
                        </a:rPr>
                        <a:t>8</a:t>
                      </a:r>
                      <a:r>
                        <a:rPr kumimoji="0" lang="zh-TW" altLang="en-US" sz="2000" u="none" strike="noStrike" kern="1200" dirty="0" smtClean="0">
                          <a:latin typeface="微軟正黑體" panose="020B0604030504040204" pitchFamily="34" charset="-120"/>
                          <a:ea typeface="微軟正黑體" panose="020B0604030504040204" pitchFamily="34" charset="-120"/>
                        </a:rPr>
                        <a:t>可以降到</a:t>
                      </a:r>
                      <a:r>
                        <a:rPr kumimoji="0" lang="en-US" altLang="zh-TW" sz="2000" u="none" strike="noStrike" kern="1200" dirty="0" smtClean="0">
                          <a:latin typeface="微軟正黑體" panose="020B0604030504040204" pitchFamily="34" charset="-120"/>
                          <a:ea typeface="微軟正黑體" panose="020B0604030504040204" pitchFamily="34" charset="-120"/>
                        </a:rPr>
                        <a:t>Windows</a:t>
                      </a:r>
                      <a:r>
                        <a:rPr kumimoji="0" lang="en-US" altLang="zh-TW" sz="2000" u="none" strike="noStrike" kern="1200" baseline="0" dirty="0" smtClean="0">
                          <a:latin typeface="微軟正黑體" panose="020B0604030504040204" pitchFamily="34" charset="-120"/>
                          <a:ea typeface="微軟正黑體" panose="020B0604030504040204" pitchFamily="34" charset="-120"/>
                        </a:rPr>
                        <a:t> 7</a:t>
                      </a:r>
                      <a:r>
                        <a:rPr kumimoji="0" lang="zh-TW" altLang="en-US" sz="2000" u="none" strike="noStrike" kern="1200" baseline="0" dirty="0" smtClean="0">
                          <a:latin typeface="微軟正黑體" panose="020B0604030504040204" pitchFamily="34" charset="-120"/>
                          <a:ea typeface="微軟正黑體" panose="020B0604030504040204" pitchFamily="34" charset="-120"/>
                        </a:rPr>
                        <a:t>專業版</a:t>
                      </a:r>
                      <a:r>
                        <a:rPr kumimoji="0" lang="en-US" altLang="zh-TW" sz="2000" u="none" strike="noStrike" kern="1200" baseline="0" dirty="0" smtClean="0">
                          <a:latin typeface="微軟正黑體" panose="020B0604030504040204" pitchFamily="34" charset="-120"/>
                          <a:ea typeface="微軟正黑體" panose="020B0604030504040204" pitchFamily="34" charset="-120"/>
                        </a:rPr>
                        <a:t>. Windows Vista</a:t>
                      </a:r>
                      <a:r>
                        <a:rPr kumimoji="0" lang="zh-TW" altLang="en-US" sz="2000" u="none" strike="noStrike" kern="1200" baseline="0" dirty="0" smtClean="0">
                          <a:latin typeface="微軟正黑體" panose="020B0604030504040204" pitchFamily="34" charset="-120"/>
                          <a:ea typeface="微軟正黑體" panose="020B0604030504040204" pitchFamily="34" charset="-120"/>
                        </a:rPr>
                        <a:t>商用版</a:t>
                      </a:r>
                      <a:r>
                        <a:rPr kumimoji="0" lang="en-US" altLang="en-US" sz="2000" u="none" strike="noStrike" kern="1200" dirty="0" smtClean="0">
                          <a:latin typeface="微軟正黑體" panose="020B0604030504040204" pitchFamily="34" charset="-120"/>
                          <a:ea typeface="微軟正黑體" panose="020B0604030504040204" pitchFamily="34" charset="-120"/>
                        </a:rPr>
                        <a:t>)</a:t>
                      </a:r>
                      <a:endParaRPr kumimoji="0" lang="zh-TW" altLang="en-US" sz="2000" b="0" i="0" u="none" strike="noStrike" kern="1200" dirty="0">
                        <a:solidFill>
                          <a:schemeClr val="bg2"/>
                        </a:solidFill>
                        <a:latin typeface="微軟正黑體" panose="020B0604030504040204" pitchFamily="34" charset="-120"/>
                        <a:ea typeface="微軟正黑體" panose="020B0604030504040204" pitchFamily="34" charset="-120"/>
                        <a:cs typeface="+mn-cs"/>
                      </a:endParaRPr>
                    </a:p>
                  </a:txBody>
                  <a:tcPr marL="9525" marR="9525" marT="9525" marB="0" anchor="ctr"/>
                </a:tc>
                <a:tc>
                  <a:txBody>
                    <a:bodyPr/>
                    <a:lstStyle/>
                    <a:p>
                      <a:pPr algn="l" fontAlgn="ctr"/>
                      <a:r>
                        <a:rPr lang="zh-TW" altLang="en-US" sz="2000" u="none" strike="noStrike" dirty="0" smtClean="0">
                          <a:latin typeface="微軟正黑體" panose="020B0604030504040204" pitchFamily="34" charset="-120"/>
                          <a:ea typeface="微軟正黑體" panose="020B0604030504040204" pitchFamily="34" charset="-120"/>
                        </a:rPr>
                        <a:t>可，用戶可降級至</a:t>
                      </a:r>
                      <a:r>
                        <a:rPr lang="en-US" altLang="zh-TW" sz="2000" u="none" strike="noStrike" dirty="0" smtClean="0">
                          <a:latin typeface="微軟正黑體" panose="020B0604030504040204" pitchFamily="34" charset="-120"/>
                          <a:ea typeface="微軟正黑體" panose="020B0604030504040204" pitchFamily="34" charset="-120"/>
                        </a:rPr>
                        <a:t>Windows 95.98.NT. 2000.XP. Vista. 7</a:t>
                      </a:r>
                      <a:endParaRPr lang="zh-TW" altLang="en-US" sz="2000" b="0" i="0" u="none" strike="noStrike" dirty="0">
                        <a:solidFill>
                          <a:schemeClr val="bg2"/>
                        </a:solidFill>
                        <a:latin typeface="微軟正黑體" panose="020B0604030504040204" pitchFamily="34" charset="-120"/>
                        <a:ea typeface="微軟正黑體" panose="020B0604030504040204" pitchFamily="34" charset="-120"/>
                      </a:endParaRPr>
                    </a:p>
                  </a:txBody>
                  <a:tcPr marL="9525" marR="9525" marT="9525" marB="0" anchor="ctr"/>
                </a:tc>
              </a:tr>
              <a:tr h="686884">
                <a:tc>
                  <a:txBody>
                    <a:bodyPr/>
                    <a:lstStyle/>
                    <a:p>
                      <a:pPr algn="l" rtl="0" fontAlgn="t"/>
                      <a:r>
                        <a:rPr lang="zh-TW" altLang="en-US" sz="2000" u="none" strike="noStrike" dirty="0" smtClean="0">
                          <a:latin typeface="微軟正黑體" panose="020B0604030504040204" pitchFamily="34" charset="-120"/>
                          <a:ea typeface="微軟正黑體" panose="020B0604030504040204" pitchFamily="34" charset="-120"/>
                        </a:rPr>
                        <a:t>軟體管理</a:t>
                      </a:r>
                      <a:endParaRPr lang="zh-TW" altLang="en-US" sz="2000" b="0" i="0" u="none" strike="noStrike" dirty="0">
                        <a:solidFill>
                          <a:schemeClr val="bg2"/>
                        </a:solidFill>
                        <a:latin typeface="微軟正黑體" panose="020B0604030504040204" pitchFamily="34" charset="-120"/>
                        <a:ea typeface="微軟正黑體" panose="020B0604030504040204" pitchFamily="34" charset="-120"/>
                      </a:endParaRPr>
                    </a:p>
                  </a:txBody>
                  <a:tcPr marL="9525" marR="9525" marT="9525" marB="0" anchor="ctr"/>
                </a:tc>
                <a:tc>
                  <a:txBody>
                    <a:bodyPr/>
                    <a:lstStyle/>
                    <a:p>
                      <a:pPr algn="l" fontAlgn="ctr"/>
                      <a:r>
                        <a:rPr lang="zh-TW" altLang="en-US" sz="2000" u="none" strike="noStrike" baseline="0" dirty="0" smtClean="0">
                          <a:latin typeface="微軟正黑體" panose="020B0604030504040204" pitchFamily="34" charset="-120"/>
                          <a:ea typeface="微軟正黑體" panose="020B0604030504040204" pitchFamily="34" charset="-120"/>
                        </a:rPr>
                        <a:t>隨機管理，一機一授權</a:t>
                      </a:r>
                      <a:endParaRPr lang="zh-TW" altLang="en-US" sz="2000" b="0" i="0" u="none" strike="noStrike" dirty="0">
                        <a:solidFill>
                          <a:schemeClr val="bg2"/>
                        </a:solidFill>
                        <a:latin typeface="微軟正黑體" panose="020B0604030504040204" pitchFamily="34" charset="-120"/>
                        <a:ea typeface="微軟正黑體" panose="020B0604030504040204" pitchFamily="34" charset="-120"/>
                      </a:endParaRPr>
                    </a:p>
                  </a:txBody>
                  <a:tcPr marL="9525" marR="9525" marT="9525" marB="0" anchor="ctr"/>
                </a:tc>
                <a:tc>
                  <a:txBody>
                    <a:bodyPr/>
                    <a:lstStyle/>
                    <a:p>
                      <a:pPr algn="l" fontAlgn="ctr"/>
                      <a:r>
                        <a:rPr lang="zh-TW" altLang="en-US" sz="2000" u="none" strike="noStrike" dirty="0" smtClean="0">
                          <a:latin typeface="微軟正黑體" panose="020B0604030504040204" pitchFamily="34" charset="-120"/>
                          <a:ea typeface="微軟正黑體" panose="020B0604030504040204" pitchFamily="34" charset="-120"/>
                        </a:rPr>
                        <a:t>合約管理升級版授權</a:t>
                      </a:r>
                      <a:endParaRPr lang="zh-TW" altLang="en-US" sz="2000" b="0" i="0" u="none" strike="noStrike" dirty="0">
                        <a:solidFill>
                          <a:schemeClr val="bg2"/>
                        </a:solidFill>
                        <a:latin typeface="微軟正黑體" panose="020B0604030504040204" pitchFamily="34" charset="-120"/>
                        <a:ea typeface="微軟正黑體" panose="020B0604030504040204" pitchFamily="34" charset="-120"/>
                      </a:endParaRPr>
                    </a:p>
                  </a:txBody>
                  <a:tcPr marL="9525" marR="9525" marT="9525" marB="0" anchor="ctr"/>
                </a:tc>
              </a:tr>
              <a:tr h="686884">
                <a:tc gridSpan="3">
                  <a:txBody>
                    <a:bodyPr/>
                    <a:lstStyle/>
                    <a:p>
                      <a:pPr algn="l" rtl="0" fontAlgn="t"/>
                      <a:r>
                        <a:rPr lang="en-US" altLang="zh-TW" sz="2000" b="0" i="0" u="none" strike="noStrike" dirty="0" smtClean="0">
                          <a:solidFill>
                            <a:schemeClr val="tx1"/>
                          </a:solidFill>
                          <a:latin typeface="微軟正黑體" panose="020B0604030504040204" pitchFamily="34" charset="-120"/>
                          <a:ea typeface="微軟正黑體" panose="020B0604030504040204" pitchFamily="34" charset="-120"/>
                        </a:rPr>
                        <a:t>*</a:t>
                      </a:r>
                      <a:r>
                        <a:rPr lang="zh-TW" altLang="en-US" sz="2000" b="0" i="0" u="none" strike="noStrike" dirty="0" smtClean="0">
                          <a:solidFill>
                            <a:schemeClr val="tx1"/>
                          </a:solidFill>
                          <a:latin typeface="微軟正黑體" panose="020B0604030504040204" pitchFamily="34" charset="-120"/>
                          <a:ea typeface="微軟正黑體" panose="020B0604030504040204" pitchFamily="34" charset="-120"/>
                        </a:rPr>
                        <a:t>以上降級權說明僅針對</a:t>
                      </a:r>
                      <a:r>
                        <a:rPr lang="en-US" altLang="zh-TW" sz="2000" b="0" i="0" u="none" strike="noStrike" dirty="0" smtClean="0">
                          <a:solidFill>
                            <a:schemeClr val="tx1"/>
                          </a:solidFill>
                          <a:latin typeface="微軟正黑體" panose="020B0604030504040204" pitchFamily="34" charset="-120"/>
                          <a:ea typeface="微軟正黑體" panose="020B0604030504040204" pitchFamily="34" charset="-120"/>
                        </a:rPr>
                        <a:t>Windows</a:t>
                      </a:r>
                      <a:r>
                        <a:rPr lang="zh-TW" altLang="en-US" sz="2000" b="0" i="0" u="none" strike="noStrike" dirty="0" smtClean="0">
                          <a:solidFill>
                            <a:schemeClr val="tx1"/>
                          </a:solidFill>
                          <a:latin typeface="微軟正黑體" panose="020B0604030504040204" pitchFamily="34" charset="-120"/>
                          <a:ea typeface="微軟正黑體" panose="020B0604030504040204" pitchFamily="34" charset="-120"/>
                        </a:rPr>
                        <a:t>作業系統，不包含</a:t>
                      </a:r>
                      <a:r>
                        <a:rPr lang="en-US" altLang="zh-TW" sz="2000" b="0" i="0" u="none" strike="noStrike" dirty="0" smtClean="0">
                          <a:solidFill>
                            <a:schemeClr val="tx1"/>
                          </a:solidFill>
                          <a:latin typeface="微軟正黑體" panose="020B0604030504040204" pitchFamily="34" charset="-120"/>
                          <a:ea typeface="微軟正黑體" panose="020B0604030504040204" pitchFamily="34" charset="-120"/>
                        </a:rPr>
                        <a:t>Office.</a:t>
                      </a:r>
                      <a:r>
                        <a:rPr lang="en-US" altLang="zh-TW" sz="2000" b="0" i="0" u="none" strike="noStrike" baseline="0" dirty="0" smtClean="0">
                          <a:solidFill>
                            <a:schemeClr val="tx1"/>
                          </a:solidFill>
                          <a:latin typeface="微軟正黑體" panose="020B0604030504040204" pitchFamily="34" charset="-120"/>
                          <a:ea typeface="微軟正黑體" panose="020B0604030504040204" pitchFamily="34" charset="-120"/>
                        </a:rPr>
                        <a:t> </a:t>
                      </a:r>
                      <a:r>
                        <a:rPr lang="en-US" altLang="zh-TW" sz="2000" b="0" i="0" u="none" strike="noStrike" dirty="0" smtClean="0">
                          <a:solidFill>
                            <a:schemeClr val="tx1"/>
                          </a:solidFill>
                          <a:latin typeface="微軟正黑體" panose="020B0604030504040204" pitchFamily="34" charset="-120"/>
                          <a:ea typeface="微軟正黑體" panose="020B0604030504040204" pitchFamily="34" charset="-120"/>
                        </a:rPr>
                        <a:t>Windows Server…</a:t>
                      </a:r>
                      <a:r>
                        <a:rPr lang="zh-TW" altLang="en-US" sz="2000" b="0" i="0" u="none" strike="noStrike" dirty="0" smtClean="0">
                          <a:solidFill>
                            <a:schemeClr val="tx1"/>
                          </a:solidFill>
                          <a:latin typeface="微軟正黑體" panose="020B0604030504040204" pitchFamily="34" charset="-120"/>
                          <a:ea typeface="微軟正黑體" panose="020B0604030504040204" pitchFamily="34" charset="-120"/>
                        </a:rPr>
                        <a:t>等其他授權產品</a:t>
                      </a:r>
                      <a:endParaRPr lang="zh-TW" altLang="en-US" sz="2000" b="0" i="0" u="none" strike="noStrike" dirty="0">
                        <a:solidFill>
                          <a:schemeClr val="tx1"/>
                        </a:solidFill>
                        <a:latin typeface="微軟正黑體" panose="020B0604030504040204" pitchFamily="34" charset="-120"/>
                        <a:ea typeface="微軟正黑體" panose="020B0604030504040204" pitchFamily="34" charset="-120"/>
                      </a:endParaRPr>
                    </a:p>
                  </a:txBody>
                  <a:tcPr marL="9525" marR="9525" marT="9525" marB="0" anchor="ctr"/>
                </a:tc>
                <a:tc hMerge="1">
                  <a:txBody>
                    <a:bodyPr/>
                    <a:lstStyle/>
                    <a:p>
                      <a:pPr algn="l" fontAlgn="ctr"/>
                      <a:endParaRPr lang="zh-TW" altLang="en-US" sz="2400" b="0" i="0" u="none" strike="noStrike" dirty="0">
                        <a:solidFill>
                          <a:schemeClr val="bg2"/>
                        </a:solidFill>
                        <a:latin typeface="標楷體" pitchFamily="65" charset="-120"/>
                        <a:ea typeface="標楷體" pitchFamily="65" charset="-120"/>
                      </a:endParaRPr>
                    </a:p>
                  </a:txBody>
                  <a:tcPr marL="9525" marR="9525" marT="9525" marB="0" anchor="ctr"/>
                </a:tc>
                <a:tc hMerge="1">
                  <a:txBody>
                    <a:bodyPr/>
                    <a:lstStyle/>
                    <a:p>
                      <a:pPr algn="l" fontAlgn="ctr"/>
                      <a:endParaRPr lang="zh-TW" altLang="en-US" sz="2400" b="0" i="0" u="none" strike="noStrike" dirty="0">
                        <a:solidFill>
                          <a:schemeClr val="bg2"/>
                        </a:solidFill>
                        <a:latin typeface="標楷體" pitchFamily="65" charset="-120"/>
                        <a:ea typeface="標楷體" pitchFamily="65" charset="-120"/>
                      </a:endParaRPr>
                    </a:p>
                  </a:txBody>
                  <a:tcPr marL="9525" marR="9525" marT="9525" marB="0" anchor="ctr"/>
                </a:tc>
              </a:tr>
            </a:tbl>
          </a:graphicData>
        </a:graphic>
      </p:graphicFrame>
      <p:sp>
        <p:nvSpPr>
          <p:cNvPr id="3" name="投影片編號版面配置區 2"/>
          <p:cNvSpPr>
            <a:spLocks noGrp="1"/>
          </p:cNvSpPr>
          <p:nvPr>
            <p:ph type="sldNum" sz="quarter" idx="12"/>
          </p:nvPr>
        </p:nvSpPr>
        <p:spPr/>
        <p:txBody>
          <a:bodyPr/>
          <a:lstStyle/>
          <a:p>
            <a:pPr>
              <a:defRPr/>
            </a:pPr>
            <a:fld id="{F67FB0A5-B535-4F1C-82E4-6237E3B76FA3}" type="slidenum">
              <a:rPr lang="en-US" smtClean="0"/>
              <a:pPr>
                <a:defRPr/>
              </a:pPr>
              <a:t>20</a:t>
            </a:fld>
            <a:endParaRPr lang="zh-CN" altLang="en-US"/>
          </a:p>
        </p:txBody>
      </p:sp>
    </p:spTree>
    <p:extLst>
      <p:ext uri="{BB962C8B-B14F-4D97-AF65-F5344CB8AC3E}">
        <p14:creationId xmlns:p14="http://schemas.microsoft.com/office/powerpoint/2010/main" val="395115027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Content Placeholder 2"/>
          <p:cNvSpPr>
            <a:spLocks noGrp="1"/>
          </p:cNvSpPr>
          <p:nvPr>
            <p:ph idx="1"/>
          </p:nvPr>
        </p:nvSpPr>
        <p:spPr>
          <a:xfrm>
            <a:off x="485775" y="2571750"/>
            <a:ext cx="8229600" cy="3895725"/>
          </a:xfrm>
        </p:spPr>
        <p:txBody>
          <a:bodyPr>
            <a:normAutofit/>
          </a:bodyPr>
          <a:lstStyle/>
          <a:p>
            <a:pPr eaLnBrk="1" hangingPunct="1"/>
            <a:r>
              <a:rPr lang="zh-TW" altLang="en-US" sz="4000" smtClean="0">
                <a:latin typeface="微軟正黑體" panose="020B0604030504040204" pitchFamily="34" charset="-120"/>
                <a:ea typeface="微軟正黑體" panose="020B0604030504040204" pitchFamily="34" charset="-120"/>
              </a:rPr>
              <a:t>如果我已經買大量授權，那我可以只買空機，然後再灌大量授權的</a:t>
            </a:r>
            <a:r>
              <a:rPr lang="en-US" altLang="zh-TW" sz="4000" smtClean="0">
                <a:latin typeface="微軟正黑體" panose="020B0604030504040204" pitchFamily="34" charset="-120"/>
                <a:ea typeface="微軟正黑體" panose="020B0604030504040204" pitchFamily="34" charset="-120"/>
              </a:rPr>
              <a:t>Windows</a:t>
            </a:r>
            <a:r>
              <a:rPr lang="zh-TW" altLang="en-US" sz="4000" smtClean="0">
                <a:latin typeface="微軟正黑體" panose="020B0604030504040204" pitchFamily="34" charset="-120"/>
                <a:ea typeface="微軟正黑體" panose="020B0604030504040204" pitchFamily="34" charset="-120"/>
              </a:rPr>
              <a:t>嗎</a:t>
            </a:r>
            <a:r>
              <a:rPr lang="en-US" altLang="zh-TW" sz="4000" smtClean="0">
                <a:latin typeface="微軟正黑體" panose="020B0604030504040204" pitchFamily="34" charset="-120"/>
                <a:ea typeface="微軟正黑體" panose="020B0604030504040204" pitchFamily="34" charset="-120"/>
              </a:rPr>
              <a:t>?</a:t>
            </a:r>
            <a:endParaRPr lang="zh-TW" altLang="en-US" sz="4000" dirty="0" smtClean="0">
              <a:latin typeface="微軟正黑體" panose="020B0604030504040204" pitchFamily="34" charset="-120"/>
              <a:ea typeface="微軟正黑體" panose="020B0604030504040204" pitchFamily="34" charset="-120"/>
            </a:endParaRPr>
          </a:p>
        </p:txBody>
      </p:sp>
      <p:sp>
        <p:nvSpPr>
          <p:cNvPr id="2" name="Title 1"/>
          <p:cNvSpPr>
            <a:spLocks noGrp="1"/>
          </p:cNvSpPr>
          <p:nvPr>
            <p:ph type="title"/>
          </p:nvPr>
        </p:nvSpPr>
        <p:spPr>
          <a:xfrm>
            <a:off x="442210" y="649393"/>
            <a:ext cx="8229600" cy="1143000"/>
          </a:xfrm>
        </p:spPr>
        <p:txBody>
          <a:bodyPr/>
          <a:lstStyle/>
          <a:p>
            <a:pPr>
              <a:defRPr/>
            </a:pPr>
            <a:r>
              <a:rPr lang="zh-TW" altLang="en-US" smtClean="0">
                <a:latin typeface="微軟正黑體" panose="020B0604030504040204" pitchFamily="34" charset="-120"/>
                <a:ea typeface="微軟正黑體" panose="020B0604030504040204" pitchFamily="34" charset="-120"/>
              </a:rPr>
              <a:t>常見微軟授權疑問二</a:t>
            </a:r>
            <a:r>
              <a:rPr lang="en-US" altLang="zh-TW" smtClean="0">
                <a:latin typeface="微軟正黑體" panose="020B0604030504040204" pitchFamily="34" charset="-120"/>
                <a:ea typeface="微軟正黑體" panose="020B0604030504040204" pitchFamily="34" charset="-120"/>
              </a:rPr>
              <a:t>:</a:t>
            </a:r>
            <a:r>
              <a:rPr lang="zh-TW" altLang="en-US" smtClean="0">
                <a:latin typeface="微軟正黑體" panose="020B0604030504040204" pitchFamily="34" charset="-120"/>
                <a:ea typeface="微軟正黑體" panose="020B0604030504040204" pitchFamily="34" charset="-120"/>
              </a:rPr>
              <a:t> </a:t>
            </a:r>
            <a:endParaRPr lang="zh-TW" altLang="en-US" dirty="0">
              <a:latin typeface="微軟正黑體" panose="020B0604030504040204" pitchFamily="34" charset="-120"/>
              <a:ea typeface="微軟正黑體" panose="020B0604030504040204" pitchFamily="34" charset="-120"/>
            </a:endParaRPr>
          </a:p>
        </p:txBody>
      </p:sp>
      <p:sp>
        <p:nvSpPr>
          <p:cNvPr id="3" name="投影片編號版面配置區 2"/>
          <p:cNvSpPr>
            <a:spLocks noGrp="1"/>
          </p:cNvSpPr>
          <p:nvPr>
            <p:ph type="sldNum" sz="quarter" idx="12"/>
          </p:nvPr>
        </p:nvSpPr>
        <p:spPr/>
        <p:txBody>
          <a:bodyPr/>
          <a:lstStyle/>
          <a:p>
            <a:pPr>
              <a:defRPr/>
            </a:pPr>
            <a:fld id="{1D9970BA-2F58-4996-9806-696110DA0FEA}" type="slidenum">
              <a:rPr lang="en-US" smtClean="0"/>
              <a:pPr>
                <a:defRPr/>
              </a:pPr>
              <a:t>21</a:t>
            </a:fld>
            <a:endParaRPr lang="zh-CN" altLang="en-US"/>
          </a:p>
        </p:txBody>
      </p:sp>
    </p:spTree>
    <p:extLst>
      <p:ext uri="{BB962C8B-B14F-4D97-AF65-F5344CB8AC3E}">
        <p14:creationId xmlns:p14="http://schemas.microsoft.com/office/powerpoint/2010/main" val="34137735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6608" y="850796"/>
            <a:ext cx="8603315" cy="498728"/>
          </a:xfrm>
        </p:spPr>
        <p:txBody>
          <a:bodyPr>
            <a:noAutofit/>
          </a:bodyPr>
          <a:lstStyle/>
          <a:p>
            <a:r>
              <a:rPr lang="zh-TW" altLang="en-US" sz="2800" smtClean="0">
                <a:latin typeface="微軟正黑體" panose="020B0604030504040204" pitchFamily="34" charset="-120"/>
                <a:ea typeface="微軟正黑體" panose="020B0604030504040204" pitchFamily="34" charset="-120"/>
              </a:rPr>
              <a:t>常見</a:t>
            </a:r>
            <a:r>
              <a:rPr lang="en-US" sz="2800" smtClean="0">
                <a:latin typeface="微軟正黑體" panose="020B0604030504040204" pitchFamily="34" charset="-120"/>
                <a:ea typeface="微軟正黑體" panose="020B0604030504040204" pitchFamily="34" charset="-120"/>
              </a:rPr>
              <a:t>Windows</a:t>
            </a:r>
            <a:r>
              <a:rPr lang="zh-TW" altLang="en-US" sz="2800" smtClean="0">
                <a:latin typeface="微軟正黑體" panose="020B0604030504040204" pitchFamily="34" charset="-120"/>
                <a:ea typeface="微軟正黑體" panose="020B0604030504040204" pitchFamily="34" charset="-120"/>
              </a:rPr>
              <a:t>授權誤用實際案例</a:t>
            </a:r>
            <a:endParaRPr lang="en-US" sz="2800" dirty="0">
              <a:latin typeface="微軟正黑體" panose="020B0604030504040204" pitchFamily="34" charset="-120"/>
              <a:ea typeface="微軟正黑體" panose="020B0604030504040204" pitchFamily="34" charset="-120"/>
            </a:endParaRPr>
          </a:p>
        </p:txBody>
      </p:sp>
      <p:sp>
        <p:nvSpPr>
          <p:cNvPr id="27" name="Content Placeholder 2"/>
          <p:cNvSpPr txBox="1">
            <a:spLocks/>
          </p:cNvSpPr>
          <p:nvPr/>
        </p:nvSpPr>
        <p:spPr>
          <a:xfrm>
            <a:off x="0" y="2286000"/>
            <a:ext cx="4589088" cy="3713389"/>
          </a:xfrm>
          <a:prstGeom prst="rect">
            <a:avLst/>
          </a:prstGeom>
        </p:spPr>
        <p:txBody>
          <a:bodyPr>
            <a:normAutofit/>
          </a:bodyPr>
          <a:lstStyle>
            <a:lvl1pPr marL="274320" indent="-274320" algn="l" defTabSz="914400" rtl="0" eaLnBrk="1" latinLnBrk="0" hangingPunct="1">
              <a:spcBef>
                <a:spcPct val="20000"/>
              </a:spcBef>
              <a:buClr>
                <a:schemeClr val="accent1"/>
              </a:buClr>
              <a:buSzPct val="100000"/>
              <a:buFont typeface="Symbol" pitchFamily="18" charset="2"/>
              <a:buChar char=""/>
              <a:defRPr sz="2400" kern="1200">
                <a:solidFill>
                  <a:schemeClr val="tx2"/>
                </a:solidFill>
                <a:latin typeface="+mn-lt"/>
                <a:ea typeface="+mn-ea"/>
                <a:cs typeface="+mn-cs"/>
              </a:defRPr>
            </a:lvl1pPr>
            <a:lvl2pPr marL="576263" indent="-274320" algn="l" defTabSz="914400" rtl="0" eaLnBrk="1" latinLnBrk="0" hangingPunct="1">
              <a:spcBef>
                <a:spcPct val="20000"/>
              </a:spcBef>
              <a:buClr>
                <a:schemeClr val="accent1"/>
              </a:buClr>
              <a:buSzPct val="100000"/>
              <a:buFont typeface="Symbol" pitchFamily="18" charset="2"/>
              <a:buChar char=""/>
              <a:defRPr sz="2200" kern="1200">
                <a:solidFill>
                  <a:schemeClr val="tx2"/>
                </a:solidFill>
                <a:latin typeface="+mn-lt"/>
                <a:ea typeface="+mn-ea"/>
                <a:cs typeface="+mn-cs"/>
              </a:defRPr>
            </a:lvl2pPr>
            <a:lvl3pPr marL="855663" indent="-228600" algn="l" defTabSz="914400" rtl="0" eaLnBrk="1" latinLnBrk="0" hangingPunct="1">
              <a:spcBef>
                <a:spcPct val="20000"/>
              </a:spcBef>
              <a:buClr>
                <a:schemeClr val="accent1"/>
              </a:buClr>
              <a:buSzPct val="100000"/>
              <a:buFont typeface="Symbol" pitchFamily="18" charset="2"/>
              <a:buChar char=""/>
              <a:defRPr sz="2000" kern="1200">
                <a:solidFill>
                  <a:schemeClr val="tx2"/>
                </a:solidFill>
                <a:latin typeface="+mn-lt"/>
                <a:ea typeface="+mn-ea"/>
                <a:cs typeface="+mn-cs"/>
              </a:defRPr>
            </a:lvl3pPr>
            <a:lvl4pPr marL="1143000" indent="-228600" algn="l" defTabSz="914400" rtl="0" eaLnBrk="1" latinLnBrk="0" hangingPunct="1">
              <a:spcBef>
                <a:spcPct val="20000"/>
              </a:spcBef>
              <a:buClr>
                <a:schemeClr val="accent1"/>
              </a:buClr>
              <a:buSzPct val="100000"/>
              <a:buFont typeface="Symbol" pitchFamily="18" charset="2"/>
              <a:buChar char=""/>
              <a:defRPr sz="1800" kern="1200">
                <a:solidFill>
                  <a:schemeClr val="tx2"/>
                </a:solidFill>
                <a:latin typeface="+mn-lt"/>
                <a:ea typeface="+mn-ea"/>
                <a:cs typeface="+mn-cs"/>
              </a:defRPr>
            </a:lvl4pPr>
            <a:lvl5pPr marL="1463040" indent="-228600" algn="l" defTabSz="914400" rtl="0" eaLnBrk="1" latinLnBrk="0" hangingPunct="1">
              <a:spcBef>
                <a:spcPct val="20000"/>
              </a:spcBef>
              <a:buClr>
                <a:schemeClr val="accent1"/>
              </a:buClr>
              <a:buSzPct val="100000"/>
              <a:buFont typeface="Symbol" pitchFamily="18" charset="2"/>
              <a:buChar char=""/>
              <a:defRPr sz="1600" kern="1200">
                <a:solidFill>
                  <a:schemeClr val="tx2"/>
                </a:solidFill>
                <a:latin typeface="+mn-lt"/>
                <a:ea typeface="+mn-ea"/>
                <a:cs typeface="+mn-cs"/>
              </a:defRPr>
            </a:lvl5pPr>
            <a:lvl6pPr marL="178308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6pPr>
            <a:lvl7pPr marL="210312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7pPr>
            <a:lvl8pPr marL="242316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8pPr>
            <a:lvl9pPr marL="274320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9pPr>
          </a:lstStyle>
          <a:p>
            <a:r>
              <a:rPr lang="zh-TW" altLang="en-US" sz="2800" b="0" dirty="0">
                <a:solidFill>
                  <a:srgbClr val="FF0000"/>
                </a:solidFill>
                <a:latin typeface="微軟正黑體" panose="020B0604030504040204" pitchFamily="34" charset="-120"/>
                <a:ea typeface="微軟正黑體" panose="020B0604030504040204" pitchFamily="34" charset="-120"/>
                <a:cs typeface="Segoe UI Light" pitchFamily="34" charset="0"/>
              </a:rPr>
              <a:t>不</a:t>
            </a:r>
            <a:r>
              <a:rPr lang="zh-TW" altLang="en-US" sz="2800" b="0" dirty="0" smtClean="0">
                <a:solidFill>
                  <a:srgbClr val="FF0000"/>
                </a:solidFill>
                <a:latin typeface="微軟正黑體" panose="020B0604030504040204" pitchFamily="34" charset="-120"/>
                <a:ea typeface="微軟正黑體" panose="020B0604030504040204" pitchFamily="34" charset="-120"/>
                <a:cs typeface="Segoe UI Light" pitchFamily="34" charset="0"/>
              </a:rPr>
              <a:t>行</a:t>
            </a:r>
            <a:endParaRPr lang="en-US" altLang="zh-TW" sz="2800" b="0" dirty="0" smtClean="0">
              <a:solidFill>
                <a:srgbClr val="FF0000"/>
              </a:solidFill>
              <a:latin typeface="微軟正黑體" panose="020B0604030504040204" pitchFamily="34" charset="-120"/>
              <a:ea typeface="微軟正黑體" panose="020B0604030504040204" pitchFamily="34" charset="-120"/>
              <a:cs typeface="Segoe UI Light" pitchFamily="34" charset="0"/>
            </a:endParaRPr>
          </a:p>
          <a:p>
            <a:r>
              <a:rPr lang="zh-TW" altLang="en-US" sz="2800" b="0" dirty="0" smtClean="0">
                <a:latin typeface="微軟正黑體" pitchFamily="34" charset="-120"/>
                <a:ea typeface="微軟正黑體" pitchFamily="34" charset="-120"/>
              </a:rPr>
              <a:t>完</a:t>
            </a:r>
            <a:r>
              <a:rPr lang="zh-TW" altLang="en-US" sz="2800" b="0" dirty="0">
                <a:latin typeface="微軟正黑體" pitchFamily="34" charset="-120"/>
                <a:ea typeface="微軟正黑體" pitchFamily="34" charset="-120"/>
              </a:rPr>
              <a:t>整版</a:t>
            </a:r>
            <a:r>
              <a:rPr lang="en-US" altLang="zh-TW" sz="2800" b="0" dirty="0">
                <a:latin typeface="微軟正黑體" pitchFamily="34" charset="-120"/>
                <a:ea typeface="微軟正黑體" pitchFamily="34" charset="-120"/>
              </a:rPr>
              <a:t>Windows</a:t>
            </a:r>
            <a:r>
              <a:rPr lang="zh-TW" altLang="en-US" sz="2800" b="0" dirty="0">
                <a:latin typeface="微軟正黑體" pitchFamily="34" charset="-120"/>
                <a:ea typeface="微軟正黑體" pitchFamily="34" charset="-120"/>
              </a:rPr>
              <a:t>需透過</a:t>
            </a:r>
            <a:r>
              <a:rPr lang="en-US" altLang="zh-TW" sz="2800" b="0" dirty="0">
                <a:latin typeface="微軟正黑體" pitchFamily="34" charset="-120"/>
                <a:ea typeface="微軟正黑體" pitchFamily="34" charset="-120"/>
              </a:rPr>
              <a:t>OEM</a:t>
            </a:r>
            <a:r>
              <a:rPr lang="zh-TW" altLang="en-US" sz="2800" b="0" dirty="0">
                <a:latin typeface="微軟正黑體" pitchFamily="34" charset="-120"/>
                <a:ea typeface="微軟正黑體" pitchFamily="34" charset="-120"/>
              </a:rPr>
              <a:t>、</a:t>
            </a:r>
            <a:r>
              <a:rPr lang="en-US" altLang="zh-TW" sz="2800" b="0" dirty="0">
                <a:latin typeface="微軟正黑體" pitchFamily="34" charset="-120"/>
                <a:ea typeface="微軟正黑體" pitchFamily="34" charset="-120"/>
              </a:rPr>
              <a:t>COEM</a:t>
            </a:r>
            <a:r>
              <a:rPr lang="zh-TW" altLang="en-US" sz="2800" b="0" dirty="0">
                <a:latin typeface="微軟正黑體" pitchFamily="34" charset="-120"/>
                <a:ea typeface="微軟正黑體" pitchFamily="34" charset="-120"/>
              </a:rPr>
              <a:t>、彩盒裝、來取得</a:t>
            </a:r>
            <a:endParaRPr lang="en-US" altLang="zh-TW" sz="2800" b="0" dirty="0">
              <a:latin typeface="微軟正黑體" pitchFamily="34" charset="-120"/>
              <a:ea typeface="微軟正黑體" pitchFamily="34" charset="-120"/>
            </a:endParaRPr>
          </a:p>
          <a:p>
            <a:endParaRPr lang="en-US" altLang="zh-TW" sz="2800" b="0" dirty="0" smtClean="0">
              <a:solidFill>
                <a:schemeClr val="tx1"/>
              </a:solidFill>
              <a:latin typeface="微軟正黑體" panose="020B0604030504040204" pitchFamily="34" charset="-120"/>
              <a:ea typeface="微軟正黑體" panose="020B0604030504040204" pitchFamily="34" charset="-120"/>
              <a:cs typeface="Segoe UI Light" pitchFamily="34" charset="0"/>
            </a:endParaRPr>
          </a:p>
        </p:txBody>
      </p:sp>
      <p:pic>
        <p:nvPicPr>
          <p:cNvPr id="4" name="Picture 3"/>
          <p:cNvPicPr>
            <a:picLocks noChangeAspect="1"/>
          </p:cNvPicPr>
          <p:nvPr/>
        </p:nvPicPr>
        <p:blipFill>
          <a:blip r:embed="rId3"/>
          <a:stretch>
            <a:fillRect/>
          </a:stretch>
        </p:blipFill>
        <p:spPr>
          <a:xfrm>
            <a:off x="4600418" y="1534565"/>
            <a:ext cx="4304149" cy="5078408"/>
          </a:xfrm>
          <a:prstGeom prst="rect">
            <a:avLst/>
          </a:prstGeom>
        </p:spPr>
      </p:pic>
    </p:spTree>
    <p:extLst>
      <p:ext uri="{BB962C8B-B14F-4D97-AF65-F5344CB8AC3E}">
        <p14:creationId xmlns:p14="http://schemas.microsoft.com/office/powerpoint/2010/main" val="393059185"/>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Content Placeholder 2"/>
          <p:cNvSpPr>
            <a:spLocks noGrp="1"/>
          </p:cNvSpPr>
          <p:nvPr>
            <p:ph idx="1"/>
          </p:nvPr>
        </p:nvSpPr>
        <p:spPr>
          <a:xfrm>
            <a:off x="457200" y="2428875"/>
            <a:ext cx="8229600" cy="3895725"/>
          </a:xfrm>
        </p:spPr>
        <p:txBody>
          <a:bodyPr/>
          <a:lstStyle/>
          <a:p>
            <a:pPr eaLnBrk="1" hangingPunct="1"/>
            <a:r>
              <a:rPr lang="zh-TW" altLang="en-US" sz="3200" smtClean="0">
                <a:latin typeface="微軟正黑體" panose="020B0604030504040204" pitchFamily="34" charset="-120"/>
                <a:ea typeface="微軟正黑體" panose="020B0604030504040204" pitchFamily="34" charset="-120"/>
              </a:rPr>
              <a:t>之前以為隨機版授權可以移轉，所以新的機器進來並沒有再買完整授權。現在我可以透過什麼方法進行合法授權</a:t>
            </a:r>
            <a:r>
              <a:rPr lang="en-US" altLang="zh-TW" sz="3200" smtClean="0">
                <a:latin typeface="微軟正黑體" panose="020B0604030504040204" pitchFamily="34" charset="-120"/>
                <a:ea typeface="微軟正黑體" panose="020B0604030504040204" pitchFamily="34" charset="-120"/>
              </a:rPr>
              <a:t>?</a:t>
            </a:r>
            <a:endParaRPr lang="zh-TW" altLang="en-US" sz="3200" dirty="0" smtClean="0">
              <a:latin typeface="微軟正黑體" panose="020B0604030504040204" pitchFamily="34" charset="-120"/>
              <a:ea typeface="微軟正黑體" panose="020B0604030504040204" pitchFamily="34" charset="-120"/>
            </a:endParaRPr>
          </a:p>
        </p:txBody>
      </p:sp>
      <p:sp>
        <p:nvSpPr>
          <p:cNvPr id="2" name="Title 1"/>
          <p:cNvSpPr>
            <a:spLocks noGrp="1"/>
          </p:cNvSpPr>
          <p:nvPr>
            <p:ph type="title"/>
          </p:nvPr>
        </p:nvSpPr>
        <p:spPr>
          <a:xfrm>
            <a:off x="594766" y="330070"/>
            <a:ext cx="8229600" cy="1143000"/>
          </a:xfrm>
        </p:spPr>
        <p:txBody>
          <a:bodyPr>
            <a:normAutofit fontScale="90000"/>
          </a:bodyPr>
          <a:lstStyle/>
          <a:p>
            <a:pPr>
              <a:defRPr/>
            </a:pPr>
            <a:r>
              <a:rPr lang="zh-TW" altLang="en-US" smtClean="0">
                <a:latin typeface="微軟正黑體" panose="020B0604030504040204" pitchFamily="34" charset="-120"/>
                <a:ea typeface="微軟正黑體" panose="020B0604030504040204" pitchFamily="34" charset="-120"/>
              </a:rPr>
              <a:t>常見微軟</a:t>
            </a:r>
            <a:r>
              <a:rPr lang="en-US" altLang="zh-TW" smtClean="0">
                <a:latin typeface="微軟正黑體" panose="020B0604030504040204" pitchFamily="34" charset="-120"/>
                <a:ea typeface="微軟正黑體" panose="020B0604030504040204" pitchFamily="34" charset="-120"/>
              </a:rPr>
              <a:t>Windows</a:t>
            </a:r>
            <a:r>
              <a:rPr lang="zh-TW" altLang="en-US" smtClean="0">
                <a:latin typeface="微軟正黑體" panose="020B0604030504040204" pitchFamily="34" charset="-120"/>
                <a:ea typeface="微軟正黑體" panose="020B0604030504040204" pitchFamily="34" charset="-120"/>
              </a:rPr>
              <a:t>作業系統授權疑問三</a:t>
            </a:r>
            <a:r>
              <a:rPr lang="en-US" altLang="zh-TW" smtClean="0">
                <a:latin typeface="微軟正黑體" panose="020B0604030504040204" pitchFamily="34" charset="-120"/>
                <a:ea typeface="微軟正黑體" panose="020B0604030504040204" pitchFamily="34" charset="-120"/>
              </a:rPr>
              <a:t>:</a:t>
            </a:r>
            <a:endParaRPr lang="zh-TW" altLang="en-US" dirty="0">
              <a:latin typeface="微軟正黑體" panose="020B0604030504040204" pitchFamily="34" charset="-120"/>
              <a:ea typeface="微軟正黑體" panose="020B0604030504040204" pitchFamily="34" charset="-120"/>
            </a:endParaRPr>
          </a:p>
        </p:txBody>
      </p:sp>
      <p:sp>
        <p:nvSpPr>
          <p:cNvPr id="3" name="投影片編號版面配置區 2"/>
          <p:cNvSpPr>
            <a:spLocks noGrp="1"/>
          </p:cNvSpPr>
          <p:nvPr>
            <p:ph type="sldNum" sz="quarter" idx="12"/>
          </p:nvPr>
        </p:nvSpPr>
        <p:spPr/>
        <p:txBody>
          <a:bodyPr/>
          <a:lstStyle/>
          <a:p>
            <a:pPr>
              <a:defRPr/>
            </a:pPr>
            <a:fld id="{1D9970BA-2F58-4996-9806-696110DA0FEA}" type="slidenum">
              <a:rPr lang="en-US" smtClean="0"/>
              <a:pPr>
                <a:defRPr/>
              </a:pPr>
              <a:t>23</a:t>
            </a:fld>
            <a:endParaRPr lang="zh-CN" altLang="en-US"/>
          </a:p>
        </p:txBody>
      </p:sp>
    </p:spTree>
    <p:extLst>
      <p:ext uri="{BB962C8B-B14F-4D97-AF65-F5344CB8AC3E}">
        <p14:creationId xmlns:p14="http://schemas.microsoft.com/office/powerpoint/2010/main" val="186453964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12"/>
          <p:cNvSpPr/>
          <p:nvPr/>
        </p:nvSpPr>
        <p:spPr bwMode="auto">
          <a:xfrm>
            <a:off x="4724400" y="2438400"/>
            <a:ext cx="4177158" cy="3810000"/>
          </a:xfrm>
          <a:prstGeom prst="roundRect">
            <a:avLst/>
          </a:prstGeom>
          <a:solidFill>
            <a:schemeClr val="accent5">
              <a:lumMod val="20000"/>
              <a:lumOff val="80000"/>
            </a:schemeClr>
          </a:solidFill>
          <a:ln>
            <a:headEnd type="none" w="med" len="med"/>
            <a:tailEnd type="none" w="med" len="med"/>
          </a:ln>
          <a:effectLst>
            <a:outerShdw blurRad="50800" dist="38100" dir="8100000" algn="tr" rotWithShape="0">
              <a:prstClr val="black">
                <a:alpha val="73000"/>
              </a:prstClr>
            </a:outerShdw>
          </a:effectLst>
          <a:scene3d>
            <a:camera prst="orthographicFront">
              <a:rot lat="0" lon="0" rev="0"/>
            </a:camera>
            <a:lightRig rig="threePt" dir="t">
              <a:rot lat="0" lon="0" rev="1200000"/>
            </a:lightRig>
          </a:scene3d>
          <a:sp3d>
            <a:bevelT/>
          </a:sp3d>
        </p:spPr>
        <p:style>
          <a:lnRef idx="0">
            <a:schemeClr val="accent3"/>
          </a:lnRef>
          <a:fillRef idx="3">
            <a:schemeClr val="accent3"/>
          </a:fillRef>
          <a:effectRef idx="3">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smtClean="0">
              <a:gradFill>
                <a:gsLst>
                  <a:gs pos="0">
                    <a:schemeClr val="bg1"/>
                  </a:gs>
                  <a:gs pos="100000">
                    <a:schemeClr val="bg1"/>
                  </a:gs>
                </a:gsLst>
                <a:lin ang="13500000" scaled="1"/>
              </a:gradFill>
              <a:effectLst>
                <a:outerShdw blurRad="38100" dist="38100" dir="2700000" algn="tl">
                  <a:srgbClr val="000000">
                    <a:alpha val="43137"/>
                  </a:srgbClr>
                </a:outerShdw>
              </a:effectLst>
              <a:latin typeface="Segoe" pitchFamily="34" charset="0"/>
            </a:endParaRPr>
          </a:p>
        </p:txBody>
      </p:sp>
      <p:sp>
        <p:nvSpPr>
          <p:cNvPr id="12" name="Rounded Rectangle 11"/>
          <p:cNvSpPr/>
          <p:nvPr/>
        </p:nvSpPr>
        <p:spPr bwMode="auto">
          <a:xfrm>
            <a:off x="381000" y="2438400"/>
            <a:ext cx="4114800" cy="3810000"/>
          </a:xfrm>
          <a:prstGeom prst="roundRect">
            <a:avLst/>
          </a:prstGeom>
          <a:solidFill>
            <a:schemeClr val="accent5">
              <a:lumMod val="20000"/>
              <a:lumOff val="80000"/>
            </a:schemeClr>
          </a:solidFill>
          <a:ln>
            <a:headEnd type="none" w="med" len="med"/>
            <a:tailEnd type="none" w="med" len="med"/>
          </a:ln>
          <a:effectLst>
            <a:outerShdw blurRad="50800" dist="38100" dir="8100000" algn="tr" rotWithShape="0">
              <a:prstClr val="black">
                <a:alpha val="73000"/>
              </a:prstClr>
            </a:outerShdw>
          </a:effectLst>
          <a:scene3d>
            <a:camera prst="orthographicFront">
              <a:rot lat="0" lon="0" rev="0"/>
            </a:camera>
            <a:lightRig rig="threePt" dir="t">
              <a:rot lat="0" lon="0" rev="1200000"/>
            </a:lightRig>
          </a:scene3d>
          <a:sp3d>
            <a:bevelT/>
          </a:sp3d>
        </p:spPr>
        <p:style>
          <a:lnRef idx="0">
            <a:schemeClr val="accent3"/>
          </a:lnRef>
          <a:fillRef idx="3">
            <a:schemeClr val="accent3"/>
          </a:fillRef>
          <a:effectRef idx="3">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smtClean="0">
              <a:gradFill>
                <a:gsLst>
                  <a:gs pos="0">
                    <a:schemeClr val="bg1"/>
                  </a:gs>
                  <a:gs pos="100000">
                    <a:schemeClr val="bg1"/>
                  </a:gs>
                </a:gsLst>
                <a:lin ang="13500000" scaled="1"/>
              </a:gradFill>
              <a:effectLst>
                <a:outerShdw blurRad="38100" dist="38100" dir="2700000" algn="tl">
                  <a:srgbClr val="000000">
                    <a:alpha val="43137"/>
                  </a:srgbClr>
                </a:outerShdw>
              </a:effectLst>
              <a:latin typeface="Segoe" pitchFamily="34" charset="0"/>
            </a:endParaRPr>
          </a:p>
        </p:txBody>
      </p:sp>
      <p:sp>
        <p:nvSpPr>
          <p:cNvPr id="3" name="Content Placeholder 2"/>
          <p:cNvSpPr>
            <a:spLocks noGrp="1"/>
          </p:cNvSpPr>
          <p:nvPr>
            <p:ph idx="1"/>
          </p:nvPr>
        </p:nvSpPr>
        <p:spPr>
          <a:xfrm>
            <a:off x="457200" y="2667000"/>
            <a:ext cx="3962400" cy="3581400"/>
          </a:xfrm>
        </p:spPr>
        <p:txBody>
          <a:bodyPr>
            <a:noAutofit/>
          </a:bodyPr>
          <a:lstStyle/>
          <a:p>
            <a:pPr marL="0" indent="0" algn="ctr">
              <a:buNone/>
            </a:pPr>
            <a:r>
              <a:rPr lang="zh-TW" altLang="en-US" sz="1600" smtClean="0">
                <a:latin typeface="微軟正黑體" pitchFamily="34" charset="-120"/>
                <a:ea typeface="微軟正黑體" pitchFamily="34" charset="-120"/>
              </a:rPr>
              <a:t>客戶情況：</a:t>
            </a:r>
          </a:p>
          <a:p>
            <a:pPr marL="0" indent="0" algn="ctr">
              <a:buNone/>
            </a:pPr>
            <a:endParaRPr lang="en-US" sz="1400" smtClean="0">
              <a:latin typeface="微軟正黑體" pitchFamily="34" charset="-120"/>
              <a:ea typeface="微軟正黑體" pitchFamily="34" charset="-120"/>
            </a:endParaRPr>
          </a:p>
          <a:p>
            <a:pPr algn="ctr"/>
            <a:endParaRPr lang="en-US" sz="1400" smtClean="0">
              <a:latin typeface="微軟正黑體" pitchFamily="34" charset="-120"/>
              <a:ea typeface="微軟正黑體" pitchFamily="34" charset="-120"/>
            </a:endParaRPr>
          </a:p>
          <a:p>
            <a:pPr algn="ctr"/>
            <a:endParaRPr lang="en-US" sz="1400" smtClean="0">
              <a:latin typeface="微軟正黑體" pitchFamily="34" charset="-120"/>
              <a:ea typeface="微軟正黑體" pitchFamily="34" charset="-120"/>
            </a:endParaRPr>
          </a:p>
          <a:p>
            <a:pPr marL="0" indent="0" algn="ctr">
              <a:buNone/>
            </a:pPr>
            <a:endParaRPr lang="en-US" sz="1400" smtClean="0">
              <a:latin typeface="微軟正黑體" pitchFamily="34" charset="-120"/>
              <a:ea typeface="微軟正黑體" pitchFamily="34" charset="-120"/>
            </a:endParaRPr>
          </a:p>
          <a:p>
            <a:pPr marL="0" indent="0" algn="ctr">
              <a:buNone/>
            </a:pPr>
            <a:endParaRPr lang="en-US" altLang="zh-TW" sz="1400" smtClean="0">
              <a:latin typeface="微軟正黑體" pitchFamily="34" charset="-120"/>
              <a:ea typeface="微軟正黑體" pitchFamily="34" charset="-120"/>
            </a:endParaRPr>
          </a:p>
          <a:p>
            <a:pPr marL="0" indent="0" algn="ctr">
              <a:buNone/>
            </a:pPr>
            <a:endParaRPr lang="en-US" altLang="zh-TW" sz="1400" smtClean="0">
              <a:latin typeface="微軟正黑體" pitchFamily="34" charset="-120"/>
              <a:ea typeface="微軟正黑體" pitchFamily="34" charset="-120"/>
            </a:endParaRPr>
          </a:p>
          <a:p>
            <a:pPr marL="0" indent="0" algn="ctr">
              <a:buNone/>
            </a:pPr>
            <a:endParaRPr lang="en-US" altLang="zh-TW" sz="1400" smtClean="0">
              <a:latin typeface="微軟正黑體" pitchFamily="34" charset="-120"/>
              <a:ea typeface="微軟正黑體" pitchFamily="34" charset="-120"/>
            </a:endParaRPr>
          </a:p>
          <a:p>
            <a:pPr marL="0" indent="0" algn="ctr">
              <a:buNone/>
            </a:pPr>
            <a:endParaRPr lang="en-US" altLang="zh-TW" sz="1400" smtClean="0">
              <a:latin typeface="微軟正黑體" pitchFamily="34" charset="-120"/>
              <a:ea typeface="微軟正黑體" pitchFamily="34" charset="-120"/>
            </a:endParaRPr>
          </a:p>
          <a:p>
            <a:pPr marL="0" indent="0" algn="ctr">
              <a:buNone/>
            </a:pPr>
            <a:endParaRPr lang="en-US" altLang="zh-TW" sz="1400" smtClean="0">
              <a:latin typeface="微軟正黑體" pitchFamily="34" charset="-120"/>
              <a:ea typeface="微軟正黑體" pitchFamily="34" charset="-120"/>
            </a:endParaRPr>
          </a:p>
          <a:p>
            <a:pPr marL="0" indent="0" algn="ctr">
              <a:buNone/>
            </a:pPr>
            <a:endParaRPr lang="en-US" altLang="zh-TW" sz="1400" smtClean="0">
              <a:latin typeface="微軟正黑體" pitchFamily="34" charset="-120"/>
              <a:ea typeface="微軟正黑體" pitchFamily="34" charset="-120"/>
            </a:endParaRPr>
          </a:p>
          <a:p>
            <a:pPr marL="0" indent="0" algn="ctr">
              <a:buNone/>
            </a:pPr>
            <a:r>
              <a:rPr lang="zh-TW" altLang="en-US" sz="1600" smtClean="0">
                <a:latin typeface="微軟正黑體" pitchFamily="34" charset="-120"/>
                <a:ea typeface="微軟正黑體" pitchFamily="34" charset="-120"/>
              </a:rPr>
              <a:t>缺乏底層</a:t>
            </a:r>
            <a:r>
              <a:rPr lang="en-US" altLang="zh-TW" sz="1600" smtClean="0">
                <a:latin typeface="微軟正黑體" pitchFamily="34" charset="-120"/>
                <a:ea typeface="微軟正黑體" pitchFamily="34" charset="-120"/>
              </a:rPr>
              <a:t>Windows</a:t>
            </a:r>
            <a:r>
              <a:rPr lang="zh-TW" altLang="en-US" sz="1600" smtClean="0">
                <a:latin typeface="微軟正黑體" pitchFamily="34" charset="-120"/>
                <a:ea typeface="微軟正黑體" pitchFamily="34" charset="-120"/>
              </a:rPr>
              <a:t>授權</a:t>
            </a:r>
            <a:endParaRPr lang="en-US" sz="1600" dirty="0">
              <a:latin typeface="微軟正黑體" pitchFamily="34" charset="-120"/>
              <a:ea typeface="微軟正黑體" pitchFamily="34" charset="-120"/>
            </a:endParaRPr>
          </a:p>
        </p:txBody>
      </p:sp>
      <p:sp>
        <p:nvSpPr>
          <p:cNvPr id="6" name="Up Arrow 5"/>
          <p:cNvSpPr/>
          <p:nvPr/>
        </p:nvSpPr>
        <p:spPr bwMode="auto">
          <a:xfrm>
            <a:off x="2362200" y="4724400"/>
            <a:ext cx="304800" cy="609600"/>
          </a:xfrm>
          <a:prstGeom prst="upArrow">
            <a:avLst/>
          </a:prstGeom>
          <a:solidFill>
            <a:schemeClr val="accent4"/>
          </a:solidFill>
          <a:ln>
            <a:headEnd type="none" w="med" len="med"/>
            <a:tailEnd type="none" w="med" len="med"/>
          </a:ln>
          <a:effectLst>
            <a:outerShdw blurRad="50800" dist="38100" dir="8100000" algn="tr" rotWithShape="0">
              <a:prstClr val="black">
                <a:alpha val="73000"/>
              </a:prstClr>
            </a:outerShdw>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smtClean="0">
              <a:gradFill>
                <a:gsLst>
                  <a:gs pos="0">
                    <a:schemeClr val="bg1"/>
                  </a:gs>
                  <a:gs pos="100000">
                    <a:schemeClr val="bg1"/>
                  </a:gs>
                </a:gsLst>
                <a:lin ang="13500000" scaled="1"/>
              </a:gradFill>
              <a:effectLst>
                <a:outerShdw blurRad="38100" dist="38100" dir="2700000" algn="tl">
                  <a:srgbClr val="000000">
                    <a:alpha val="43137"/>
                  </a:srgbClr>
                </a:outerShdw>
              </a:effectLst>
              <a:latin typeface="Segoe" pitchFamily="34" charset="0"/>
            </a:endParaRPr>
          </a:p>
        </p:txBody>
      </p:sp>
      <p:sp>
        <p:nvSpPr>
          <p:cNvPr id="7" name="Content Placeholder 2"/>
          <p:cNvSpPr txBox="1">
            <a:spLocks/>
          </p:cNvSpPr>
          <p:nvPr/>
        </p:nvSpPr>
        <p:spPr>
          <a:xfrm>
            <a:off x="4800600" y="2667000"/>
            <a:ext cx="3995853" cy="3429000"/>
          </a:xfrm>
          <a:prstGeom prst="rect">
            <a:avLst/>
          </a:prstGeom>
        </p:spPr>
        <p:txBody>
          <a:bodyPr vert="horz" lIns="91440" tIns="45720" rIns="91440" bIns="45720" rtlCol="0">
            <a:normAutofit lnSpcReduction="10000"/>
          </a:bodyPr>
          <a:lstStyle>
            <a:lvl1pPr marL="342900" indent="-342900" algn="l" defTabSz="457200" rtl="0" eaLnBrk="1" latinLnBrk="0" hangingPunct="1">
              <a:spcBef>
                <a:spcPct val="20000"/>
              </a:spcBef>
              <a:buClr>
                <a:schemeClr val="tx2"/>
              </a:buClr>
              <a:buSzPct val="75000"/>
              <a:buFontTx/>
              <a:buBlip>
                <a:blip r:embed="rId2"/>
              </a:buBlip>
              <a:defRPr sz="2300" b="0" i="0" kern="1200">
                <a:gradFill>
                  <a:gsLst>
                    <a:gs pos="0">
                      <a:schemeClr val="tx1">
                        <a:lumMod val="75000"/>
                        <a:lumOff val="25000"/>
                      </a:schemeClr>
                    </a:gs>
                    <a:gs pos="100000">
                      <a:schemeClr val="tx1">
                        <a:lumMod val="75000"/>
                        <a:lumOff val="25000"/>
                      </a:schemeClr>
                    </a:gs>
                  </a:gsLst>
                  <a:lin ang="5400000" scaled="0"/>
                </a:gradFill>
                <a:latin typeface="+mn-lt"/>
                <a:ea typeface="+mn-ea"/>
                <a:cs typeface="Segoe"/>
              </a:defRPr>
            </a:lvl1pPr>
            <a:lvl2pPr marL="914400" indent="-457200" algn="l" defTabSz="457200" rtl="0" eaLnBrk="1" latinLnBrk="0" hangingPunct="1">
              <a:spcBef>
                <a:spcPct val="20000"/>
              </a:spcBef>
              <a:buClr>
                <a:schemeClr val="tx2"/>
              </a:buClr>
              <a:buSzPct val="75000"/>
              <a:buFontTx/>
              <a:buBlip>
                <a:blip r:embed="rId3"/>
              </a:buBlip>
              <a:defRPr sz="2100" b="0" i="0" kern="1200">
                <a:gradFill>
                  <a:gsLst>
                    <a:gs pos="0">
                      <a:schemeClr val="tx1">
                        <a:lumMod val="75000"/>
                        <a:lumOff val="25000"/>
                      </a:schemeClr>
                    </a:gs>
                    <a:gs pos="100000">
                      <a:schemeClr val="tx1">
                        <a:lumMod val="75000"/>
                        <a:lumOff val="25000"/>
                      </a:schemeClr>
                    </a:gs>
                  </a:gsLst>
                  <a:lin ang="5400000" scaled="0"/>
                </a:gradFill>
                <a:latin typeface="+mn-lt"/>
                <a:ea typeface="+mn-ea"/>
                <a:cs typeface="Segoe"/>
              </a:defRPr>
            </a:lvl2pPr>
            <a:lvl3pPr marL="1257300" indent="-342900" algn="l" defTabSz="457200" rtl="0" eaLnBrk="1" latinLnBrk="0" hangingPunct="1">
              <a:spcBef>
                <a:spcPct val="20000"/>
              </a:spcBef>
              <a:buClr>
                <a:schemeClr val="tx2"/>
              </a:buClr>
              <a:buSzPct val="75000"/>
              <a:buFontTx/>
              <a:buBlip>
                <a:blip r:embed="rId3"/>
              </a:buBlip>
              <a:defRPr sz="1800" b="0" i="0" kern="1200">
                <a:gradFill>
                  <a:gsLst>
                    <a:gs pos="0">
                      <a:schemeClr val="tx1">
                        <a:lumMod val="75000"/>
                        <a:lumOff val="25000"/>
                      </a:schemeClr>
                    </a:gs>
                    <a:gs pos="100000">
                      <a:schemeClr val="tx1">
                        <a:lumMod val="75000"/>
                        <a:lumOff val="25000"/>
                      </a:schemeClr>
                    </a:gs>
                  </a:gsLst>
                  <a:lin ang="5400000" scaled="0"/>
                </a:gradFill>
                <a:latin typeface="+mn-lt"/>
                <a:ea typeface="+mn-ea"/>
                <a:cs typeface="Segoe"/>
              </a:defRPr>
            </a:lvl3pPr>
            <a:lvl4pPr marL="1714500" indent="-342900" algn="l" defTabSz="457200" rtl="0" eaLnBrk="1" latinLnBrk="0" hangingPunct="1">
              <a:spcBef>
                <a:spcPct val="20000"/>
              </a:spcBef>
              <a:buClr>
                <a:schemeClr val="tx2"/>
              </a:buClr>
              <a:buSzPct val="75000"/>
              <a:buFontTx/>
              <a:buBlip>
                <a:blip r:embed="rId3"/>
              </a:buBlip>
              <a:defRPr sz="1800" b="0" i="0" u="none" kern="1200">
                <a:gradFill>
                  <a:gsLst>
                    <a:gs pos="0">
                      <a:schemeClr val="tx1">
                        <a:lumMod val="75000"/>
                        <a:lumOff val="25000"/>
                      </a:schemeClr>
                    </a:gs>
                    <a:gs pos="100000">
                      <a:schemeClr val="tx1">
                        <a:lumMod val="75000"/>
                        <a:lumOff val="25000"/>
                      </a:schemeClr>
                    </a:gs>
                  </a:gsLst>
                  <a:lin ang="5400000" scaled="0"/>
                </a:gradFill>
                <a:latin typeface="+mn-lt"/>
                <a:ea typeface="+mn-ea"/>
                <a:cs typeface="Segoe"/>
              </a:defRPr>
            </a:lvl4pPr>
            <a:lvl5pPr marL="2057400" indent="-228600" algn="l" defTabSz="457200" rtl="0" eaLnBrk="1" latinLnBrk="0" hangingPunct="1">
              <a:spcBef>
                <a:spcPct val="20000"/>
              </a:spcBef>
              <a:buFont typeface="Arial"/>
              <a:buChar char="»"/>
              <a:defRPr sz="2000" b="0" i="0" u="none" kern="1200">
                <a:solidFill>
                  <a:schemeClr val="tx1">
                    <a:lumMod val="75000"/>
                    <a:lumOff val="25000"/>
                  </a:schemeClr>
                </a:solidFill>
                <a:latin typeface="Segoe"/>
                <a:ea typeface="+mn-ea"/>
                <a:cs typeface="Sego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FontTx/>
              <a:buNone/>
            </a:pPr>
            <a:r>
              <a:rPr lang="zh-TW" altLang="en-US" sz="1700" dirty="0" smtClean="0">
                <a:latin typeface="微軟正黑體" pitchFamily="34" charset="-120"/>
                <a:ea typeface="微軟正黑體" pitchFamily="34" charset="-120"/>
              </a:rPr>
              <a:t>最佳解決方案：</a:t>
            </a:r>
            <a:endParaRPr lang="en-US" altLang="zh-TW" sz="1700" dirty="0" smtClean="0">
              <a:latin typeface="微軟正黑體" pitchFamily="34" charset="-120"/>
              <a:ea typeface="微軟正黑體" pitchFamily="34" charset="-120"/>
            </a:endParaRPr>
          </a:p>
          <a:p>
            <a:pPr marL="0" indent="0" algn="ctr">
              <a:buFontTx/>
              <a:buNone/>
            </a:pPr>
            <a:endParaRPr lang="en-US" sz="1600" dirty="0" smtClean="0">
              <a:latin typeface="微軟正黑體" pitchFamily="34" charset="-120"/>
              <a:ea typeface="微軟正黑體" pitchFamily="34" charset="-120"/>
            </a:endParaRPr>
          </a:p>
          <a:p>
            <a:pPr marL="0" indent="0" algn="ctr">
              <a:buFontTx/>
              <a:buNone/>
            </a:pPr>
            <a:endParaRPr lang="en-US" sz="1400" dirty="0" smtClean="0">
              <a:latin typeface="微軟正黑體" pitchFamily="34" charset="-120"/>
              <a:ea typeface="微軟正黑體" pitchFamily="34" charset="-120"/>
            </a:endParaRPr>
          </a:p>
          <a:p>
            <a:pPr marL="0" indent="0" algn="ctr">
              <a:buFontTx/>
              <a:buNone/>
            </a:pPr>
            <a:endParaRPr lang="en-US" sz="1400" dirty="0" smtClean="0">
              <a:latin typeface="微軟正黑體" pitchFamily="34" charset="-120"/>
              <a:ea typeface="微軟正黑體" pitchFamily="34" charset="-120"/>
            </a:endParaRPr>
          </a:p>
          <a:p>
            <a:pPr marL="0" indent="0" algn="ctr">
              <a:buFontTx/>
              <a:buNone/>
            </a:pPr>
            <a:endParaRPr lang="en-US" sz="1400" dirty="0" smtClean="0">
              <a:latin typeface="微軟正黑體" pitchFamily="34" charset="-120"/>
              <a:ea typeface="微軟正黑體" pitchFamily="34" charset="-120"/>
            </a:endParaRPr>
          </a:p>
          <a:p>
            <a:pPr marL="0" indent="0" algn="ctr">
              <a:buFontTx/>
              <a:buNone/>
            </a:pPr>
            <a:endParaRPr lang="en-US" sz="1400" dirty="0">
              <a:latin typeface="微軟正黑體" pitchFamily="34" charset="-120"/>
              <a:ea typeface="微軟正黑體" pitchFamily="34" charset="-120"/>
            </a:endParaRPr>
          </a:p>
          <a:p>
            <a:pPr marL="0" indent="0" algn="ctr">
              <a:buFontTx/>
              <a:buNone/>
            </a:pPr>
            <a:endParaRPr lang="en-US" sz="1400" dirty="0" smtClean="0">
              <a:latin typeface="微軟正黑體" pitchFamily="34" charset="-120"/>
              <a:ea typeface="微軟正黑體" pitchFamily="34" charset="-120"/>
            </a:endParaRPr>
          </a:p>
          <a:p>
            <a:pPr algn="ctr"/>
            <a:endParaRPr lang="en-US" sz="1400" dirty="0" smtClean="0">
              <a:latin typeface="微軟正黑體" pitchFamily="34" charset="-120"/>
              <a:ea typeface="微軟正黑體" pitchFamily="34" charset="-120"/>
            </a:endParaRPr>
          </a:p>
          <a:p>
            <a:pPr algn="ctr"/>
            <a:endParaRPr lang="en-US" sz="1400" dirty="0" smtClean="0">
              <a:latin typeface="微軟正黑體" pitchFamily="34" charset="-120"/>
              <a:ea typeface="微軟正黑體" pitchFamily="34" charset="-120"/>
            </a:endParaRPr>
          </a:p>
          <a:p>
            <a:pPr marL="0" indent="0" algn="ctr">
              <a:buFontTx/>
              <a:buNone/>
            </a:pPr>
            <a:endParaRPr lang="en-US" sz="1400" dirty="0" smtClean="0">
              <a:latin typeface="微軟正黑體" pitchFamily="34" charset="-120"/>
              <a:ea typeface="微軟正黑體" pitchFamily="34" charset="-120"/>
            </a:endParaRPr>
          </a:p>
          <a:p>
            <a:pPr marL="0" indent="0" algn="ctr">
              <a:buFontTx/>
              <a:buNone/>
            </a:pPr>
            <a:endParaRPr lang="en-US" altLang="zh-TW" sz="1400" dirty="0" smtClean="0">
              <a:latin typeface="微軟正黑體" pitchFamily="34" charset="-120"/>
              <a:ea typeface="微軟正黑體" pitchFamily="34" charset="-120"/>
            </a:endParaRPr>
          </a:p>
          <a:p>
            <a:pPr marL="0" indent="0" algn="ctr">
              <a:buFontTx/>
              <a:buNone/>
            </a:pPr>
            <a:endParaRPr lang="en-US" altLang="zh-TW" sz="1600" dirty="0" smtClean="0">
              <a:latin typeface="微軟正黑體" pitchFamily="34" charset="-120"/>
              <a:ea typeface="微軟正黑體" pitchFamily="34" charset="-120"/>
            </a:endParaRPr>
          </a:p>
          <a:p>
            <a:pPr marL="0" indent="0" algn="ctr">
              <a:buFontTx/>
              <a:buNone/>
            </a:pPr>
            <a:r>
              <a:rPr lang="zh-TW" altLang="en-US" sz="1600" dirty="0" smtClean="0">
                <a:latin typeface="微軟正黑體" pitchFamily="34" charset="-120"/>
                <a:ea typeface="微軟正黑體" pitchFamily="34" charset="-120"/>
              </a:rPr>
              <a:t>自</a:t>
            </a:r>
            <a:r>
              <a:rPr lang="en-US" altLang="zh-TW" sz="1600" dirty="0" smtClean="0">
                <a:latin typeface="微軟正黑體" pitchFamily="34" charset="-120"/>
                <a:ea typeface="微軟正黑體" pitchFamily="34" charset="-120"/>
              </a:rPr>
              <a:t>GGWA</a:t>
            </a:r>
            <a:r>
              <a:rPr lang="zh-TW" altLang="en-US" sz="1600" dirty="0" smtClean="0">
                <a:latin typeface="微軟正黑體" pitchFamily="34" charset="-120"/>
                <a:ea typeface="微軟正黑體" pitchFamily="34" charset="-120"/>
              </a:rPr>
              <a:t>取得的</a:t>
            </a:r>
            <a:r>
              <a:rPr lang="en-US" altLang="zh-TW" sz="1600" dirty="0" smtClean="0">
                <a:latin typeface="微軟正黑體" pitchFamily="34" charset="-120"/>
                <a:ea typeface="微軟正黑體" pitchFamily="34" charset="-120"/>
              </a:rPr>
              <a:t>Windows </a:t>
            </a:r>
            <a:r>
              <a:rPr lang="zh-TW" altLang="en-US" sz="1600" dirty="0" smtClean="0">
                <a:latin typeface="微軟正黑體" pitchFamily="34" charset="-120"/>
                <a:ea typeface="微軟正黑體" pitchFamily="34" charset="-120"/>
              </a:rPr>
              <a:t>完整版</a:t>
            </a:r>
            <a:endParaRPr lang="en-US" altLang="zh-TW" sz="1600" dirty="0" smtClean="0">
              <a:latin typeface="微軟正黑體" pitchFamily="34" charset="-120"/>
              <a:ea typeface="微軟正黑體" pitchFamily="34" charset="-120"/>
            </a:endParaRPr>
          </a:p>
        </p:txBody>
      </p:sp>
      <p:sp>
        <p:nvSpPr>
          <p:cNvPr id="8" name="Rectangle 7"/>
          <p:cNvSpPr/>
          <p:nvPr/>
        </p:nvSpPr>
        <p:spPr bwMode="auto">
          <a:xfrm>
            <a:off x="5410200" y="3276600"/>
            <a:ext cx="2743200" cy="1333500"/>
          </a:xfrm>
          <a:prstGeom prst="rect">
            <a:avLst/>
          </a:prstGeom>
          <a:solidFill>
            <a:schemeClr val="accent4"/>
          </a:solidFill>
          <a:ln>
            <a:headEnd type="none" w="med" len="med"/>
            <a:tailEnd type="none" w="med" len="med"/>
          </a:ln>
          <a:effectLst>
            <a:outerShdw blurRad="50800" dist="38100" dir="8100000" algn="tr" rotWithShape="0">
              <a:prstClr val="black">
                <a:alpha val="73000"/>
              </a:prstClr>
            </a:outerShdw>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altLang="zh-TW" sz="1600" b="1" dirty="0" smtClean="0">
                <a:gradFill>
                  <a:gsLst>
                    <a:gs pos="0">
                      <a:schemeClr val="bg1"/>
                    </a:gs>
                    <a:gs pos="100000">
                      <a:schemeClr val="bg1"/>
                    </a:gs>
                  </a:gsLst>
                  <a:lin ang="13500000" scaled="1"/>
                </a:gradFill>
                <a:latin typeface="微軟正黑體" pitchFamily="34" charset="-120"/>
                <a:ea typeface="微軟正黑體" pitchFamily="34" charset="-120"/>
              </a:rPr>
              <a:t>GGWA</a:t>
            </a:r>
            <a:endParaRPr lang="en-US" sz="1600" b="1" dirty="0" smtClean="0">
              <a:gradFill>
                <a:gsLst>
                  <a:gs pos="0">
                    <a:schemeClr val="bg1"/>
                  </a:gs>
                  <a:gs pos="100000">
                    <a:schemeClr val="bg1"/>
                  </a:gs>
                </a:gsLst>
                <a:lin ang="13500000" scaled="1"/>
              </a:gradFill>
              <a:latin typeface="微軟正黑體" pitchFamily="34" charset="-120"/>
              <a:ea typeface="微軟正黑體" pitchFamily="34" charset="-120"/>
            </a:endParaRPr>
          </a:p>
        </p:txBody>
      </p:sp>
      <p:sp>
        <p:nvSpPr>
          <p:cNvPr id="4" name="TextBox 3"/>
          <p:cNvSpPr txBox="1"/>
          <p:nvPr/>
        </p:nvSpPr>
        <p:spPr>
          <a:xfrm>
            <a:off x="719253" y="598557"/>
            <a:ext cx="8077200" cy="1200329"/>
          </a:xfrm>
          <a:prstGeom prst="rect">
            <a:avLst/>
          </a:prstGeom>
          <a:noFill/>
        </p:spPr>
        <p:txBody>
          <a:bodyPr wrap="square" rtlCol="0">
            <a:spAutoFit/>
          </a:bodyPr>
          <a:lstStyle/>
          <a:p>
            <a:r>
              <a:rPr lang="zh-TW" altLang="en-US" sz="2400" b="1" dirty="0" smtClean="0">
                <a:gradFill>
                  <a:gsLst>
                    <a:gs pos="0">
                      <a:schemeClr val="tx1">
                        <a:lumMod val="75000"/>
                        <a:lumOff val="25000"/>
                      </a:schemeClr>
                    </a:gs>
                    <a:gs pos="99000">
                      <a:schemeClr val="tx1">
                        <a:lumMod val="75000"/>
                        <a:lumOff val="25000"/>
                      </a:schemeClr>
                    </a:gs>
                  </a:gsLst>
                  <a:lin ang="5400000" scaled="0"/>
                </a:gradFill>
                <a:latin typeface="微軟正黑體" pitchFamily="34" charset="-120"/>
                <a:ea typeface="微軟正黑體" pitchFamily="34" charset="-120"/>
              </a:rPr>
              <a:t>情境</a:t>
            </a:r>
            <a:r>
              <a:rPr lang="zh-TW" altLang="en-US" sz="2400" dirty="0" smtClean="0">
                <a:gradFill>
                  <a:gsLst>
                    <a:gs pos="0">
                      <a:schemeClr val="tx1">
                        <a:lumMod val="75000"/>
                        <a:lumOff val="25000"/>
                      </a:schemeClr>
                    </a:gs>
                    <a:gs pos="99000">
                      <a:schemeClr val="tx1">
                        <a:lumMod val="75000"/>
                        <a:lumOff val="25000"/>
                      </a:schemeClr>
                    </a:gs>
                  </a:gsLst>
                  <a:lin ang="5400000" scaled="0"/>
                </a:gradFill>
                <a:latin typeface="微軟正黑體" pitchFamily="34" charset="-120"/>
                <a:ea typeface="微軟正黑體" pitchFamily="34" charset="-120"/>
              </a:rPr>
              <a:t>：</a:t>
            </a:r>
            <a:r>
              <a:rPr lang="en-US" altLang="zh-TW" sz="2400" dirty="0" smtClean="0">
                <a:gradFill>
                  <a:gsLst>
                    <a:gs pos="0">
                      <a:schemeClr val="tx1">
                        <a:lumMod val="75000"/>
                        <a:lumOff val="25000"/>
                      </a:schemeClr>
                    </a:gs>
                    <a:gs pos="99000">
                      <a:schemeClr val="tx1">
                        <a:lumMod val="75000"/>
                        <a:lumOff val="25000"/>
                      </a:schemeClr>
                    </a:gs>
                  </a:gsLst>
                  <a:lin ang="5400000" scaled="0"/>
                </a:gradFill>
                <a:latin typeface="微軟正黑體" pitchFamily="34" charset="-120"/>
                <a:ea typeface="微軟正黑體" pitchFamily="34" charset="-120"/>
              </a:rPr>
              <a:t>A</a:t>
            </a:r>
            <a:r>
              <a:rPr lang="zh-TW" altLang="en-US" sz="2400" dirty="0" smtClean="0">
                <a:gradFill>
                  <a:gsLst>
                    <a:gs pos="0">
                      <a:schemeClr val="tx1">
                        <a:lumMod val="75000"/>
                        <a:lumOff val="25000"/>
                      </a:schemeClr>
                    </a:gs>
                    <a:gs pos="99000">
                      <a:schemeClr val="tx1">
                        <a:lumMod val="75000"/>
                        <a:lumOff val="25000"/>
                      </a:schemeClr>
                    </a:gs>
                  </a:gsLst>
                  <a:lin ang="5400000" scaled="0"/>
                </a:gradFill>
                <a:latin typeface="微軟正黑體" pitchFamily="34" charset="-120"/>
                <a:ea typeface="微軟正黑體" pitchFamily="34" charset="-120"/>
              </a:rPr>
              <a:t> </a:t>
            </a:r>
            <a:r>
              <a:rPr lang="zh-TW" altLang="en-US" sz="2400" dirty="0">
                <a:gradFill>
                  <a:gsLst>
                    <a:gs pos="0">
                      <a:schemeClr val="tx1">
                        <a:lumMod val="75000"/>
                        <a:lumOff val="25000"/>
                      </a:schemeClr>
                    </a:gs>
                    <a:gs pos="99000">
                      <a:schemeClr val="tx1">
                        <a:lumMod val="75000"/>
                        <a:lumOff val="25000"/>
                      </a:schemeClr>
                    </a:gs>
                  </a:gsLst>
                  <a:lin ang="5400000" scaled="0"/>
                </a:gradFill>
                <a:latin typeface="微軟正黑體" pitchFamily="34" charset="-120"/>
                <a:ea typeface="微軟正黑體" pitchFamily="34" charset="-120"/>
              </a:rPr>
              <a:t>客戶</a:t>
            </a:r>
            <a:r>
              <a:rPr lang="zh-TW" altLang="en-US" sz="2400" dirty="0" smtClean="0">
                <a:gradFill>
                  <a:gsLst>
                    <a:gs pos="0">
                      <a:schemeClr val="tx1">
                        <a:lumMod val="75000"/>
                        <a:lumOff val="25000"/>
                      </a:schemeClr>
                    </a:gs>
                    <a:gs pos="99000">
                      <a:schemeClr val="tx1">
                        <a:lumMod val="75000"/>
                        <a:lumOff val="25000"/>
                      </a:schemeClr>
                    </a:gs>
                  </a:gsLst>
                  <a:lin ang="5400000" scaled="0"/>
                </a:gradFill>
                <a:latin typeface="微軟正黑體" pitchFamily="34" charset="-120"/>
                <a:ea typeface="微軟正黑體" pitchFamily="34" charset="-120"/>
              </a:rPr>
              <a:t>採購電腦時，沒有預先安裝</a:t>
            </a:r>
            <a:r>
              <a:rPr lang="en-US" altLang="zh-TW" sz="2400" dirty="0" smtClean="0">
                <a:gradFill>
                  <a:gsLst>
                    <a:gs pos="0">
                      <a:schemeClr val="tx1">
                        <a:lumMod val="75000"/>
                        <a:lumOff val="25000"/>
                      </a:schemeClr>
                    </a:gs>
                    <a:gs pos="99000">
                      <a:schemeClr val="tx1">
                        <a:lumMod val="75000"/>
                        <a:lumOff val="25000"/>
                      </a:schemeClr>
                    </a:gs>
                  </a:gsLst>
                  <a:lin ang="5400000" scaled="0"/>
                </a:gradFill>
                <a:latin typeface="微軟正黑體" pitchFamily="34" charset="-120"/>
                <a:ea typeface="微軟正黑體" pitchFamily="34" charset="-120"/>
              </a:rPr>
              <a:t>Windows</a:t>
            </a:r>
            <a:r>
              <a:rPr lang="zh-TW" altLang="en-US" sz="2400" dirty="0" smtClean="0">
                <a:gradFill>
                  <a:gsLst>
                    <a:gs pos="0">
                      <a:schemeClr val="tx1">
                        <a:lumMod val="75000"/>
                        <a:lumOff val="25000"/>
                      </a:schemeClr>
                    </a:gs>
                    <a:gs pos="99000">
                      <a:schemeClr val="tx1">
                        <a:lumMod val="75000"/>
                        <a:lumOff val="25000"/>
                      </a:schemeClr>
                    </a:gs>
                  </a:gsLst>
                  <a:lin ang="5400000" scaled="0"/>
                </a:gradFill>
                <a:latin typeface="微軟正黑體" pitchFamily="34" charset="-120"/>
                <a:ea typeface="微軟正黑體" pitchFamily="34" charset="-120"/>
              </a:rPr>
              <a:t>作業系統，然後使用大量授權的</a:t>
            </a:r>
            <a:r>
              <a:rPr lang="en-US" altLang="zh-TW" sz="2400" dirty="0" smtClean="0">
                <a:gradFill>
                  <a:gsLst>
                    <a:gs pos="0">
                      <a:schemeClr val="tx1">
                        <a:lumMod val="75000"/>
                        <a:lumOff val="25000"/>
                      </a:schemeClr>
                    </a:gs>
                    <a:gs pos="99000">
                      <a:schemeClr val="tx1">
                        <a:lumMod val="75000"/>
                        <a:lumOff val="25000"/>
                      </a:schemeClr>
                    </a:gs>
                  </a:gsLst>
                  <a:lin ang="5400000" scaled="0"/>
                </a:gradFill>
                <a:latin typeface="微軟正黑體" pitchFamily="34" charset="-120"/>
                <a:ea typeface="微軟正黑體" pitchFamily="34" charset="-120"/>
              </a:rPr>
              <a:t>Windows</a:t>
            </a:r>
            <a:r>
              <a:rPr lang="zh-TW" altLang="en-US" sz="2400" dirty="0" smtClean="0">
                <a:gradFill>
                  <a:gsLst>
                    <a:gs pos="0">
                      <a:schemeClr val="tx1">
                        <a:lumMod val="75000"/>
                        <a:lumOff val="25000"/>
                      </a:schemeClr>
                    </a:gs>
                    <a:gs pos="99000">
                      <a:schemeClr val="tx1">
                        <a:lumMod val="75000"/>
                        <a:lumOff val="25000"/>
                      </a:schemeClr>
                    </a:gs>
                  </a:gsLst>
                  <a:lin ang="5400000" scaled="0"/>
                </a:gradFill>
                <a:latin typeface="微軟正黑體" pitchFamily="34" charset="-120"/>
                <a:ea typeface="微軟正黑體" pitchFamily="34" charset="-120"/>
              </a:rPr>
              <a:t>升級版去安裝電腦裡的作業系統。</a:t>
            </a:r>
            <a:endParaRPr lang="en-US" sz="2400" dirty="0" err="1" smtClean="0">
              <a:gradFill>
                <a:gsLst>
                  <a:gs pos="0">
                    <a:schemeClr val="tx1">
                      <a:lumMod val="75000"/>
                      <a:lumOff val="25000"/>
                    </a:schemeClr>
                  </a:gs>
                  <a:gs pos="99000">
                    <a:schemeClr val="tx1">
                      <a:lumMod val="75000"/>
                      <a:lumOff val="25000"/>
                    </a:schemeClr>
                  </a:gs>
                </a:gsLst>
                <a:lin ang="5400000" scaled="0"/>
              </a:gradFill>
              <a:latin typeface="微軟正黑體" pitchFamily="34" charset="-120"/>
              <a:ea typeface="微軟正黑體" pitchFamily="34" charset="-120"/>
            </a:endParaRPr>
          </a:p>
        </p:txBody>
      </p:sp>
      <p:sp>
        <p:nvSpPr>
          <p:cNvPr id="14" name="Rectangle 13"/>
          <p:cNvSpPr/>
          <p:nvPr/>
        </p:nvSpPr>
        <p:spPr bwMode="auto">
          <a:xfrm>
            <a:off x="1066800" y="4114800"/>
            <a:ext cx="2743200" cy="495300"/>
          </a:xfrm>
          <a:prstGeom prst="rect">
            <a:avLst/>
          </a:prstGeom>
          <a:solidFill>
            <a:schemeClr val="accent4"/>
          </a:solidFill>
          <a:ln>
            <a:headEnd type="none" w="med" len="med"/>
            <a:tailEnd type="none" w="med" len="med"/>
          </a:ln>
          <a:effectLst>
            <a:outerShdw blurRad="50800" dist="38100" dir="8100000" algn="tr" rotWithShape="0">
              <a:prstClr val="black">
                <a:alpha val="73000"/>
              </a:prstClr>
            </a:outerShdw>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zh-TW" altLang="en-US" sz="1400" dirty="0" smtClean="0">
                <a:gradFill>
                  <a:gsLst>
                    <a:gs pos="0">
                      <a:schemeClr val="bg1"/>
                    </a:gs>
                    <a:gs pos="100000">
                      <a:schemeClr val="bg1"/>
                    </a:gs>
                  </a:gsLst>
                  <a:lin ang="13500000" scaled="1"/>
                </a:gradFill>
                <a:latin typeface="微軟正黑體" pitchFamily="34" charset="-120"/>
                <a:ea typeface="微軟正黑體" pitchFamily="34" charset="-120"/>
              </a:rPr>
              <a:t>完整</a:t>
            </a:r>
            <a:r>
              <a:rPr lang="en-US" altLang="zh-TW" sz="1400" dirty="0">
                <a:gradFill>
                  <a:gsLst>
                    <a:gs pos="0">
                      <a:schemeClr val="bg1"/>
                    </a:gs>
                    <a:gs pos="100000">
                      <a:schemeClr val="bg1"/>
                    </a:gs>
                  </a:gsLst>
                  <a:lin ang="13500000" scaled="1"/>
                </a:gradFill>
                <a:latin typeface="微軟正黑體" pitchFamily="34" charset="-120"/>
                <a:ea typeface="微軟正黑體" pitchFamily="34" charset="-120"/>
              </a:rPr>
              <a:t>W</a:t>
            </a:r>
            <a:r>
              <a:rPr lang="en-US" altLang="zh-TW" sz="1400" dirty="0" smtClean="0">
                <a:gradFill>
                  <a:gsLst>
                    <a:gs pos="0">
                      <a:schemeClr val="bg1"/>
                    </a:gs>
                    <a:gs pos="100000">
                      <a:schemeClr val="bg1"/>
                    </a:gs>
                  </a:gsLst>
                  <a:lin ang="13500000" scaled="1"/>
                </a:gradFill>
                <a:latin typeface="微軟正黑體" pitchFamily="34" charset="-120"/>
                <a:ea typeface="微軟正黑體" pitchFamily="34" charset="-120"/>
              </a:rPr>
              <a:t>indows</a:t>
            </a:r>
            <a:r>
              <a:rPr lang="zh-TW" altLang="en-US" sz="1400" dirty="0" smtClean="0">
                <a:gradFill>
                  <a:gsLst>
                    <a:gs pos="0">
                      <a:schemeClr val="bg1"/>
                    </a:gs>
                    <a:gs pos="100000">
                      <a:schemeClr val="bg1"/>
                    </a:gs>
                  </a:gsLst>
                  <a:lin ang="13500000" scaled="1"/>
                </a:gradFill>
                <a:latin typeface="微軟正黑體" pitchFamily="34" charset="-120"/>
                <a:ea typeface="微軟正黑體" pitchFamily="34" charset="-120"/>
              </a:rPr>
              <a:t>授權</a:t>
            </a:r>
            <a:endParaRPr lang="en-US" sz="1400" dirty="0" smtClean="0">
              <a:gradFill>
                <a:gsLst>
                  <a:gs pos="0">
                    <a:schemeClr val="bg1"/>
                  </a:gs>
                  <a:gs pos="100000">
                    <a:schemeClr val="bg1"/>
                  </a:gs>
                </a:gsLst>
                <a:lin ang="13500000" scaled="1"/>
              </a:gradFill>
              <a:latin typeface="微軟正黑體" pitchFamily="34" charset="-120"/>
              <a:ea typeface="微軟正黑體" pitchFamily="34" charset="-120"/>
            </a:endParaRPr>
          </a:p>
        </p:txBody>
      </p:sp>
      <p:cxnSp>
        <p:nvCxnSpPr>
          <p:cNvPr id="16" name="Straight Connector 15"/>
          <p:cNvCxnSpPr/>
          <p:nvPr/>
        </p:nvCxnSpPr>
        <p:spPr>
          <a:xfrm>
            <a:off x="1066800" y="4152900"/>
            <a:ext cx="2743200" cy="457200"/>
          </a:xfrm>
          <a:prstGeom prst="line">
            <a:avLst/>
          </a:prstGeom>
          <a:ln>
            <a:solidFill>
              <a:srgbClr val="FFFF00"/>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flipH="1">
            <a:off x="1049079" y="4108598"/>
            <a:ext cx="2743200" cy="495300"/>
          </a:xfrm>
          <a:prstGeom prst="line">
            <a:avLst/>
          </a:prstGeom>
          <a:ln>
            <a:solidFill>
              <a:srgbClr val="FFFF00"/>
            </a:solidFill>
          </a:ln>
        </p:spPr>
        <p:style>
          <a:lnRef idx="2">
            <a:schemeClr val="accent1"/>
          </a:lnRef>
          <a:fillRef idx="0">
            <a:schemeClr val="accent1"/>
          </a:fillRef>
          <a:effectRef idx="1">
            <a:schemeClr val="accent1"/>
          </a:effectRef>
          <a:fontRef idx="minor">
            <a:schemeClr val="tx1"/>
          </a:fontRef>
        </p:style>
      </p:cxnSp>
      <p:sp>
        <p:nvSpPr>
          <p:cNvPr id="19" name="Rectangle 18"/>
          <p:cNvSpPr/>
          <p:nvPr/>
        </p:nvSpPr>
        <p:spPr bwMode="auto">
          <a:xfrm>
            <a:off x="1066800" y="3276600"/>
            <a:ext cx="2743200" cy="551564"/>
          </a:xfrm>
          <a:prstGeom prst="rect">
            <a:avLst/>
          </a:prstGeom>
          <a:solidFill>
            <a:schemeClr val="accent4"/>
          </a:solidFill>
          <a:ln>
            <a:headEnd type="none" w="med" len="med"/>
            <a:tailEnd type="none" w="med" len="med"/>
          </a:ln>
          <a:effectLst>
            <a:outerShdw blurRad="50800" dist="38100" dir="8100000" algn="tr" rotWithShape="0">
              <a:prstClr val="black">
                <a:alpha val="73000"/>
              </a:prstClr>
            </a:outerShdw>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zh-TW" altLang="en-US" sz="1400" dirty="0" smtClean="0">
                <a:gradFill>
                  <a:gsLst>
                    <a:gs pos="0">
                      <a:schemeClr val="bg1"/>
                    </a:gs>
                    <a:gs pos="100000">
                      <a:schemeClr val="bg1"/>
                    </a:gs>
                  </a:gsLst>
                  <a:lin ang="13500000" scaled="1"/>
                </a:gradFill>
                <a:latin typeface="微軟正黑體" pitchFamily="34" charset="-120"/>
                <a:ea typeface="微軟正黑體" pitchFamily="34" charset="-120"/>
              </a:rPr>
              <a:t>大量授權方案所提供的</a:t>
            </a:r>
            <a:endParaRPr lang="en-US" altLang="zh-TW" sz="1400" dirty="0" smtClean="0">
              <a:gradFill>
                <a:gsLst>
                  <a:gs pos="0">
                    <a:schemeClr val="bg1"/>
                  </a:gs>
                  <a:gs pos="100000">
                    <a:schemeClr val="bg1"/>
                  </a:gs>
                </a:gsLst>
                <a:lin ang="13500000" scaled="1"/>
              </a:gradFill>
              <a:latin typeface="微軟正黑體" pitchFamily="34" charset="-120"/>
              <a:ea typeface="微軟正黑體" pitchFamily="34" charset="-120"/>
            </a:endParaRPr>
          </a:p>
          <a:p>
            <a:pPr algn="ctr" defTabSz="914099" fontAlgn="base">
              <a:spcBef>
                <a:spcPct val="0"/>
              </a:spcBef>
              <a:spcAft>
                <a:spcPct val="0"/>
              </a:spcAft>
            </a:pPr>
            <a:r>
              <a:rPr lang="en-US" altLang="zh-TW" sz="1400" dirty="0" smtClean="0">
                <a:gradFill>
                  <a:gsLst>
                    <a:gs pos="0">
                      <a:schemeClr val="bg1"/>
                    </a:gs>
                    <a:gs pos="100000">
                      <a:schemeClr val="bg1"/>
                    </a:gs>
                  </a:gsLst>
                  <a:lin ang="13500000" scaled="1"/>
                </a:gradFill>
                <a:latin typeface="微軟正黑體" pitchFamily="34" charset="-120"/>
                <a:ea typeface="微軟正黑體" pitchFamily="34" charset="-120"/>
              </a:rPr>
              <a:t>Windows</a:t>
            </a:r>
            <a:r>
              <a:rPr lang="zh-TW" altLang="en-US" sz="1400" dirty="0" smtClean="0">
                <a:gradFill>
                  <a:gsLst>
                    <a:gs pos="0">
                      <a:schemeClr val="bg1"/>
                    </a:gs>
                    <a:gs pos="100000">
                      <a:schemeClr val="bg1"/>
                    </a:gs>
                  </a:gsLst>
                  <a:lin ang="13500000" scaled="1"/>
                </a:gradFill>
                <a:latin typeface="微軟正黑體" pitchFamily="34" charset="-120"/>
                <a:ea typeface="微軟正黑體" pitchFamily="34" charset="-120"/>
              </a:rPr>
              <a:t>升級版</a:t>
            </a:r>
            <a:endParaRPr lang="en-US" sz="1400" dirty="0" smtClean="0">
              <a:gradFill>
                <a:gsLst>
                  <a:gs pos="0">
                    <a:schemeClr val="bg1"/>
                  </a:gs>
                  <a:gs pos="100000">
                    <a:schemeClr val="bg1"/>
                  </a:gs>
                </a:gsLst>
                <a:lin ang="13500000" scaled="1"/>
              </a:gradFill>
              <a:latin typeface="微軟正黑體" pitchFamily="34" charset="-120"/>
              <a:ea typeface="微軟正黑體" pitchFamily="34" charset="-120"/>
            </a:endParaRPr>
          </a:p>
        </p:txBody>
      </p:sp>
      <p:sp>
        <p:nvSpPr>
          <p:cNvPr id="26" name="Up Arrow 25"/>
          <p:cNvSpPr/>
          <p:nvPr/>
        </p:nvSpPr>
        <p:spPr bwMode="auto">
          <a:xfrm>
            <a:off x="6629400" y="4724400"/>
            <a:ext cx="304800" cy="609600"/>
          </a:xfrm>
          <a:prstGeom prst="upArrow">
            <a:avLst/>
          </a:prstGeom>
          <a:solidFill>
            <a:schemeClr val="accent4"/>
          </a:solidFill>
          <a:ln>
            <a:headEnd type="none" w="med" len="med"/>
            <a:tailEnd type="none" w="med" len="med"/>
          </a:ln>
          <a:effectLst>
            <a:outerShdw blurRad="50800" dist="38100" dir="8100000" algn="tr" rotWithShape="0">
              <a:prstClr val="black">
                <a:alpha val="73000"/>
              </a:prstClr>
            </a:outerShdw>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smtClean="0">
              <a:gradFill>
                <a:gsLst>
                  <a:gs pos="0">
                    <a:schemeClr val="bg1"/>
                  </a:gs>
                  <a:gs pos="100000">
                    <a:schemeClr val="bg1"/>
                  </a:gs>
                </a:gsLst>
                <a:lin ang="13500000" scaled="1"/>
              </a:gradFill>
              <a:effectLst>
                <a:outerShdw blurRad="38100" dist="38100" dir="2700000" algn="tl">
                  <a:srgbClr val="000000">
                    <a:alpha val="43137"/>
                  </a:srgbClr>
                </a:outerShdw>
              </a:effectLst>
              <a:latin typeface="Segoe" pitchFamily="34" charset="0"/>
            </a:endParaRPr>
          </a:p>
        </p:txBody>
      </p:sp>
      <p:sp>
        <p:nvSpPr>
          <p:cNvPr id="2" name="投影片編號版面配置區 1"/>
          <p:cNvSpPr>
            <a:spLocks noGrp="1"/>
          </p:cNvSpPr>
          <p:nvPr>
            <p:ph type="sldNum" sz="quarter" idx="12"/>
          </p:nvPr>
        </p:nvSpPr>
        <p:spPr/>
        <p:txBody>
          <a:bodyPr/>
          <a:lstStyle/>
          <a:p>
            <a:pPr>
              <a:defRPr/>
            </a:pPr>
            <a:fld id="{1D9970BA-2F58-4996-9806-696110DA0FEA}" type="slidenum">
              <a:rPr lang="en-US" smtClean="0"/>
              <a:pPr>
                <a:defRPr/>
              </a:pPr>
              <a:t>24</a:t>
            </a:fld>
            <a:endParaRPr lang="zh-CN" altLang="en-US"/>
          </a:p>
        </p:txBody>
      </p:sp>
    </p:spTree>
    <p:extLst>
      <p:ext uri="{BB962C8B-B14F-4D97-AF65-F5344CB8AC3E}">
        <p14:creationId xmlns:p14="http://schemas.microsoft.com/office/powerpoint/2010/main" val="8774440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Content Placeholder 2"/>
          <p:cNvSpPr>
            <a:spLocks noGrp="1"/>
          </p:cNvSpPr>
          <p:nvPr>
            <p:ph idx="1"/>
          </p:nvPr>
        </p:nvSpPr>
        <p:spPr>
          <a:xfrm>
            <a:off x="872067" y="1801368"/>
            <a:ext cx="7408333" cy="4791456"/>
          </a:xfrm>
        </p:spPr>
        <p:txBody>
          <a:bodyPr>
            <a:normAutofit/>
          </a:bodyPr>
          <a:lstStyle/>
          <a:p>
            <a:pPr eaLnBrk="1" hangingPunct="1"/>
            <a:r>
              <a:rPr lang="zh-TW" altLang="en-US" smtClean="0">
                <a:latin typeface="微軟正黑體" panose="020B0604030504040204" pitchFamily="34" charset="-120"/>
                <a:ea typeface="微軟正黑體" panose="020B0604030504040204" pitchFamily="34" charset="-120"/>
              </a:rPr>
              <a:t>因為隨機版軟體必須事先完成安裝且僅跟隨完整的組裝電腦系統同時散布，所以</a:t>
            </a:r>
            <a:r>
              <a:rPr lang="en-US" altLang="zh-TW" sz="3600" b="1" u="sng" smtClean="0">
                <a:solidFill>
                  <a:srgbClr val="FF0000"/>
                </a:solidFill>
                <a:latin typeface="微軟正黑體" panose="020B0604030504040204" pitchFamily="34" charset="-120"/>
                <a:ea typeface="微軟正黑體" panose="020B0604030504040204" pitchFamily="34" charset="-120"/>
              </a:rPr>
              <a:t>”</a:t>
            </a:r>
            <a:r>
              <a:rPr lang="zh-TW" altLang="en-US" sz="3600" b="1" u="sng" smtClean="0">
                <a:solidFill>
                  <a:srgbClr val="FF0000"/>
                </a:solidFill>
                <a:latin typeface="微軟正黑體" panose="020B0604030504040204" pitchFamily="34" charset="-120"/>
                <a:ea typeface="微軟正黑體" panose="020B0604030504040204" pitchFamily="34" charset="-120"/>
              </a:rPr>
              <a:t>不能</a:t>
            </a:r>
            <a:r>
              <a:rPr lang="en-US" altLang="zh-TW" sz="3600" b="1" u="sng" smtClean="0">
                <a:solidFill>
                  <a:srgbClr val="FF0000"/>
                </a:solidFill>
                <a:latin typeface="微軟正黑體" panose="020B0604030504040204" pitchFamily="34" charset="-120"/>
                <a:ea typeface="微軟正黑體" panose="020B0604030504040204" pitchFamily="34" charset="-120"/>
              </a:rPr>
              <a:t>”</a:t>
            </a:r>
            <a:r>
              <a:rPr lang="zh-TW" altLang="en-US" smtClean="0">
                <a:latin typeface="微軟正黑體" panose="020B0604030504040204" pitchFamily="34" charset="-120"/>
                <a:ea typeface="微軟正黑體" panose="020B0604030504040204" pitchFamily="34" charset="-120"/>
              </a:rPr>
              <a:t>幫舊機器重新購買隨機版。</a:t>
            </a:r>
            <a:endParaRPr lang="en-US" altLang="zh-TW" smtClean="0">
              <a:latin typeface="微軟正黑體" panose="020B0604030504040204" pitchFamily="34" charset="-120"/>
              <a:ea typeface="微軟正黑體" panose="020B0604030504040204" pitchFamily="34" charset="-120"/>
            </a:endParaRPr>
          </a:p>
          <a:p>
            <a:pPr eaLnBrk="1" hangingPunct="1"/>
            <a:r>
              <a:rPr lang="zh-TW" altLang="en-US" smtClean="0">
                <a:latin typeface="微軟正黑體" panose="020B0604030504040204" pitchFamily="34" charset="-120"/>
                <a:ea typeface="微軟正黑體" panose="020B0604030504040204" pitchFamily="34" charset="-120"/>
              </a:rPr>
              <a:t>目前提供</a:t>
            </a:r>
            <a:r>
              <a:rPr lang="zh-TW" altLang="en-US" b="1" u="sng" smtClean="0">
                <a:latin typeface="微軟正黑體" panose="020B0604030504040204" pitchFamily="34" charset="-120"/>
                <a:ea typeface="微軟正黑體" panose="020B0604030504040204" pitchFamily="34" charset="-120"/>
              </a:rPr>
              <a:t>舊機合法</a:t>
            </a:r>
            <a:r>
              <a:rPr lang="en-US" altLang="zh-TW" b="1" u="sng" smtClean="0">
                <a:latin typeface="微軟正黑體" panose="020B0604030504040204" pitchFamily="34" charset="-120"/>
                <a:ea typeface="微軟正黑體" panose="020B0604030504040204" pitchFamily="34" charset="-120"/>
              </a:rPr>
              <a:t>GGWA</a:t>
            </a:r>
            <a:r>
              <a:rPr lang="zh-TW" altLang="en-US" smtClean="0">
                <a:latin typeface="微軟正黑體" panose="020B0604030504040204" pitchFamily="34" charset="-120"/>
                <a:ea typeface="微軟正黑體" panose="020B0604030504040204" pitchFamily="34" charset="-120"/>
              </a:rPr>
              <a:t>方案讓客戶取得完整授權：</a:t>
            </a:r>
            <a:endParaRPr lang="en-US" altLang="zh-TW" smtClean="0">
              <a:latin typeface="微軟正黑體" panose="020B0604030504040204" pitchFamily="34" charset="-120"/>
              <a:ea typeface="微軟正黑體" panose="020B0604030504040204" pitchFamily="34" charset="-120"/>
            </a:endParaRPr>
          </a:p>
          <a:p>
            <a:pPr lvl="1" eaLnBrk="1" hangingPunct="1"/>
            <a:r>
              <a:rPr lang="zh-TW" altLang="en-US" smtClean="0">
                <a:latin typeface="微軟正黑體" panose="020B0604030504040204" pitchFamily="34" charset="-120"/>
                <a:ea typeface="微軟正黑體" panose="020B0604030504040204" pitchFamily="34" charset="-120"/>
              </a:rPr>
              <a:t>降級權</a:t>
            </a:r>
            <a:endParaRPr lang="en-US" altLang="zh-TW" smtClean="0">
              <a:latin typeface="微軟正黑體" panose="020B0604030504040204" pitchFamily="34" charset="-120"/>
              <a:ea typeface="微軟正黑體" panose="020B0604030504040204" pitchFamily="34" charset="-120"/>
            </a:endParaRPr>
          </a:p>
          <a:p>
            <a:pPr lvl="1" eaLnBrk="1" hangingPunct="1"/>
            <a:r>
              <a:rPr lang="zh-TW" altLang="en-US" smtClean="0">
                <a:latin typeface="微軟正黑體" panose="020B0604030504040204" pitchFamily="34" charset="-120"/>
                <a:ea typeface="微軟正黑體" panose="020B0604030504040204" pitchFamily="34" charset="-120"/>
              </a:rPr>
              <a:t>語言轉換</a:t>
            </a:r>
            <a:endParaRPr lang="en-US" altLang="zh-TW" smtClean="0">
              <a:latin typeface="微軟正黑體" panose="020B0604030504040204" pitchFamily="34" charset="-120"/>
              <a:ea typeface="微軟正黑體" panose="020B0604030504040204" pitchFamily="34" charset="-120"/>
            </a:endParaRPr>
          </a:p>
          <a:p>
            <a:pPr lvl="1" eaLnBrk="1" hangingPunct="1"/>
            <a:r>
              <a:rPr lang="zh-TW" altLang="en-US" smtClean="0">
                <a:latin typeface="微軟正黑體" panose="020B0604030504040204" pitchFamily="34" charset="-120"/>
                <a:ea typeface="微軟正黑體" panose="020B0604030504040204" pitchFamily="34" charset="-120"/>
              </a:rPr>
              <a:t>重製權</a:t>
            </a:r>
            <a:endParaRPr lang="en-US" altLang="zh-TW" smtClean="0">
              <a:latin typeface="微軟正黑體" panose="020B0604030504040204" pitchFamily="34" charset="-120"/>
              <a:ea typeface="微軟正黑體" panose="020B0604030504040204" pitchFamily="34" charset="-120"/>
            </a:endParaRPr>
          </a:p>
          <a:p>
            <a:pPr lvl="1" eaLnBrk="1" hangingPunct="1"/>
            <a:r>
              <a:rPr lang="zh-TW" altLang="en-US" smtClean="0">
                <a:latin typeface="微軟正黑體" panose="020B0604030504040204" pitchFamily="34" charset="-120"/>
                <a:ea typeface="微軟正黑體" panose="020B0604030504040204" pitchFamily="34" charset="-120"/>
              </a:rPr>
              <a:t>軟體管理</a:t>
            </a:r>
            <a:endParaRPr lang="en-US" altLang="zh-TW" smtClean="0">
              <a:latin typeface="微軟正黑體" panose="020B0604030504040204" pitchFamily="34" charset="-120"/>
              <a:ea typeface="微軟正黑體" panose="020B0604030504040204" pitchFamily="34" charset="-120"/>
            </a:endParaRPr>
          </a:p>
          <a:p>
            <a:pPr marL="301943" lvl="1" indent="0" eaLnBrk="1" hangingPunct="1">
              <a:buNone/>
            </a:pPr>
            <a:endParaRPr lang="en-US" altLang="zh-TW" smtClean="0">
              <a:solidFill>
                <a:schemeClr val="tx1"/>
              </a:solidFill>
              <a:latin typeface="微軟正黑體" panose="020B0604030504040204" pitchFamily="34" charset="-120"/>
              <a:ea typeface="微軟正黑體" panose="020B0604030504040204" pitchFamily="34" charset="-120"/>
              <a:cs typeface="Segoe UI Light" pitchFamily="34" charset="0"/>
            </a:endParaRPr>
          </a:p>
          <a:p>
            <a:pPr marL="301943" lvl="1" indent="0" eaLnBrk="1" hangingPunct="1">
              <a:buNone/>
            </a:pPr>
            <a:r>
              <a:rPr lang="zh-TW" altLang="en-US" smtClean="0">
                <a:solidFill>
                  <a:schemeClr val="tx1"/>
                </a:solidFill>
                <a:latin typeface="微軟正黑體" panose="020B0604030504040204" pitchFamily="34" charset="-120"/>
                <a:ea typeface="微軟正黑體" panose="020B0604030504040204" pitchFamily="34" charset="-120"/>
                <a:cs typeface="Segoe UI Light" pitchFamily="34" charset="0"/>
              </a:rPr>
              <a:t>常見錯誤</a:t>
            </a:r>
            <a:r>
              <a:rPr lang="en-US" altLang="zh-TW" smtClean="0">
                <a:solidFill>
                  <a:schemeClr val="tx1"/>
                </a:solidFill>
                <a:latin typeface="微軟正黑體" panose="020B0604030504040204" pitchFamily="34" charset="-120"/>
                <a:ea typeface="微軟正黑體" panose="020B0604030504040204" pitchFamily="34" charset="-120"/>
                <a:cs typeface="Segoe UI Light" pitchFamily="34" charset="0"/>
              </a:rPr>
              <a:t>:</a:t>
            </a:r>
            <a:r>
              <a:rPr lang="zh-TW" altLang="en-US" smtClean="0">
                <a:solidFill>
                  <a:schemeClr val="tx1"/>
                </a:solidFill>
                <a:latin typeface="微軟正黑體" panose="020B0604030504040204" pitchFamily="34" charset="-120"/>
                <a:ea typeface="微軟正黑體" panose="020B0604030504040204" pitchFamily="34" charset="-120"/>
                <a:cs typeface="Segoe UI Light" pitchFamily="34" charset="0"/>
              </a:rPr>
              <a:t>客戶購買新</a:t>
            </a:r>
            <a:r>
              <a:rPr lang="en-US" altLang="zh-TW" smtClean="0">
                <a:solidFill>
                  <a:schemeClr val="tx1"/>
                </a:solidFill>
                <a:latin typeface="微軟正黑體" panose="020B0604030504040204" pitchFamily="34" charset="-120"/>
                <a:ea typeface="微軟正黑體" panose="020B0604030504040204" pitchFamily="34" charset="-120"/>
                <a:cs typeface="Segoe UI Light" pitchFamily="34" charset="0"/>
              </a:rPr>
              <a:t>PC/NB</a:t>
            </a:r>
            <a:r>
              <a:rPr lang="zh-TW" altLang="en-US" smtClean="0">
                <a:solidFill>
                  <a:schemeClr val="tx1"/>
                </a:solidFill>
                <a:latin typeface="微軟正黑體" panose="020B0604030504040204" pitchFamily="34" charset="-120"/>
                <a:ea typeface="微軟正黑體" panose="020B0604030504040204" pitchFamily="34" charset="-120"/>
                <a:cs typeface="Segoe UI Light" pitchFamily="34" charset="0"/>
              </a:rPr>
              <a:t>時未搭購</a:t>
            </a:r>
            <a:r>
              <a:rPr lang="en-US" altLang="zh-TW" smtClean="0">
                <a:solidFill>
                  <a:schemeClr val="tx1"/>
                </a:solidFill>
                <a:latin typeface="微軟正黑體" panose="020B0604030504040204" pitchFamily="34" charset="-120"/>
                <a:ea typeface="微軟正黑體" panose="020B0604030504040204" pitchFamily="34" charset="-120"/>
                <a:cs typeface="Segoe UI Light" pitchFamily="34" charset="0"/>
              </a:rPr>
              <a:t>Windows</a:t>
            </a:r>
            <a:r>
              <a:rPr lang="zh-TW" altLang="en-US" smtClean="0">
                <a:solidFill>
                  <a:schemeClr val="tx1"/>
                </a:solidFill>
                <a:latin typeface="微軟正黑體" panose="020B0604030504040204" pitchFamily="34" charset="-120"/>
                <a:ea typeface="微軟正黑體" panose="020B0604030504040204" pitchFamily="34" charset="-120"/>
                <a:cs typeface="Segoe UI Light" pitchFamily="34" charset="0"/>
              </a:rPr>
              <a:t> </a:t>
            </a:r>
            <a:r>
              <a:rPr lang="en-US" altLang="zh-TW" smtClean="0">
                <a:solidFill>
                  <a:schemeClr val="tx1"/>
                </a:solidFill>
                <a:latin typeface="微軟正黑體" panose="020B0604030504040204" pitchFamily="34" charset="-120"/>
                <a:ea typeface="微軟正黑體" panose="020B0604030504040204" pitchFamily="34" charset="-120"/>
                <a:cs typeface="Segoe UI Light" pitchFamily="34" charset="0"/>
              </a:rPr>
              <a:t>OEM</a:t>
            </a:r>
            <a:r>
              <a:rPr lang="zh-TW" altLang="en-US" smtClean="0">
                <a:solidFill>
                  <a:schemeClr val="tx1"/>
                </a:solidFill>
                <a:latin typeface="微軟正黑體" panose="020B0604030504040204" pitchFamily="34" charset="-120"/>
                <a:ea typeface="微軟正黑體" panose="020B0604030504040204" pitchFamily="34" charset="-120"/>
                <a:cs typeface="Segoe UI Light" pitchFamily="34" charset="0"/>
              </a:rPr>
              <a:t>授權，誤用</a:t>
            </a:r>
            <a:r>
              <a:rPr lang="en-US" altLang="zh-TW" smtClean="0">
                <a:solidFill>
                  <a:schemeClr val="tx1"/>
                </a:solidFill>
                <a:latin typeface="微軟正黑體" panose="020B0604030504040204" pitchFamily="34" charset="-120"/>
                <a:ea typeface="微軟正黑體" panose="020B0604030504040204" pitchFamily="34" charset="-120"/>
                <a:cs typeface="Segoe UI Light" pitchFamily="34" charset="0"/>
              </a:rPr>
              <a:t>Windows GGWA</a:t>
            </a:r>
            <a:r>
              <a:rPr lang="zh-TW" altLang="en-US" smtClean="0">
                <a:solidFill>
                  <a:schemeClr val="tx1"/>
                </a:solidFill>
                <a:latin typeface="微軟正黑體" panose="020B0604030504040204" pitchFamily="34" charset="-120"/>
                <a:ea typeface="微軟正黑體" panose="020B0604030504040204" pitchFamily="34" charset="-120"/>
                <a:cs typeface="Segoe UI Light" pitchFamily="34" charset="0"/>
              </a:rPr>
              <a:t>正版化套件於新</a:t>
            </a:r>
            <a:r>
              <a:rPr lang="en-US" altLang="zh-TW" smtClean="0">
                <a:solidFill>
                  <a:schemeClr val="tx1"/>
                </a:solidFill>
                <a:latin typeface="微軟正黑體" panose="020B0604030504040204" pitchFamily="34" charset="-120"/>
                <a:ea typeface="微軟正黑體" panose="020B0604030504040204" pitchFamily="34" charset="-120"/>
                <a:cs typeface="Segoe UI Light" pitchFamily="34" charset="0"/>
              </a:rPr>
              <a:t>PC/NB</a:t>
            </a:r>
          </a:p>
          <a:p>
            <a:pPr lvl="1" eaLnBrk="1" hangingPunct="1"/>
            <a:endParaRPr lang="en-US" altLang="zh-TW" dirty="0">
              <a:latin typeface="微軟正黑體" panose="020B0604030504040204" pitchFamily="34" charset="-120"/>
              <a:ea typeface="微軟正黑體" panose="020B0604030504040204" pitchFamily="34" charset="-120"/>
            </a:endParaRPr>
          </a:p>
        </p:txBody>
      </p:sp>
      <p:sp>
        <p:nvSpPr>
          <p:cNvPr id="2" name="Title 1"/>
          <p:cNvSpPr>
            <a:spLocks noGrp="1"/>
          </p:cNvSpPr>
          <p:nvPr>
            <p:ph type="title"/>
          </p:nvPr>
        </p:nvSpPr>
        <p:spPr/>
        <p:txBody>
          <a:bodyPr/>
          <a:lstStyle/>
          <a:p>
            <a:pPr eaLnBrk="1" fontAlgn="auto" hangingPunct="1">
              <a:spcAft>
                <a:spcPts val="0"/>
              </a:spcAft>
              <a:defRPr/>
            </a:pPr>
            <a:r>
              <a:rPr lang="zh-TW" altLang="en-US" smtClean="0">
                <a:latin typeface="微軟正黑體" panose="020B0604030504040204" pitchFamily="34" charset="-120"/>
                <a:ea typeface="微軟正黑體" panose="020B0604030504040204" pitchFamily="34" charset="-120"/>
              </a:rPr>
              <a:t>舊機合法專案</a:t>
            </a:r>
            <a:r>
              <a:rPr lang="en-US" altLang="zh-TW" smtClean="0">
                <a:latin typeface="微軟正黑體" panose="020B0604030504040204" pitchFamily="34" charset="-120"/>
                <a:ea typeface="微軟正黑體" panose="020B0604030504040204" pitchFamily="34" charset="-120"/>
              </a:rPr>
              <a:t>(GGWA)</a:t>
            </a:r>
            <a:endParaRPr lang="zh-TW" altLang="en-US" dirty="0">
              <a:latin typeface="微軟正黑體" panose="020B0604030504040204" pitchFamily="34" charset="-120"/>
              <a:ea typeface="微軟正黑體" panose="020B0604030504040204" pitchFamily="34" charset="-120"/>
            </a:endParaRPr>
          </a:p>
        </p:txBody>
      </p:sp>
      <p:sp>
        <p:nvSpPr>
          <p:cNvPr id="3" name="投影片編號版面配置區 2"/>
          <p:cNvSpPr>
            <a:spLocks noGrp="1"/>
          </p:cNvSpPr>
          <p:nvPr>
            <p:ph type="sldNum" sz="quarter" idx="12"/>
          </p:nvPr>
        </p:nvSpPr>
        <p:spPr/>
        <p:txBody>
          <a:bodyPr/>
          <a:lstStyle/>
          <a:p>
            <a:pPr>
              <a:defRPr/>
            </a:pPr>
            <a:fld id="{1D9970BA-2F58-4996-9806-696110DA0FEA}" type="slidenum">
              <a:rPr lang="en-US" smtClean="0"/>
              <a:pPr>
                <a:defRPr/>
              </a:pPr>
              <a:t>25</a:t>
            </a:fld>
            <a:endParaRPr lang="zh-CN" altLang="en-US"/>
          </a:p>
        </p:txBody>
      </p:sp>
    </p:spTree>
    <p:extLst>
      <p:ext uri="{BB962C8B-B14F-4D97-AF65-F5344CB8AC3E}">
        <p14:creationId xmlns:p14="http://schemas.microsoft.com/office/powerpoint/2010/main" val="290466479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285720" y="1714488"/>
            <a:ext cx="4143404" cy="4143404"/>
          </a:xfrm>
          <a:prstGeom prst="roundRect">
            <a:avLst>
              <a:gd name="adj" fmla="val 4807"/>
            </a:avLst>
          </a:prstGeom>
        </p:spPr>
        <p:style>
          <a:lnRef idx="1">
            <a:schemeClr val="accent3"/>
          </a:lnRef>
          <a:fillRef idx="2">
            <a:schemeClr val="accent3"/>
          </a:fillRef>
          <a:effectRef idx="1">
            <a:schemeClr val="accent3"/>
          </a:effectRef>
          <a:fontRef idx="minor">
            <a:schemeClr val="dk1"/>
          </a:fontRef>
        </p:style>
        <p:txBody>
          <a:bodyPr rtlCol="0" anchor="ctr"/>
          <a:lstStyle/>
          <a:p>
            <a:pPr algn="ctr"/>
            <a:endParaRPr lang="zh-TW" altLang="en-US" b="0">
              <a:latin typeface="微軟正黑體" panose="020B0604030504040204" pitchFamily="34" charset="-120"/>
              <a:ea typeface="微軟正黑體" panose="020B0604030504040204" pitchFamily="34" charset="-120"/>
              <a:cs typeface="微軟正黑體 Light" panose="020B0304030504040204" pitchFamily="34" charset="-120"/>
            </a:endParaRPr>
          </a:p>
        </p:txBody>
      </p:sp>
      <p:sp>
        <p:nvSpPr>
          <p:cNvPr id="12" name="Rounded Rectangle 11"/>
          <p:cNvSpPr/>
          <p:nvPr/>
        </p:nvSpPr>
        <p:spPr>
          <a:xfrm>
            <a:off x="4714876" y="1714488"/>
            <a:ext cx="4143404" cy="4143404"/>
          </a:xfrm>
          <a:prstGeom prst="roundRect">
            <a:avLst>
              <a:gd name="adj" fmla="val 4106"/>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zh-TW" altLang="en-US" b="0">
              <a:latin typeface="微軟正黑體" panose="020B0604030504040204" pitchFamily="34" charset="-120"/>
              <a:ea typeface="微軟正黑體" panose="020B0604030504040204" pitchFamily="34" charset="-120"/>
              <a:cs typeface="微軟正黑體 Light" panose="020B0304030504040204" pitchFamily="34" charset="-120"/>
            </a:endParaRPr>
          </a:p>
        </p:txBody>
      </p:sp>
      <p:sp>
        <p:nvSpPr>
          <p:cNvPr id="6" name="內容版面配置區 5"/>
          <p:cNvSpPr>
            <a:spLocks noGrp="1"/>
          </p:cNvSpPr>
          <p:nvPr>
            <p:ph sz="half" idx="4294967295"/>
          </p:nvPr>
        </p:nvSpPr>
        <p:spPr>
          <a:xfrm>
            <a:off x="285720" y="2500306"/>
            <a:ext cx="4000528" cy="3286148"/>
          </a:xfrm>
          <a:prstGeom prst="rect">
            <a:avLst/>
          </a:prstGeom>
        </p:spPr>
        <p:txBody>
          <a:bodyPr>
            <a:normAutofit/>
          </a:bodyPr>
          <a:lstStyle/>
          <a:p>
            <a:pPr eaLnBrk="1" hangingPunct="1"/>
            <a:r>
              <a:rPr lang="en-US" altLang="zh-TW" sz="1800" smtClean="0">
                <a:solidFill>
                  <a:srgbClr val="FF0000"/>
                </a:solidFill>
                <a:latin typeface="微軟正黑體" panose="020B0604030504040204" pitchFamily="34" charset="-120"/>
                <a:ea typeface="微軟正黑體" panose="020B0604030504040204" pitchFamily="34" charset="-120"/>
                <a:cs typeface="微軟正黑體 Light" panose="020B0304030504040204" pitchFamily="34" charset="-120"/>
              </a:rPr>
              <a:t>Windows </a:t>
            </a:r>
            <a:r>
              <a:rPr lang="zh-TW" altLang="en-US" sz="1800" smtClean="0">
                <a:solidFill>
                  <a:srgbClr val="FF0000"/>
                </a:solidFill>
                <a:latin typeface="微軟正黑體" panose="020B0604030504040204" pitchFamily="34" charset="-120"/>
                <a:ea typeface="微軟正黑體" panose="020B0604030504040204" pitchFamily="34" charset="-120"/>
                <a:cs typeface="微軟正黑體 Light" panose="020B0304030504040204" pitchFamily="34" charset="-120"/>
              </a:rPr>
              <a:t>完整版本</a:t>
            </a:r>
            <a:r>
              <a:rPr lang="en-US" altLang="zh-TW" sz="1800" smtClean="0">
                <a:solidFill>
                  <a:srgbClr val="FF0000"/>
                </a:solidFill>
                <a:latin typeface="微軟正黑體" panose="020B0604030504040204" pitchFamily="34" charset="-120"/>
                <a:ea typeface="微軟正黑體" panose="020B0604030504040204" pitchFamily="34" charset="-120"/>
                <a:cs typeface="微軟正黑體 Light" panose="020B0304030504040204" pitchFamily="34" charset="-120"/>
              </a:rPr>
              <a:t>,</a:t>
            </a:r>
            <a:r>
              <a:rPr lang="zh-TW" altLang="en-US" sz="1800" smtClean="0">
                <a:solidFill>
                  <a:srgbClr val="FF0000"/>
                </a:solidFill>
                <a:latin typeface="微軟正黑體" panose="020B0604030504040204" pitchFamily="34" charset="-120"/>
                <a:ea typeface="微軟正黑體" panose="020B0604030504040204" pitchFamily="34" charset="-120"/>
                <a:cs typeface="微軟正黑體 Light" panose="020B0304030504040204" pitchFamily="34" charset="-120"/>
              </a:rPr>
              <a:t> 只有隨機版</a:t>
            </a:r>
            <a:endParaRPr lang="en-US" altLang="zh-TW" sz="1800" smtClean="0">
              <a:solidFill>
                <a:srgbClr val="FF0000"/>
              </a:solidFill>
              <a:latin typeface="微軟正黑體" panose="020B0604030504040204" pitchFamily="34" charset="-120"/>
              <a:ea typeface="微軟正黑體" panose="020B0604030504040204" pitchFamily="34" charset="-120"/>
              <a:cs typeface="微軟正黑體 Light" panose="020B0304030504040204" pitchFamily="34" charset="-120"/>
            </a:endParaRPr>
          </a:p>
          <a:p>
            <a:pPr eaLnBrk="1" hangingPunct="1"/>
            <a:r>
              <a:rPr lang="zh-TW" altLang="en-US" sz="1800" smtClean="0">
                <a:latin typeface="微軟正黑體" panose="020B0604030504040204" pitchFamily="34" charset="-120"/>
                <a:ea typeface="微軟正黑體" panose="020B0604030504040204" pitchFamily="34" charset="-120"/>
                <a:cs typeface="微軟正黑體 Light" panose="020B0304030504040204" pitchFamily="34" charset="-120"/>
              </a:rPr>
              <a:t>隨機版必須預先安裝在新機上一起出貨</a:t>
            </a:r>
            <a:endParaRPr lang="en-US" altLang="zh-TW" sz="1800" smtClean="0">
              <a:latin typeface="微軟正黑體" panose="020B0604030504040204" pitchFamily="34" charset="-120"/>
              <a:ea typeface="微軟正黑體" panose="020B0604030504040204" pitchFamily="34" charset="-120"/>
              <a:cs typeface="微軟正黑體 Light" panose="020B0304030504040204" pitchFamily="34" charset="-120"/>
            </a:endParaRPr>
          </a:p>
          <a:p>
            <a:pPr eaLnBrk="1" hangingPunct="1"/>
            <a:r>
              <a:rPr lang="zh-TW" altLang="en-US" sz="1800" smtClean="0">
                <a:latin typeface="微軟正黑體" panose="020B0604030504040204" pitchFamily="34" charset="-120"/>
                <a:ea typeface="微軟正黑體" panose="020B0604030504040204" pitchFamily="34" charset="-120"/>
                <a:cs typeface="微軟正黑體 Light" panose="020B0304030504040204" pitchFamily="34" charset="-120"/>
              </a:rPr>
              <a:t>企業必須購買商業使用版權</a:t>
            </a:r>
            <a:endParaRPr lang="en-US" altLang="zh-TW" sz="1800" smtClean="0">
              <a:latin typeface="微軟正黑體" panose="020B0604030504040204" pitchFamily="34" charset="-120"/>
              <a:ea typeface="微軟正黑體" panose="020B0604030504040204" pitchFamily="34" charset="-120"/>
              <a:cs typeface="微軟正黑體 Light" panose="020B0304030504040204" pitchFamily="34" charset="-120"/>
            </a:endParaRPr>
          </a:p>
          <a:p>
            <a:pPr eaLnBrk="1" hangingPunct="1"/>
            <a:r>
              <a:rPr lang="zh-TW" altLang="en-US" sz="1800" smtClean="0">
                <a:solidFill>
                  <a:srgbClr val="FF0000"/>
                </a:solidFill>
                <a:latin typeface="微軟正黑體" panose="020B0604030504040204" pitchFamily="34" charset="-120"/>
                <a:ea typeface="微軟正黑體" panose="020B0604030504040204" pitchFamily="34" charset="-120"/>
                <a:cs typeface="微軟正黑體 Light" panose="020B0304030504040204" pitchFamily="34" charset="-120"/>
              </a:rPr>
              <a:t>所有的大量授權都提供降級權</a:t>
            </a:r>
            <a:endParaRPr lang="en-US" altLang="zh-TW" sz="1800" smtClean="0">
              <a:solidFill>
                <a:srgbClr val="FF0000"/>
              </a:solidFill>
              <a:latin typeface="微軟正黑體" panose="020B0604030504040204" pitchFamily="34" charset="-120"/>
              <a:ea typeface="微軟正黑體" panose="020B0604030504040204" pitchFamily="34" charset="-120"/>
              <a:cs typeface="微軟正黑體 Light" panose="020B0304030504040204" pitchFamily="34" charset="-120"/>
            </a:endParaRPr>
          </a:p>
          <a:p>
            <a:pPr eaLnBrk="1" hangingPunct="1"/>
            <a:r>
              <a:rPr lang="zh-TW" altLang="en-US" sz="1800" smtClean="0">
                <a:latin typeface="微軟正黑體" panose="020B0604030504040204" pitchFamily="34" charset="-120"/>
                <a:ea typeface="微軟正黑體" panose="020B0604030504040204" pitchFamily="34" charset="-120"/>
                <a:cs typeface="微軟正黑體 Light" panose="020B0304030504040204" pitchFamily="34" charset="-120"/>
              </a:rPr>
              <a:t>大量授權可查到所有購買授權記錄 </a:t>
            </a:r>
            <a:r>
              <a:rPr lang="en-US" altLang="zh-TW" sz="1800" smtClean="0">
                <a:latin typeface="微軟正黑體" panose="020B0604030504040204" pitchFamily="34" charset="-120"/>
                <a:ea typeface="微軟正黑體" panose="020B0604030504040204" pitchFamily="34" charset="-120"/>
                <a:cs typeface="微軟正黑體 Light" panose="020B0304030504040204" pitchFamily="34" charset="-120"/>
              </a:rPr>
              <a:t>=</a:t>
            </a:r>
            <a:r>
              <a:rPr lang="zh-TW" altLang="en-US" sz="1800" smtClean="0">
                <a:latin typeface="微軟正黑體" panose="020B0604030504040204" pitchFamily="34" charset="-120"/>
                <a:ea typeface="微軟正黑體" panose="020B0604030504040204" pitchFamily="34" charset="-120"/>
                <a:cs typeface="微軟正黑體 Light" panose="020B0304030504040204" pitchFamily="34" charset="-120"/>
              </a:rPr>
              <a:t> 軟體存褶</a:t>
            </a:r>
            <a:endParaRPr lang="zh-TW" altLang="en-US" sz="1800" dirty="0" smtClean="0">
              <a:latin typeface="微軟正黑體" panose="020B0604030504040204" pitchFamily="34" charset="-120"/>
              <a:ea typeface="微軟正黑體" panose="020B0604030504040204" pitchFamily="34" charset="-120"/>
              <a:cs typeface="微軟正黑體 Light" panose="020B0304030504040204" pitchFamily="34" charset="-120"/>
            </a:endParaRPr>
          </a:p>
        </p:txBody>
      </p:sp>
      <p:sp>
        <p:nvSpPr>
          <p:cNvPr id="8" name="內容版面配置區 7"/>
          <p:cNvSpPr>
            <a:spLocks noGrp="1"/>
          </p:cNvSpPr>
          <p:nvPr>
            <p:ph sz="quarter" idx="4294967295"/>
          </p:nvPr>
        </p:nvSpPr>
        <p:spPr>
          <a:xfrm>
            <a:off x="4714876" y="2430465"/>
            <a:ext cx="4143404" cy="3570303"/>
          </a:xfrm>
          <a:prstGeom prst="rect">
            <a:avLst/>
          </a:prstGeom>
        </p:spPr>
        <p:txBody>
          <a:bodyPr>
            <a:normAutofit/>
          </a:bodyPr>
          <a:lstStyle/>
          <a:p>
            <a:pPr eaLnBrk="1" hangingPunct="1"/>
            <a:r>
              <a:rPr lang="zh-TW" altLang="en-US" sz="1800" dirty="0" smtClean="0">
                <a:latin typeface="微軟正黑體" panose="020B0604030504040204" pitchFamily="34" charset="-120"/>
                <a:ea typeface="微軟正黑體" panose="020B0604030504040204" pitchFamily="34" charset="-120"/>
                <a:cs typeface="微軟正黑體 Light" panose="020B0304030504040204" pitchFamily="34" charset="-120"/>
              </a:rPr>
              <a:t>大量授權的 </a:t>
            </a:r>
            <a:r>
              <a:rPr lang="en-US" altLang="zh-TW" sz="1800" dirty="0" smtClean="0">
                <a:latin typeface="微軟正黑體" panose="020B0604030504040204" pitchFamily="34" charset="-120"/>
                <a:ea typeface="微軟正黑體" panose="020B0604030504040204" pitchFamily="34" charset="-120"/>
                <a:cs typeface="微軟正黑體 Light" panose="020B0304030504040204" pitchFamily="34" charset="-120"/>
              </a:rPr>
              <a:t>Windows </a:t>
            </a:r>
            <a:r>
              <a:rPr lang="zh-TW" altLang="en-US" sz="1800" dirty="0" smtClean="0">
                <a:latin typeface="微軟正黑體" panose="020B0604030504040204" pitchFamily="34" charset="-120"/>
                <a:ea typeface="微軟正黑體" panose="020B0604030504040204" pitchFamily="34" charset="-120"/>
                <a:cs typeface="微軟正黑體 Light" panose="020B0304030504040204" pitchFamily="34" charset="-120"/>
              </a:rPr>
              <a:t>只有昇級版</a:t>
            </a:r>
            <a:r>
              <a:rPr lang="en-US" altLang="zh-TW" sz="1800" dirty="0" smtClean="0">
                <a:latin typeface="微軟正黑體" panose="020B0604030504040204" pitchFamily="34" charset="-120"/>
                <a:ea typeface="微軟正黑體" panose="020B0604030504040204" pitchFamily="34" charset="-120"/>
                <a:cs typeface="微軟正黑體 Light" panose="020B0304030504040204" pitchFamily="34" charset="-120"/>
              </a:rPr>
              <a:t>,</a:t>
            </a:r>
            <a:r>
              <a:rPr lang="zh-TW" altLang="en-US" sz="1800" dirty="0" smtClean="0">
                <a:latin typeface="微軟正黑體" panose="020B0604030504040204" pitchFamily="34" charset="-120"/>
                <a:ea typeface="微軟正黑體" panose="020B0604030504040204" pitchFamily="34" charset="-120"/>
                <a:cs typeface="微軟正黑體 Light" panose="020B0304030504040204" pitchFamily="34" charset="-120"/>
              </a:rPr>
              <a:t> 不能提供完整功能</a:t>
            </a:r>
            <a:endParaRPr lang="en-US" altLang="zh-TW" sz="1800" dirty="0" smtClean="0">
              <a:latin typeface="微軟正黑體" panose="020B0604030504040204" pitchFamily="34" charset="-120"/>
              <a:ea typeface="微軟正黑體" panose="020B0604030504040204" pitchFamily="34" charset="-120"/>
              <a:cs typeface="微軟正黑體 Light" panose="020B0304030504040204" pitchFamily="34" charset="-120"/>
            </a:endParaRPr>
          </a:p>
          <a:p>
            <a:pPr eaLnBrk="1" hangingPunct="1"/>
            <a:r>
              <a:rPr lang="zh-TW" altLang="en-US" sz="1800" dirty="0" smtClean="0">
                <a:latin typeface="微軟正黑體" panose="020B0604030504040204" pitchFamily="34" charset="-120"/>
                <a:ea typeface="微軟正黑體" panose="020B0604030504040204" pitchFamily="34" charset="-120"/>
                <a:cs typeface="微軟正黑體 Light" panose="020B0304030504040204" pitchFamily="34" charset="-120"/>
              </a:rPr>
              <a:t>舊機購買授權不能購買隨機版</a:t>
            </a:r>
            <a:r>
              <a:rPr lang="en-US" altLang="zh-TW" sz="1800" dirty="0" smtClean="0">
                <a:latin typeface="微軟正黑體" panose="020B0604030504040204" pitchFamily="34" charset="-120"/>
                <a:ea typeface="微軟正黑體" panose="020B0604030504040204" pitchFamily="34" charset="-120"/>
                <a:cs typeface="微軟正黑體 Light" panose="020B0304030504040204" pitchFamily="34" charset="-120"/>
              </a:rPr>
              <a:t>,</a:t>
            </a:r>
            <a:r>
              <a:rPr lang="zh-TW" altLang="en-US" sz="1800" dirty="0" smtClean="0">
                <a:latin typeface="微軟正黑體" panose="020B0604030504040204" pitchFamily="34" charset="-120"/>
                <a:ea typeface="微軟正黑體" panose="020B0604030504040204" pitchFamily="34" charset="-120"/>
                <a:cs typeface="微軟正黑體 Light" panose="020B0304030504040204" pitchFamily="34" charset="-120"/>
              </a:rPr>
              <a:t> 也不能隨 </a:t>
            </a:r>
            <a:r>
              <a:rPr lang="en-US" altLang="zh-TW" sz="1800" dirty="0" smtClean="0">
                <a:latin typeface="微軟正黑體" panose="020B0604030504040204" pitchFamily="34" charset="-120"/>
                <a:ea typeface="微軟正黑體" panose="020B0604030504040204" pitchFamily="34" charset="-120"/>
                <a:cs typeface="微軟正黑體 Light" panose="020B0304030504040204" pitchFamily="34" charset="-120"/>
              </a:rPr>
              <a:t>Mouse </a:t>
            </a:r>
            <a:r>
              <a:rPr lang="zh-TW" altLang="en-US" sz="1800" dirty="0" smtClean="0">
                <a:latin typeface="微軟正黑體" panose="020B0604030504040204" pitchFamily="34" charset="-120"/>
                <a:ea typeface="微軟正黑體" panose="020B0604030504040204" pitchFamily="34" charset="-120"/>
                <a:cs typeface="微軟正黑體 Light" panose="020B0304030504040204" pitchFamily="34" charset="-120"/>
              </a:rPr>
              <a:t>或 </a:t>
            </a:r>
            <a:r>
              <a:rPr lang="en-US" altLang="zh-TW" sz="1800" dirty="0" smtClean="0">
                <a:latin typeface="微軟正黑體" panose="020B0604030504040204" pitchFamily="34" charset="-120"/>
                <a:ea typeface="微軟正黑體" panose="020B0604030504040204" pitchFamily="34" charset="-120"/>
                <a:cs typeface="微軟正黑體 Light" panose="020B0304030504040204" pitchFamily="34" charset="-120"/>
              </a:rPr>
              <a:t>Key Board </a:t>
            </a:r>
            <a:r>
              <a:rPr lang="zh-TW" altLang="en-US" sz="1800" dirty="0" smtClean="0">
                <a:latin typeface="微軟正黑體" panose="020B0604030504040204" pitchFamily="34" charset="-120"/>
                <a:ea typeface="微軟正黑體" panose="020B0604030504040204" pitchFamily="34" charset="-120"/>
                <a:cs typeface="微軟正黑體 Light" panose="020B0304030504040204" pitchFamily="34" charset="-120"/>
              </a:rPr>
              <a:t>等週邊商品一起購買</a:t>
            </a:r>
            <a:endParaRPr lang="en-US" altLang="zh-TW" sz="1800" dirty="0" smtClean="0">
              <a:latin typeface="微軟正黑體" panose="020B0604030504040204" pitchFamily="34" charset="-120"/>
              <a:ea typeface="微軟正黑體" panose="020B0604030504040204" pitchFamily="34" charset="-120"/>
              <a:cs typeface="微軟正黑體 Light" panose="020B0304030504040204" pitchFamily="34" charset="-120"/>
            </a:endParaRPr>
          </a:p>
          <a:p>
            <a:pPr eaLnBrk="1" hangingPunct="1"/>
            <a:r>
              <a:rPr lang="zh-TW" altLang="en-US" sz="1800" dirty="0" smtClean="0">
                <a:solidFill>
                  <a:schemeClr val="tx1">
                    <a:lumMod val="75000"/>
                    <a:lumOff val="25000"/>
                  </a:schemeClr>
                </a:solidFill>
                <a:latin typeface="微軟正黑體" panose="020B0604030504040204" pitchFamily="34" charset="-120"/>
                <a:ea typeface="微軟正黑體" panose="020B0604030504040204" pitchFamily="34" charset="-120"/>
                <a:cs typeface="微軟正黑體 Light" panose="020B0304030504040204" pitchFamily="34" charset="-120"/>
              </a:rPr>
              <a:t>企業購買</a:t>
            </a:r>
            <a:r>
              <a:rPr lang="en-US" altLang="zh-TW" sz="1800" dirty="0" smtClean="0">
                <a:solidFill>
                  <a:schemeClr val="tx1">
                    <a:lumMod val="75000"/>
                    <a:lumOff val="25000"/>
                  </a:schemeClr>
                </a:solidFill>
                <a:latin typeface="微軟正黑體" panose="020B0604030504040204" pitchFamily="34" charset="-120"/>
                <a:ea typeface="微軟正黑體" panose="020B0604030504040204" pitchFamily="34" charset="-120"/>
                <a:cs typeface="微軟正黑體 Light" panose="020B0304030504040204" pitchFamily="34" charset="-120"/>
              </a:rPr>
              <a:t>Windows</a:t>
            </a:r>
            <a:r>
              <a:rPr lang="zh-TW" altLang="en-US" sz="1800" dirty="0">
                <a:solidFill>
                  <a:schemeClr val="tx1">
                    <a:lumMod val="75000"/>
                    <a:lumOff val="25000"/>
                  </a:schemeClr>
                </a:solidFill>
                <a:latin typeface="微軟正黑體" panose="020B0604030504040204" pitchFamily="34" charset="-120"/>
                <a:ea typeface="微軟正黑體" panose="020B0604030504040204" pitchFamily="34" charset="-120"/>
                <a:cs typeface="微軟正黑體 Light" panose="020B0304030504040204" pitchFamily="34" charset="-120"/>
              </a:rPr>
              <a:t> </a:t>
            </a:r>
            <a:r>
              <a:rPr lang="en-US" altLang="zh-TW" sz="1800" dirty="0" smtClean="0">
                <a:solidFill>
                  <a:schemeClr val="tx1">
                    <a:lumMod val="75000"/>
                    <a:lumOff val="25000"/>
                  </a:schemeClr>
                </a:solidFill>
                <a:latin typeface="微軟正黑體" panose="020B0604030504040204" pitchFamily="34" charset="-120"/>
                <a:ea typeface="微軟正黑體" panose="020B0604030504040204" pitchFamily="34" charset="-120"/>
                <a:cs typeface="微軟正黑體 Light" panose="020B0304030504040204" pitchFamily="34" charset="-120"/>
              </a:rPr>
              <a:t>Home</a:t>
            </a:r>
            <a:r>
              <a:rPr lang="zh-TW" altLang="en-US" sz="1800" dirty="0" smtClean="0">
                <a:solidFill>
                  <a:schemeClr val="tx1">
                    <a:lumMod val="75000"/>
                    <a:lumOff val="25000"/>
                  </a:schemeClr>
                </a:solidFill>
                <a:latin typeface="微軟正黑體" panose="020B0604030504040204" pitchFamily="34" charset="-120"/>
                <a:ea typeface="微軟正黑體" panose="020B0604030504040204" pitchFamily="34" charset="-120"/>
                <a:cs typeface="微軟正黑體 Light" panose="020B0304030504040204" pitchFamily="34" charset="-120"/>
              </a:rPr>
              <a:t>版不可存取企業內部網路 </a:t>
            </a:r>
            <a:r>
              <a:rPr lang="en-US" altLang="zh-TW" sz="1800" dirty="0" smtClean="0">
                <a:solidFill>
                  <a:schemeClr val="tx1">
                    <a:lumMod val="75000"/>
                    <a:lumOff val="25000"/>
                  </a:schemeClr>
                </a:solidFill>
                <a:latin typeface="微軟正黑體" panose="020B0604030504040204" pitchFamily="34" charset="-120"/>
                <a:ea typeface="微軟正黑體" panose="020B0604030504040204" pitchFamily="34" charset="-120"/>
                <a:cs typeface="微軟正黑體 Light" panose="020B0304030504040204" pitchFamily="34" charset="-120"/>
              </a:rPr>
              <a:t>(Join Domain)</a:t>
            </a:r>
          </a:p>
          <a:p>
            <a:r>
              <a:rPr lang="en-US" altLang="zh-TW" sz="1800" dirty="0">
                <a:solidFill>
                  <a:srgbClr val="FF0000"/>
                </a:solidFill>
                <a:latin typeface="微軟正黑體" panose="020B0604030504040204" pitchFamily="34" charset="-120"/>
                <a:ea typeface="微軟正黑體" panose="020B0604030504040204" pitchFamily="34" charset="-120"/>
                <a:cs typeface="微軟正黑體 Light" panose="020B0304030504040204" pitchFamily="34" charset="-120"/>
              </a:rPr>
              <a:t>Office </a:t>
            </a:r>
            <a:r>
              <a:rPr lang="zh-TW" altLang="en-US" sz="1800" dirty="0">
                <a:solidFill>
                  <a:srgbClr val="FF0000"/>
                </a:solidFill>
                <a:latin typeface="微軟正黑體" panose="020B0604030504040204" pitchFamily="34" charset="-120"/>
                <a:ea typeface="微軟正黑體" panose="020B0604030504040204" pitchFamily="34" charset="-120"/>
                <a:cs typeface="微軟正黑體 Light" panose="020B0304030504040204" pitchFamily="34" charset="-120"/>
              </a:rPr>
              <a:t>隨機</a:t>
            </a:r>
            <a:r>
              <a:rPr lang="zh-TW" altLang="en-US" sz="1800" dirty="0" smtClean="0">
                <a:solidFill>
                  <a:srgbClr val="FF0000"/>
                </a:solidFill>
                <a:latin typeface="微軟正黑體" panose="020B0604030504040204" pitchFamily="34" charset="-120"/>
                <a:ea typeface="微軟正黑體" panose="020B0604030504040204" pitchFamily="34" charset="-120"/>
                <a:cs typeface="微軟正黑體 Light" panose="020B0304030504040204" pitchFamily="34" charset="-120"/>
              </a:rPr>
              <a:t>版</a:t>
            </a:r>
            <a:r>
              <a:rPr lang="zh-TW" altLang="en-US" sz="1800" dirty="0">
                <a:solidFill>
                  <a:srgbClr val="FF0000"/>
                </a:solidFill>
                <a:latin typeface="微軟正黑體" panose="020B0604030504040204" pitchFamily="34" charset="-120"/>
                <a:ea typeface="微軟正黑體" panose="020B0604030504040204" pitchFamily="34" charset="-120"/>
                <a:cs typeface="微軟正黑體 Light" panose="020B0304030504040204" pitchFamily="34" charset="-120"/>
              </a:rPr>
              <a:t>及</a:t>
            </a:r>
            <a:r>
              <a:rPr lang="zh-TW" altLang="en-US" sz="1800" dirty="0" smtClean="0">
                <a:solidFill>
                  <a:srgbClr val="FF0000"/>
                </a:solidFill>
                <a:latin typeface="微軟正黑體" panose="020B0604030504040204" pitchFamily="34" charset="-120"/>
                <a:ea typeface="微軟正黑體" panose="020B0604030504040204" pitchFamily="34" charset="-120"/>
                <a:cs typeface="微軟正黑體 Light" panose="020B0304030504040204" pitchFamily="34" charset="-120"/>
              </a:rPr>
              <a:t>彩盒裝不</a:t>
            </a:r>
            <a:r>
              <a:rPr lang="zh-TW" altLang="en-US" sz="1800" dirty="0">
                <a:solidFill>
                  <a:srgbClr val="FF0000"/>
                </a:solidFill>
                <a:latin typeface="微軟正黑體" panose="020B0604030504040204" pitchFamily="34" charset="-120"/>
                <a:ea typeface="微軟正黑體" panose="020B0604030504040204" pitchFamily="34" charset="-120"/>
                <a:cs typeface="微軟正黑體 Light" panose="020B0304030504040204" pitchFamily="34" charset="-120"/>
              </a:rPr>
              <a:t>提供降級</a:t>
            </a:r>
            <a:r>
              <a:rPr lang="zh-TW" altLang="en-US" sz="1800" dirty="0" smtClean="0">
                <a:solidFill>
                  <a:srgbClr val="FF0000"/>
                </a:solidFill>
                <a:latin typeface="微軟正黑體" panose="020B0604030504040204" pitchFamily="34" charset="-120"/>
                <a:ea typeface="微軟正黑體" panose="020B0604030504040204" pitchFamily="34" charset="-120"/>
                <a:cs typeface="微軟正黑體 Light" panose="020B0304030504040204" pitchFamily="34" charset="-120"/>
              </a:rPr>
              <a:t>權</a:t>
            </a:r>
            <a:endParaRPr lang="en-US" altLang="zh-TW" sz="1800" dirty="0" smtClean="0">
              <a:latin typeface="微軟正黑體" panose="020B0604030504040204" pitchFamily="34" charset="-120"/>
              <a:ea typeface="微軟正黑體" panose="020B0604030504040204" pitchFamily="34" charset="-120"/>
              <a:cs typeface="微軟正黑體 Light" panose="020B0304030504040204" pitchFamily="34" charset="-120"/>
            </a:endParaRPr>
          </a:p>
          <a:p>
            <a:pPr eaLnBrk="1" hangingPunct="1"/>
            <a:r>
              <a:rPr lang="zh-TW" altLang="en-US" sz="1800" dirty="0" smtClean="0">
                <a:latin typeface="微軟正黑體" panose="020B0604030504040204" pitchFamily="34" charset="-120"/>
                <a:ea typeface="微軟正黑體" panose="020B0604030504040204" pitchFamily="34" charset="-120"/>
                <a:cs typeface="微軟正黑體 Light" panose="020B0304030504040204" pitchFamily="34" charset="-120"/>
              </a:rPr>
              <a:t>隨機版如有遺失或是毀損</a:t>
            </a:r>
            <a:r>
              <a:rPr lang="en-US" altLang="zh-TW" sz="1800" dirty="0" smtClean="0">
                <a:latin typeface="微軟正黑體" panose="020B0604030504040204" pitchFamily="34" charset="-120"/>
                <a:ea typeface="微軟正黑體" panose="020B0604030504040204" pitchFamily="34" charset="-120"/>
                <a:cs typeface="微軟正黑體 Light" panose="020B0304030504040204" pitchFamily="34" charset="-120"/>
              </a:rPr>
              <a:t>,</a:t>
            </a:r>
            <a:r>
              <a:rPr lang="zh-TW" altLang="en-US" sz="1800" dirty="0" smtClean="0">
                <a:latin typeface="微軟正黑體" panose="020B0604030504040204" pitchFamily="34" charset="-120"/>
                <a:ea typeface="微軟正黑體" panose="020B0604030504040204" pitchFamily="34" charset="-120"/>
                <a:cs typeface="微軟正黑體 Light" panose="020B0304030504040204" pitchFamily="34" charset="-120"/>
              </a:rPr>
              <a:t> 無法補發</a:t>
            </a:r>
            <a:r>
              <a:rPr lang="en-US" altLang="zh-TW" sz="1800" dirty="0" smtClean="0">
                <a:latin typeface="微軟正黑體" panose="020B0604030504040204" pitchFamily="34" charset="-120"/>
                <a:ea typeface="微軟正黑體" panose="020B0604030504040204" pitchFamily="34" charset="-120"/>
                <a:cs typeface="微軟正黑體 Light" panose="020B0304030504040204" pitchFamily="34" charset="-120"/>
              </a:rPr>
              <a:t> </a:t>
            </a:r>
            <a:endParaRPr lang="zh-TW" altLang="en-US" sz="1800" dirty="0" smtClean="0">
              <a:latin typeface="微軟正黑體" panose="020B0604030504040204" pitchFamily="34" charset="-120"/>
              <a:ea typeface="微軟正黑體" panose="020B0604030504040204" pitchFamily="34" charset="-120"/>
              <a:cs typeface="微軟正黑體 Light" panose="020B0304030504040204" pitchFamily="34" charset="-120"/>
            </a:endParaRPr>
          </a:p>
        </p:txBody>
      </p:sp>
      <p:sp>
        <p:nvSpPr>
          <p:cNvPr id="13" name="Rounded Rectangle 12"/>
          <p:cNvSpPr/>
          <p:nvPr/>
        </p:nvSpPr>
        <p:spPr>
          <a:xfrm>
            <a:off x="285720" y="1571612"/>
            <a:ext cx="4214842" cy="785818"/>
          </a:xfrm>
          <a:prstGeom prst="round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endParaRPr lang="zh-TW" altLang="en-US" b="0">
              <a:solidFill>
                <a:schemeClr val="bg1"/>
              </a:solidFill>
              <a:latin typeface="微軟正黑體" panose="020B0604030504040204" pitchFamily="34" charset="-120"/>
              <a:ea typeface="微軟正黑體" panose="020B0604030504040204" pitchFamily="34" charset="-120"/>
              <a:cs typeface="微軟正黑體 Light" panose="020B0304030504040204" pitchFamily="34" charset="-120"/>
            </a:endParaRPr>
          </a:p>
        </p:txBody>
      </p:sp>
      <p:sp>
        <p:nvSpPr>
          <p:cNvPr id="14" name="Rounded Rectangle 13"/>
          <p:cNvSpPr/>
          <p:nvPr/>
        </p:nvSpPr>
        <p:spPr>
          <a:xfrm>
            <a:off x="4714876" y="1571612"/>
            <a:ext cx="4214842" cy="785818"/>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zh-TW" altLang="en-US">
              <a:latin typeface="微軟正黑體" panose="020B0604030504040204" pitchFamily="34" charset="-120"/>
              <a:ea typeface="微軟正黑體" panose="020B0604030504040204" pitchFamily="34" charset="-120"/>
              <a:cs typeface="微軟正黑體 Light" panose="020B0304030504040204" pitchFamily="34" charset="-120"/>
            </a:endParaRPr>
          </a:p>
        </p:txBody>
      </p:sp>
      <p:sp>
        <p:nvSpPr>
          <p:cNvPr id="15" name="內容版面配置區 5"/>
          <p:cNvSpPr>
            <a:spLocks noGrp="1"/>
          </p:cNvSpPr>
          <p:nvPr>
            <p:ph sz="half" idx="4294967295"/>
          </p:nvPr>
        </p:nvSpPr>
        <p:spPr>
          <a:xfrm>
            <a:off x="500034" y="1643050"/>
            <a:ext cx="1214446" cy="500066"/>
          </a:xfrm>
          <a:prstGeom prst="rect">
            <a:avLst/>
          </a:prstGeom>
        </p:spPr>
        <p:txBody>
          <a:bodyPr>
            <a:noAutofit/>
          </a:bodyPr>
          <a:lstStyle/>
          <a:p>
            <a:pPr eaLnBrk="1" hangingPunct="1">
              <a:buNone/>
            </a:pPr>
            <a:r>
              <a:rPr lang="zh-TW" altLang="en-US" sz="3600" dirty="0">
                <a:solidFill>
                  <a:schemeClr val="bg1"/>
                </a:solidFill>
                <a:latin typeface="微軟正黑體" panose="020B0604030504040204" pitchFamily="34" charset="-120"/>
                <a:ea typeface="微軟正黑體" panose="020B0604030504040204" pitchFamily="34" charset="-120"/>
                <a:cs typeface="微軟正黑體 Light" panose="020B0304030504040204" pitchFamily="34" charset="-120"/>
              </a:rPr>
              <a:t>可以</a:t>
            </a:r>
            <a:endParaRPr lang="zh-TW" altLang="en-US" sz="3600" dirty="0" smtClean="0">
              <a:solidFill>
                <a:schemeClr val="bg1"/>
              </a:solidFill>
              <a:latin typeface="微軟正黑體" panose="020B0604030504040204" pitchFamily="34" charset="-120"/>
              <a:ea typeface="微軟正黑體" panose="020B0604030504040204" pitchFamily="34" charset="-120"/>
              <a:cs typeface="微軟正黑體 Light" panose="020B0304030504040204" pitchFamily="34" charset="-120"/>
            </a:endParaRPr>
          </a:p>
        </p:txBody>
      </p:sp>
      <p:sp>
        <p:nvSpPr>
          <p:cNvPr id="16" name="內容版面配置區 5"/>
          <p:cNvSpPr>
            <a:spLocks noGrp="1"/>
          </p:cNvSpPr>
          <p:nvPr>
            <p:ph sz="half" idx="4294967295"/>
          </p:nvPr>
        </p:nvSpPr>
        <p:spPr>
          <a:xfrm>
            <a:off x="4857752" y="1643050"/>
            <a:ext cx="1928826" cy="500066"/>
          </a:xfrm>
          <a:prstGeom prst="rect">
            <a:avLst/>
          </a:prstGeom>
        </p:spPr>
        <p:txBody>
          <a:bodyPr>
            <a:noAutofit/>
          </a:bodyPr>
          <a:lstStyle/>
          <a:p>
            <a:pPr eaLnBrk="1" hangingPunct="1">
              <a:buNone/>
            </a:pPr>
            <a:r>
              <a:rPr lang="zh-TW" altLang="en-US" sz="3600" dirty="0" smtClean="0">
                <a:solidFill>
                  <a:schemeClr val="bg1"/>
                </a:solidFill>
                <a:latin typeface="微軟正黑體" panose="020B0604030504040204" pitchFamily="34" charset="-120"/>
                <a:ea typeface="微軟正黑體" panose="020B0604030504040204" pitchFamily="34" charset="-120"/>
                <a:cs typeface="微軟正黑體 Light" panose="020B0304030504040204" pitchFamily="34" charset="-120"/>
              </a:rPr>
              <a:t>不</a:t>
            </a:r>
            <a:r>
              <a:rPr lang="zh-TW" altLang="en-US" sz="3600" dirty="0">
                <a:solidFill>
                  <a:schemeClr val="bg1"/>
                </a:solidFill>
                <a:latin typeface="微軟正黑體" panose="020B0604030504040204" pitchFamily="34" charset="-120"/>
                <a:ea typeface="微軟正黑體" panose="020B0604030504040204" pitchFamily="34" charset="-120"/>
                <a:cs typeface="微軟正黑體 Light" panose="020B0304030504040204" pitchFamily="34" charset="-120"/>
              </a:rPr>
              <a:t>可以</a:t>
            </a:r>
            <a:endParaRPr lang="zh-TW" altLang="en-US" sz="3600" dirty="0" smtClean="0">
              <a:solidFill>
                <a:schemeClr val="bg1"/>
              </a:solidFill>
              <a:latin typeface="微軟正黑體" panose="020B0604030504040204" pitchFamily="34" charset="-120"/>
              <a:ea typeface="微軟正黑體" panose="020B0604030504040204" pitchFamily="34" charset="-120"/>
              <a:cs typeface="微軟正黑體 Light" panose="020B0304030504040204" pitchFamily="34" charset="-120"/>
            </a:endParaRPr>
          </a:p>
        </p:txBody>
      </p:sp>
      <p:sp>
        <p:nvSpPr>
          <p:cNvPr id="3" name="Title 2"/>
          <p:cNvSpPr>
            <a:spLocks noGrp="1"/>
          </p:cNvSpPr>
          <p:nvPr>
            <p:ph type="title"/>
          </p:nvPr>
        </p:nvSpPr>
        <p:spPr/>
        <p:txBody>
          <a:bodyPr/>
          <a:lstStyle/>
          <a:p>
            <a:r>
              <a:rPr lang="zh-TW" altLang="en-US" smtClean="0">
                <a:latin typeface="微軟正黑體" panose="020B0604030504040204" pitchFamily="34" charset="-120"/>
                <a:ea typeface="微軟正黑體" panose="020B0604030504040204" pitchFamily="34" charset="-120"/>
                <a:cs typeface="微軟正黑體 Light" panose="020B0304030504040204" pitchFamily="34" charset="-120"/>
              </a:rPr>
              <a:t>微軟軟體授權的基本規範</a:t>
            </a:r>
            <a:endParaRPr lang="en-US" dirty="0">
              <a:latin typeface="微軟正黑體" panose="020B0604030504040204" pitchFamily="34" charset="-120"/>
              <a:ea typeface="微軟正黑體" panose="020B0604030504040204" pitchFamily="34" charset="-120"/>
              <a:cs typeface="微軟正黑體 Light" panose="020B0304030504040204" pitchFamily="34" charset="-120"/>
            </a:endParaRPr>
          </a:p>
        </p:txBody>
      </p:sp>
      <p:sp>
        <p:nvSpPr>
          <p:cNvPr id="2" name="投影片編號版面配置區 1"/>
          <p:cNvSpPr>
            <a:spLocks noGrp="1"/>
          </p:cNvSpPr>
          <p:nvPr>
            <p:ph type="sldNum" sz="quarter" idx="12"/>
          </p:nvPr>
        </p:nvSpPr>
        <p:spPr/>
        <p:txBody>
          <a:bodyPr/>
          <a:lstStyle/>
          <a:p>
            <a:pPr>
              <a:defRPr/>
            </a:pPr>
            <a:fld id="{1D9970BA-2F58-4996-9806-696110DA0FEA}" type="slidenum">
              <a:rPr lang="en-US" smtClean="0"/>
              <a:pPr>
                <a:defRPr/>
              </a:pPr>
              <a:t>26</a:t>
            </a:fld>
            <a:endParaRPr lang="zh-CN" altLang="en-US"/>
          </a:p>
        </p:txBody>
      </p:sp>
    </p:spTree>
    <p:extLst>
      <p:ext uri="{BB962C8B-B14F-4D97-AF65-F5344CB8AC3E}">
        <p14:creationId xmlns:p14="http://schemas.microsoft.com/office/powerpoint/2010/main" val="24429761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403519" y="1047338"/>
            <a:ext cx="3504286" cy="325048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alpha val="80000"/>
            </a:schemeClr>
          </a:solidFill>
        </p:spPr>
        <p:txBody>
          <a:bodyPr anchor="ctr"/>
          <a:lstStyle>
            <a:lvl1pPr algn="l" defTabSz="1218784" rtl="0" eaLnBrk="1" latinLnBrk="0" hangingPunct="1">
              <a:spcBef>
                <a:spcPct val="0"/>
              </a:spcBef>
              <a:spcAft>
                <a:spcPts val="1600"/>
              </a:spcAft>
              <a:buNone/>
              <a:defRPr lang="en-US" sz="1863" kern="1200" dirty="0" smtClean="0">
                <a:solidFill>
                  <a:schemeClr val="bg1"/>
                </a:solidFill>
                <a:latin typeface="+mj-lt"/>
                <a:ea typeface="ＭＳ Ｐゴシック" charset="0"/>
                <a:cs typeface="Segoe UI" pitchFamily="34" charset="0"/>
              </a:defRPr>
            </a:lvl1pPr>
          </a:lstStyle>
          <a:p>
            <a:pPr>
              <a:spcAft>
                <a:spcPts val="0"/>
              </a:spcAft>
            </a:pPr>
            <a:r>
              <a:rPr sz="3600">
                <a:solidFill>
                  <a:srgbClr val="FFFFFF"/>
                </a:solidFill>
                <a:latin typeface="Segoe UI Light" panose="020B0502040204020203" pitchFamily="34" charset="0"/>
                <a:cs typeface="Segoe UI Light" panose="020B0502040204020203" pitchFamily="34" charset="0"/>
              </a:rPr>
              <a:t>Windows 10 </a:t>
            </a:r>
            <a:br>
              <a:rPr sz="3600">
                <a:solidFill>
                  <a:srgbClr val="FFFFFF"/>
                </a:solidFill>
                <a:latin typeface="Segoe UI Light" panose="020B0502040204020203" pitchFamily="34" charset="0"/>
                <a:cs typeface="Segoe UI Light" panose="020B0502040204020203" pitchFamily="34" charset="0"/>
              </a:rPr>
            </a:br>
            <a:r>
              <a:rPr lang="zh-TW" altLang="en-US" sz="3600">
                <a:solidFill>
                  <a:srgbClr val="FFFFFF"/>
                </a:solidFill>
                <a:latin typeface="Segoe UI Light" panose="020B0502040204020203" pitchFamily="34" charset="0"/>
                <a:cs typeface="Segoe UI Light" panose="020B0502040204020203" pitchFamily="34" charset="0"/>
              </a:rPr>
              <a:t>大量授權概觀</a:t>
            </a:r>
            <a:endParaRPr sz="3600">
              <a:solidFill>
                <a:srgbClr val="FFFFFF"/>
              </a:solidFill>
              <a:latin typeface="Segoe UI Light" panose="020B0502040204020203" pitchFamily="34" charset="0"/>
              <a:cs typeface="Segoe UI Light" panose="020B0502040204020203" pitchFamily="34" charset="0"/>
            </a:endParaRPr>
          </a:p>
        </p:txBody>
      </p:sp>
      <p:pic>
        <p:nvPicPr>
          <p:cNvPr id="11" name="Phablet"/>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14673" y="4441281"/>
            <a:ext cx="796989" cy="733951"/>
          </a:xfrm>
          <a:prstGeom prst="rect">
            <a:avLst/>
          </a:prstGeom>
        </p:spPr>
      </p:pic>
      <p:pic>
        <p:nvPicPr>
          <p:cNvPr id="12" name="Phone"/>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28740" y="4597581"/>
            <a:ext cx="611595" cy="563217"/>
          </a:xfrm>
          <a:prstGeom prst="rect">
            <a:avLst/>
          </a:prstGeom>
        </p:spPr>
      </p:pic>
      <p:pic>
        <p:nvPicPr>
          <p:cNvPr id="13" name="Small Tablet"/>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126267" y="4319646"/>
            <a:ext cx="1209090" cy="892584"/>
          </a:xfrm>
          <a:prstGeom prst="rect">
            <a:avLst/>
          </a:prstGeom>
        </p:spPr>
      </p:pic>
      <p:pic>
        <p:nvPicPr>
          <p:cNvPr id="14" name="2-in-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043211" y="4224572"/>
            <a:ext cx="2155928" cy="1082731"/>
          </a:xfrm>
          <a:prstGeom prst="rect">
            <a:avLst/>
          </a:prstGeom>
        </p:spPr>
      </p:pic>
      <p:pic>
        <p:nvPicPr>
          <p:cNvPr id="15" name="Laptop"/>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824748" y="4132736"/>
            <a:ext cx="1853363" cy="1050010"/>
          </a:xfrm>
          <a:prstGeom prst="rect">
            <a:avLst/>
          </a:prstGeom>
        </p:spPr>
      </p:pic>
      <p:pic>
        <p:nvPicPr>
          <p:cNvPr id="16" name="Desktop"/>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219161" y="3479939"/>
            <a:ext cx="3033033" cy="1635768"/>
          </a:xfrm>
          <a:prstGeom prst="rect">
            <a:avLst/>
          </a:prstGeom>
        </p:spPr>
      </p:pic>
      <p:pic>
        <p:nvPicPr>
          <p:cNvPr id="17" name="IoT"/>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03520" y="4707241"/>
            <a:ext cx="625220" cy="453492"/>
          </a:xfrm>
          <a:prstGeom prst="rect">
            <a:avLst/>
          </a:prstGeom>
        </p:spPr>
      </p:pic>
      <p:sp>
        <p:nvSpPr>
          <p:cNvPr id="2" name="投影片編號版面配置區 1"/>
          <p:cNvSpPr>
            <a:spLocks noGrp="1"/>
          </p:cNvSpPr>
          <p:nvPr>
            <p:ph type="sldNum" sz="quarter" idx="12"/>
          </p:nvPr>
        </p:nvSpPr>
        <p:spPr/>
        <p:txBody>
          <a:bodyPr/>
          <a:lstStyle/>
          <a:p>
            <a:pPr>
              <a:defRPr/>
            </a:pPr>
            <a:fld id="{A0182AC1-71AD-49E9-9CC0-79324CBF93C4}" type="slidenum">
              <a:rPr lang="en-US" smtClean="0"/>
              <a:pPr>
                <a:defRPr/>
              </a:pPr>
              <a:t>27</a:t>
            </a:fld>
            <a:endParaRPr lang="zh-CN" altLang="en-US"/>
          </a:p>
        </p:txBody>
      </p:sp>
    </p:spTree>
    <p:extLst>
      <p:ext uri="{BB962C8B-B14F-4D97-AF65-F5344CB8AC3E}">
        <p14:creationId xmlns:p14="http://schemas.microsoft.com/office/powerpoint/2010/main" val="34457951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2884" y="859931"/>
          <a:ext cx="1587" cy="1587"/>
        </p:xfrm>
        <a:graphic>
          <a:graphicData uri="http://schemas.openxmlformats.org/presentationml/2006/ole">
            <mc:AlternateContent xmlns:mc="http://schemas.openxmlformats.org/markup-compatibility/2006">
              <mc:Choice xmlns:v="urn:schemas-microsoft-com:vml" Requires="v">
                <p:oleObj spid="_x0000_s8199"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84" y="85993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649" y="850424"/>
            <a:ext cx="8737663" cy="591916"/>
          </a:xfrm>
        </p:spPr>
        <p:txBody>
          <a:bodyPr vert="horz" wrap="square" lIns="109713" tIns="68570" rIns="109713" bIns="68570" rtlCol="0" anchor="t">
            <a:noAutofit/>
          </a:bodyPr>
          <a:lstStyle/>
          <a:p>
            <a:pPr>
              <a:lnSpc>
                <a:spcPct val="100000"/>
              </a:lnSpc>
            </a:pPr>
            <a:r>
              <a:rPr lang="en-US" sz="2700" b="1" spc="-110" dirty="0">
                <a:solidFill>
                  <a:srgbClr val="0078D7"/>
                </a:solidFill>
                <a:latin typeface="Segoe UI" panose="020B0502040204020203" pitchFamily="34" charset="0"/>
              </a:rPr>
              <a:t>Windows 10 </a:t>
            </a:r>
            <a:r>
              <a:rPr lang="zh-TW" altLang="en-US" sz="2700" b="1" spc="-110" dirty="0">
                <a:solidFill>
                  <a:srgbClr val="0078D7"/>
                </a:solidFill>
                <a:latin typeface="Segoe UI" panose="020B0502040204020203" pitchFamily="34" charset="0"/>
              </a:rPr>
              <a:t>桌面版本</a:t>
            </a:r>
            <a:endParaRPr lang="en-US" sz="2700" spc="-110" baseline="50000" dirty="0">
              <a:solidFill>
                <a:srgbClr val="0078D7"/>
              </a:solidFill>
              <a:latin typeface="Segoe UI" panose="020B0502040204020203" pitchFamily="34" charset="0"/>
            </a:endParaRPr>
          </a:p>
        </p:txBody>
      </p:sp>
      <p:sp>
        <p:nvSpPr>
          <p:cNvPr id="99" name="Rectangle 2"/>
          <p:cNvSpPr>
            <a:spLocks noChangeArrowheads="1"/>
          </p:cNvSpPr>
          <p:nvPr/>
        </p:nvSpPr>
        <p:spPr bwMode="gray">
          <a:xfrm>
            <a:off x="287355" y="1328156"/>
            <a:ext cx="1199492" cy="477099"/>
          </a:xfrm>
          <a:prstGeom prst="rect">
            <a:avLst/>
          </a:prstGeom>
          <a:solidFill>
            <a:schemeClr val="bg1"/>
          </a:solidFill>
          <a:ln w="9525">
            <a:noFill/>
            <a:miter lim="800000"/>
            <a:headEnd/>
            <a:tailEnd/>
          </a:ln>
          <a:effectLst>
            <a:outerShdw dist="25400" dir="5400000" algn="ctr" rotWithShape="0">
              <a:schemeClr val="accent1"/>
            </a:outerShdw>
          </a:effectLst>
        </p:spPr>
        <p:txBody>
          <a:bodyPr wrap="square" lIns="79334" tIns="79334" rIns="79334" bIns="79334" anchor="b">
            <a:spAutoFit/>
          </a:bodyPr>
          <a:lstStyle/>
          <a:p>
            <a:pPr algn="ctr" defTabSz="685739"/>
            <a:r>
              <a:rPr lang="zh-TW" altLang="en-US" sz="2059" dirty="0">
                <a:solidFill>
                  <a:srgbClr val="0072C6"/>
                </a:solidFill>
                <a:ea typeface="Segoe UI"/>
                <a:cs typeface="Segoe UI"/>
                <a:sym typeface="Segoe UI"/>
              </a:rPr>
              <a:t>版本</a:t>
            </a:r>
            <a:endParaRPr lang="en-US" sz="2059" dirty="0">
              <a:solidFill>
                <a:srgbClr val="0072C6"/>
              </a:solidFill>
              <a:ea typeface="Segoe UI"/>
              <a:cs typeface="Segoe UI"/>
              <a:sym typeface="Segoe UI"/>
            </a:endParaRPr>
          </a:p>
        </p:txBody>
      </p:sp>
      <p:sp>
        <p:nvSpPr>
          <p:cNvPr id="103" name="Rectangle 2"/>
          <p:cNvSpPr>
            <a:spLocks noChangeArrowheads="1"/>
          </p:cNvSpPr>
          <p:nvPr/>
        </p:nvSpPr>
        <p:spPr bwMode="gray">
          <a:xfrm>
            <a:off x="1637616" y="1335649"/>
            <a:ext cx="1807435" cy="477099"/>
          </a:xfrm>
          <a:prstGeom prst="rect">
            <a:avLst/>
          </a:prstGeom>
          <a:solidFill>
            <a:schemeClr val="bg1"/>
          </a:solidFill>
          <a:ln w="9525">
            <a:noFill/>
            <a:miter lim="800000"/>
            <a:headEnd/>
            <a:tailEnd/>
          </a:ln>
          <a:effectLst>
            <a:outerShdw dist="25400" dir="5400000" algn="ctr" rotWithShape="0">
              <a:schemeClr val="accent1"/>
            </a:outerShdw>
          </a:effectLst>
        </p:spPr>
        <p:txBody>
          <a:bodyPr wrap="square" lIns="79334" tIns="79334" rIns="79334" bIns="79334" anchor="b">
            <a:spAutoFit/>
          </a:bodyPr>
          <a:lstStyle/>
          <a:p>
            <a:pPr algn="ctr" defTabSz="685739"/>
            <a:r>
              <a:rPr lang="zh-TW" altLang="en-US" sz="2059" dirty="0">
                <a:solidFill>
                  <a:srgbClr val="0072C6"/>
                </a:solidFill>
                <a:ea typeface="Segoe UI"/>
                <a:cs typeface="Segoe UI"/>
                <a:sym typeface="Segoe UI"/>
              </a:rPr>
              <a:t>適用</a:t>
            </a:r>
            <a:endParaRPr lang="en-US" sz="2059" dirty="0">
              <a:solidFill>
                <a:srgbClr val="0072C6"/>
              </a:solidFill>
              <a:ea typeface="Segoe UI"/>
              <a:cs typeface="Segoe UI"/>
              <a:sym typeface="Segoe UI"/>
            </a:endParaRPr>
          </a:p>
        </p:txBody>
      </p:sp>
      <p:sp>
        <p:nvSpPr>
          <p:cNvPr id="44" name="Rectangle 2"/>
          <p:cNvSpPr>
            <a:spLocks noChangeArrowheads="1"/>
          </p:cNvSpPr>
          <p:nvPr/>
        </p:nvSpPr>
        <p:spPr bwMode="gray">
          <a:xfrm>
            <a:off x="3595505" y="1328451"/>
            <a:ext cx="3371321" cy="477099"/>
          </a:xfrm>
          <a:prstGeom prst="rect">
            <a:avLst/>
          </a:prstGeom>
          <a:solidFill>
            <a:schemeClr val="bg1"/>
          </a:solidFill>
          <a:ln w="9525">
            <a:noFill/>
            <a:miter lim="800000"/>
            <a:headEnd/>
            <a:tailEnd/>
          </a:ln>
          <a:effectLst>
            <a:outerShdw dist="25400" dir="5400000" algn="ctr" rotWithShape="0">
              <a:schemeClr val="accent1"/>
            </a:outerShdw>
          </a:effectLst>
        </p:spPr>
        <p:txBody>
          <a:bodyPr wrap="square" lIns="79334" tIns="79334" rIns="79334" bIns="79334" anchor="b">
            <a:spAutoFit/>
          </a:bodyPr>
          <a:lstStyle/>
          <a:p>
            <a:pPr algn="ctr" defTabSz="685739"/>
            <a:r>
              <a:rPr lang="zh-TW" altLang="en-US" sz="2059" dirty="0">
                <a:solidFill>
                  <a:srgbClr val="0072C6"/>
                </a:solidFill>
                <a:ea typeface="Segoe UI"/>
                <a:cs typeface="Segoe UI"/>
                <a:sym typeface="Segoe UI"/>
              </a:rPr>
              <a:t>特點</a:t>
            </a:r>
            <a:endParaRPr lang="en-US" sz="2059" dirty="0">
              <a:solidFill>
                <a:srgbClr val="0072C6"/>
              </a:solidFill>
              <a:ea typeface="Segoe UI"/>
              <a:cs typeface="Segoe UI"/>
              <a:sym typeface="Segoe UI"/>
            </a:endParaRPr>
          </a:p>
        </p:txBody>
      </p:sp>
      <p:sp>
        <p:nvSpPr>
          <p:cNvPr id="23" name="Rectangle 22"/>
          <p:cNvSpPr/>
          <p:nvPr/>
        </p:nvSpPr>
        <p:spPr>
          <a:xfrm>
            <a:off x="1522488" y="1924990"/>
            <a:ext cx="1675084" cy="8228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19" tIns="80655" rIns="100819" bIns="80655" numCol="1" spcCol="0" rtlCol="0" fromWordArt="0" anchor="ctr" anchorCtr="0" forceAA="0" compatLnSpc="1">
            <a:prstTxWarp prst="textNoShape">
              <a:avLst/>
            </a:prstTxWarp>
            <a:noAutofit/>
          </a:bodyPr>
          <a:lstStyle/>
          <a:p>
            <a:pPr defTabSz="685739"/>
            <a:r>
              <a:rPr lang="zh-TW" altLang="en-US" sz="1101" dirty="0">
                <a:solidFill>
                  <a:srgbClr val="0072C6"/>
                </a:solidFill>
              </a:rPr>
              <a:t>消費型和 </a:t>
            </a:r>
            <a:r>
              <a:rPr lang="en-US" sz="1101" dirty="0">
                <a:solidFill>
                  <a:srgbClr val="0072C6"/>
                </a:solidFill>
              </a:rPr>
              <a:t>BYOD </a:t>
            </a:r>
            <a:r>
              <a:rPr lang="zh-TW" altLang="en-US" sz="1101" dirty="0">
                <a:solidFill>
                  <a:srgbClr val="0072C6"/>
                </a:solidFill>
              </a:rPr>
              <a:t>使用者</a:t>
            </a:r>
            <a:endParaRPr lang="en-US" sz="1101" dirty="0">
              <a:solidFill>
                <a:srgbClr val="0072C6"/>
              </a:solidFill>
            </a:endParaRPr>
          </a:p>
        </p:txBody>
      </p:sp>
      <p:sp>
        <p:nvSpPr>
          <p:cNvPr id="11" name="TextBox 10"/>
          <p:cNvSpPr txBox="1"/>
          <p:nvPr/>
        </p:nvSpPr>
        <p:spPr>
          <a:xfrm>
            <a:off x="203171" y="5414835"/>
            <a:ext cx="5930152" cy="429286"/>
          </a:xfrm>
          <a:prstGeom prst="rect">
            <a:avLst/>
          </a:prstGeom>
          <a:noFill/>
        </p:spPr>
        <p:txBody>
          <a:bodyPr wrap="square" lIns="137121" tIns="109697" rIns="137121" bIns="109697" rtlCol="0">
            <a:spAutoFit/>
          </a:bodyPr>
          <a:lstStyle/>
          <a:p>
            <a:pPr marL="171434" indent="-171434" defTabSz="685739">
              <a:buFontTx/>
              <a:buAutoNum type="arabicPeriod"/>
            </a:pPr>
            <a:r>
              <a:rPr lang="en-US" sz="675" dirty="0">
                <a:solidFill>
                  <a:srgbClr val="0072C6"/>
                </a:solidFill>
              </a:rPr>
              <a:t>Windows 7/ 8.1 </a:t>
            </a:r>
            <a:r>
              <a:rPr lang="zh-TW" altLang="en-US" sz="675" dirty="0">
                <a:solidFill>
                  <a:srgbClr val="0072C6"/>
                </a:solidFill>
              </a:rPr>
              <a:t>裝置在 </a:t>
            </a:r>
            <a:r>
              <a:rPr lang="en-US" altLang="zh-TW" sz="675" dirty="0">
                <a:solidFill>
                  <a:srgbClr val="0072C6"/>
                </a:solidFill>
              </a:rPr>
              <a:t>Windows 10 </a:t>
            </a:r>
            <a:r>
              <a:rPr lang="zh-TW" altLang="en-US" sz="675" dirty="0">
                <a:solidFill>
                  <a:srgbClr val="0072C6"/>
                </a:solidFill>
              </a:rPr>
              <a:t>上市首年，可透過 </a:t>
            </a:r>
            <a:r>
              <a:rPr lang="en-US" altLang="zh-TW" sz="675" dirty="0">
                <a:solidFill>
                  <a:srgbClr val="0072C6"/>
                </a:solidFill>
              </a:rPr>
              <a:t>Windows Update </a:t>
            </a:r>
            <a:r>
              <a:rPr lang="zh-TW" altLang="en-US" sz="675" dirty="0">
                <a:solidFill>
                  <a:srgbClr val="0072C6"/>
                </a:solidFill>
              </a:rPr>
              <a:t>取得升級</a:t>
            </a:r>
            <a:endParaRPr lang="en-US" sz="675" dirty="0">
              <a:solidFill>
                <a:srgbClr val="0072C6"/>
              </a:solidFill>
            </a:endParaRPr>
          </a:p>
          <a:p>
            <a:pPr marL="171434" indent="-171434" defTabSz="685739">
              <a:buFontTx/>
              <a:buAutoNum type="arabicPeriod"/>
            </a:pPr>
            <a:r>
              <a:rPr lang="zh-TW" altLang="en-US" sz="675" dirty="0">
                <a:solidFill>
                  <a:srgbClr val="0072C6"/>
                </a:solidFill>
              </a:rPr>
              <a:t>需 </a:t>
            </a:r>
            <a:r>
              <a:rPr lang="en-US" altLang="zh-TW" sz="675" dirty="0">
                <a:solidFill>
                  <a:srgbClr val="0072C6"/>
                </a:solidFill>
              </a:rPr>
              <a:t>SA </a:t>
            </a:r>
            <a:r>
              <a:rPr lang="zh-TW" altLang="en-US" sz="675" dirty="0">
                <a:solidFill>
                  <a:srgbClr val="0072C6"/>
                </a:solidFill>
              </a:rPr>
              <a:t>軟體保證</a:t>
            </a:r>
            <a:endParaRPr lang="en-US" sz="675" dirty="0">
              <a:solidFill>
                <a:srgbClr val="0072C6"/>
              </a:solidFill>
            </a:endParaRPr>
          </a:p>
        </p:txBody>
      </p:sp>
      <p:sp>
        <p:nvSpPr>
          <p:cNvPr id="21" name="Rectangle 2"/>
          <p:cNvSpPr>
            <a:spLocks noChangeArrowheads="1"/>
          </p:cNvSpPr>
          <p:nvPr/>
        </p:nvSpPr>
        <p:spPr bwMode="gray">
          <a:xfrm>
            <a:off x="7566128" y="1328451"/>
            <a:ext cx="1374705" cy="477099"/>
          </a:xfrm>
          <a:prstGeom prst="rect">
            <a:avLst/>
          </a:prstGeom>
          <a:solidFill>
            <a:schemeClr val="bg1"/>
          </a:solidFill>
          <a:ln w="9525">
            <a:noFill/>
            <a:miter lim="800000"/>
            <a:headEnd/>
            <a:tailEnd/>
          </a:ln>
          <a:effectLst>
            <a:outerShdw dist="25400" dir="5400000" algn="ctr" rotWithShape="0">
              <a:schemeClr val="accent1"/>
            </a:outerShdw>
          </a:effectLst>
        </p:spPr>
        <p:txBody>
          <a:bodyPr wrap="square" lIns="79334" tIns="79334" rIns="79334" bIns="79334" anchor="b">
            <a:spAutoFit/>
          </a:bodyPr>
          <a:lstStyle/>
          <a:p>
            <a:pPr algn="ctr" defTabSz="685739"/>
            <a:r>
              <a:rPr lang="zh-TW" altLang="en-US" sz="2059" dirty="0">
                <a:solidFill>
                  <a:srgbClr val="0072C6"/>
                </a:solidFill>
                <a:ea typeface="Segoe UI"/>
                <a:cs typeface="Segoe UI"/>
                <a:sym typeface="Segoe UI"/>
              </a:rPr>
              <a:t>管道</a:t>
            </a:r>
            <a:endParaRPr lang="en-US" sz="2059" dirty="0">
              <a:solidFill>
                <a:srgbClr val="0072C6"/>
              </a:solidFill>
              <a:ea typeface="Segoe UI"/>
              <a:cs typeface="Segoe UI"/>
              <a:sym typeface="Segoe UI"/>
            </a:endParaRPr>
          </a:p>
        </p:txBody>
      </p:sp>
      <p:sp>
        <p:nvSpPr>
          <p:cNvPr id="16" name="Rectangle 16"/>
          <p:cNvSpPr/>
          <p:nvPr/>
        </p:nvSpPr>
        <p:spPr>
          <a:xfrm>
            <a:off x="270048" y="1917793"/>
            <a:ext cx="1199493" cy="82284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19" tIns="80655" rIns="100819" bIns="80655" numCol="1" spcCol="0" rtlCol="0" fromWordArt="0" anchor="ctr" anchorCtr="0" forceAA="0" compatLnSpc="1">
            <a:prstTxWarp prst="textNoShape">
              <a:avLst/>
            </a:prstTxWarp>
            <a:noAutofit/>
          </a:bodyPr>
          <a:lstStyle/>
          <a:p>
            <a:pPr algn="ctr" defTabSz="685739">
              <a:lnSpc>
                <a:spcPct val="90000"/>
              </a:lnSpc>
              <a:spcBef>
                <a:spcPts val="600"/>
              </a:spcBef>
            </a:pPr>
            <a:r>
              <a:rPr lang="en-US" sz="2059" dirty="0">
                <a:solidFill>
                  <a:srgbClr val="FFFFFF"/>
                </a:solidFill>
              </a:rPr>
              <a:t>Windows 10</a:t>
            </a:r>
          </a:p>
          <a:p>
            <a:pPr algn="ctr" defTabSz="685739">
              <a:lnSpc>
                <a:spcPct val="90000"/>
              </a:lnSpc>
              <a:spcBef>
                <a:spcPts val="600"/>
              </a:spcBef>
            </a:pPr>
            <a:r>
              <a:rPr lang="zh-TW" altLang="en-US" sz="2059" dirty="0">
                <a:solidFill>
                  <a:srgbClr val="FFFFFF"/>
                </a:solidFill>
              </a:rPr>
              <a:t>家用版</a:t>
            </a:r>
            <a:endParaRPr lang="en-US" sz="2059" dirty="0">
              <a:solidFill>
                <a:srgbClr val="FFFFFF"/>
              </a:solidFill>
            </a:endParaRPr>
          </a:p>
        </p:txBody>
      </p:sp>
      <p:sp>
        <p:nvSpPr>
          <p:cNvPr id="3" name="Rectangle 17"/>
          <p:cNvSpPr/>
          <p:nvPr/>
        </p:nvSpPr>
        <p:spPr>
          <a:xfrm>
            <a:off x="3445052" y="1917793"/>
            <a:ext cx="3521774" cy="822843"/>
          </a:xfrm>
          <a:prstGeom prst="rect">
            <a:avLst/>
          </a:prstGeom>
        </p:spPr>
        <p:txBody>
          <a:bodyPr wrap="square" anchor="ctr">
            <a:noAutofit/>
          </a:bodyPr>
          <a:lstStyle/>
          <a:p>
            <a:pPr marL="214252" indent="-214252" defTabSz="685739">
              <a:buFont typeface="Arial" panose="020B0604020202020204" pitchFamily="34" charset="0"/>
              <a:buChar char="•"/>
            </a:pPr>
            <a:r>
              <a:rPr lang="zh-TW" altLang="en-US" sz="1101" dirty="0">
                <a:solidFill>
                  <a:srgbClr val="0072C6"/>
                </a:solidFill>
              </a:rPr>
              <a:t>熟悉的個人化體驗</a:t>
            </a:r>
            <a:endParaRPr lang="en-US" sz="1101" dirty="0">
              <a:solidFill>
                <a:srgbClr val="0072C6"/>
              </a:solidFill>
            </a:endParaRPr>
          </a:p>
          <a:p>
            <a:pPr marL="214252" indent="-214252" defTabSz="685739">
              <a:buFont typeface="Arial" panose="020B0604020202020204" pitchFamily="34" charset="0"/>
              <a:buChar char="•"/>
            </a:pPr>
            <a:r>
              <a:rPr lang="zh-TW" altLang="en-US" sz="1101" dirty="0">
                <a:solidFill>
                  <a:srgbClr val="0072C6"/>
                </a:solidFill>
              </a:rPr>
              <a:t>為線上服務設計的嶄新瀏覽器</a:t>
            </a:r>
            <a:endParaRPr lang="en-US" sz="1101" dirty="0">
              <a:solidFill>
                <a:srgbClr val="0072C6"/>
              </a:solidFill>
            </a:endParaRPr>
          </a:p>
          <a:p>
            <a:pPr marL="214252" indent="-214252" defTabSz="685739">
              <a:buFont typeface="Arial" panose="020B0604020202020204" pitchFamily="34" charset="0"/>
              <a:buChar char="•"/>
            </a:pPr>
            <a:r>
              <a:rPr lang="zh-TW" altLang="en-US" sz="1101" dirty="0">
                <a:solidFill>
                  <a:srgbClr val="0072C6"/>
                </a:solidFill>
              </a:rPr>
              <a:t>井然有序的呈現更豐富</a:t>
            </a:r>
            <a:endParaRPr lang="en-US" sz="1101" dirty="0">
              <a:solidFill>
                <a:srgbClr val="0072C6"/>
              </a:solidFill>
            </a:endParaRPr>
          </a:p>
          <a:p>
            <a:pPr marL="214252" indent="-214252" defTabSz="685739">
              <a:buFont typeface="Arial" panose="020B0604020202020204" pitchFamily="34" charset="0"/>
              <a:buChar char="•"/>
            </a:pPr>
            <a:r>
              <a:rPr lang="zh-TW" altLang="en-US" sz="1101" dirty="0">
                <a:solidFill>
                  <a:srgbClr val="0072C6"/>
                </a:solidFill>
              </a:rPr>
              <a:t>永保最新防護和功能</a:t>
            </a:r>
            <a:endParaRPr lang="en-US" sz="1101" dirty="0">
              <a:solidFill>
                <a:srgbClr val="0072C6"/>
              </a:solidFill>
            </a:endParaRPr>
          </a:p>
        </p:txBody>
      </p:sp>
      <p:sp>
        <p:nvSpPr>
          <p:cNvPr id="14" name="Rectangle 19"/>
          <p:cNvSpPr/>
          <p:nvPr/>
        </p:nvSpPr>
        <p:spPr bwMode="auto">
          <a:xfrm>
            <a:off x="270046" y="1917793"/>
            <a:ext cx="8721086" cy="822843"/>
          </a:xfrm>
          <a:prstGeom prst="rect">
            <a:avLst/>
          </a:prstGeom>
          <a:noFill/>
          <a:ln w="19050">
            <a:solidFill>
              <a:srgbClr val="00188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a:lnSpc>
                <a:spcPct val="90000"/>
              </a:lnSpc>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30"/>
          <p:cNvSpPr/>
          <p:nvPr/>
        </p:nvSpPr>
        <p:spPr>
          <a:xfrm>
            <a:off x="7646233" y="1917793"/>
            <a:ext cx="1363831" cy="822843"/>
          </a:xfrm>
          <a:prstGeom prst="rect">
            <a:avLst/>
          </a:prstGeom>
        </p:spPr>
        <p:txBody>
          <a:bodyPr wrap="square" anchor="ctr">
            <a:noAutofit/>
          </a:bodyPr>
          <a:lstStyle/>
          <a:p>
            <a:pPr defTabSz="685739"/>
            <a:r>
              <a:rPr lang="en-US" sz="1101" dirty="0">
                <a:solidFill>
                  <a:srgbClr val="0072C6"/>
                </a:solidFill>
              </a:rPr>
              <a:t>OEM</a:t>
            </a:r>
          </a:p>
          <a:p>
            <a:pPr defTabSz="685739"/>
            <a:r>
              <a:rPr lang="zh-TW" altLang="en-US" sz="1101" dirty="0">
                <a:solidFill>
                  <a:srgbClr val="0072C6"/>
                </a:solidFill>
              </a:rPr>
              <a:t>零售 </a:t>
            </a:r>
            <a:r>
              <a:rPr lang="en-US" sz="1101" dirty="0">
                <a:solidFill>
                  <a:srgbClr val="0072C6"/>
                </a:solidFill>
              </a:rPr>
              <a:t>/ ESD</a:t>
            </a:r>
          </a:p>
          <a:p>
            <a:pPr defTabSz="685739"/>
            <a:r>
              <a:rPr lang="zh-TW" altLang="en-US" sz="1101" dirty="0">
                <a:solidFill>
                  <a:srgbClr val="0072C6"/>
                </a:solidFill>
              </a:rPr>
              <a:t>免費升級 </a:t>
            </a:r>
            <a:r>
              <a:rPr lang="en-US" sz="1101" baseline="30000" dirty="0">
                <a:solidFill>
                  <a:srgbClr val="0072C6"/>
                </a:solidFill>
              </a:rPr>
              <a:t>1</a:t>
            </a:r>
            <a:endParaRPr lang="en-US" sz="1101" baseline="30000" dirty="0">
              <a:solidFill>
                <a:srgbClr val="00188F"/>
              </a:solidFill>
            </a:endParaRPr>
          </a:p>
        </p:txBody>
      </p:sp>
      <p:grpSp>
        <p:nvGrpSpPr>
          <p:cNvPr id="9" name="Group 35"/>
          <p:cNvGrpSpPr/>
          <p:nvPr/>
        </p:nvGrpSpPr>
        <p:grpSpPr>
          <a:xfrm>
            <a:off x="270048" y="2773058"/>
            <a:ext cx="8738394" cy="842849"/>
            <a:chOff x="359249" y="2554286"/>
            <a:chExt cx="11652845" cy="1123958"/>
          </a:xfrm>
        </p:grpSpPr>
        <p:sp>
          <p:nvSpPr>
            <p:cNvPr id="15" name="Rectangle 36"/>
            <p:cNvSpPr/>
            <p:nvPr/>
          </p:nvSpPr>
          <p:spPr>
            <a:xfrm>
              <a:off x="359249" y="2560955"/>
              <a:ext cx="1599551" cy="10972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19" tIns="80655" rIns="100819" bIns="80655" numCol="1" spcCol="0" rtlCol="0" fromWordArt="0" anchor="ctr" anchorCtr="0" forceAA="0" compatLnSpc="1">
              <a:prstTxWarp prst="textNoShape">
                <a:avLst/>
              </a:prstTxWarp>
              <a:noAutofit/>
            </a:bodyPr>
            <a:lstStyle/>
            <a:p>
              <a:pPr algn="ctr" defTabSz="685739">
                <a:lnSpc>
                  <a:spcPct val="90000"/>
                </a:lnSpc>
                <a:spcBef>
                  <a:spcPts val="600"/>
                </a:spcBef>
              </a:pPr>
              <a:r>
                <a:rPr lang="en-US" sz="2059" dirty="0">
                  <a:solidFill>
                    <a:srgbClr val="FFFFFF"/>
                  </a:solidFill>
                </a:rPr>
                <a:t>Windows 10</a:t>
              </a:r>
            </a:p>
            <a:p>
              <a:pPr algn="ctr" defTabSz="685739">
                <a:lnSpc>
                  <a:spcPct val="90000"/>
                </a:lnSpc>
                <a:spcBef>
                  <a:spcPts val="600"/>
                </a:spcBef>
              </a:pPr>
              <a:r>
                <a:rPr lang="zh-TW" altLang="en-US" sz="2059" dirty="0">
                  <a:solidFill>
                    <a:srgbClr val="FFFFFF"/>
                  </a:solidFill>
                </a:rPr>
                <a:t>專業版</a:t>
              </a:r>
              <a:endParaRPr lang="en-US" sz="2059" dirty="0">
                <a:solidFill>
                  <a:srgbClr val="FFFFFF"/>
                </a:solidFill>
              </a:endParaRPr>
            </a:p>
          </p:txBody>
        </p:sp>
        <p:sp>
          <p:nvSpPr>
            <p:cNvPr id="22" name="Rectangle 37"/>
            <p:cNvSpPr/>
            <p:nvPr/>
          </p:nvSpPr>
          <p:spPr>
            <a:xfrm>
              <a:off x="2029407" y="2554286"/>
              <a:ext cx="2387138" cy="10972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19" tIns="80655" rIns="100819" bIns="80655" numCol="1" spcCol="0" rtlCol="0" fromWordArt="0" anchor="ctr" anchorCtr="0" forceAA="0" compatLnSpc="1">
              <a:prstTxWarp prst="textNoShape">
                <a:avLst/>
              </a:prstTxWarp>
              <a:noAutofit/>
            </a:bodyPr>
            <a:lstStyle/>
            <a:p>
              <a:pPr defTabSz="932391">
                <a:defRPr/>
              </a:pPr>
              <a:r>
                <a:rPr lang="zh-TW" altLang="en-US" sz="1101" dirty="0">
                  <a:solidFill>
                    <a:srgbClr val="0072C6"/>
                  </a:solidFill>
                </a:rPr>
                <a:t>微型、中小型企業</a:t>
              </a:r>
              <a:endParaRPr lang="en-US" sz="1101" baseline="30000" dirty="0">
                <a:solidFill>
                  <a:srgbClr val="0072C6"/>
                </a:solidFill>
              </a:endParaRPr>
            </a:p>
          </p:txBody>
        </p:sp>
        <p:sp>
          <p:nvSpPr>
            <p:cNvPr id="4" name="Rectangle 38"/>
            <p:cNvSpPr/>
            <p:nvPr/>
          </p:nvSpPr>
          <p:spPr>
            <a:xfrm>
              <a:off x="4593187" y="2580964"/>
              <a:ext cx="5105634" cy="1097280"/>
            </a:xfrm>
            <a:prstGeom prst="rect">
              <a:avLst/>
            </a:prstGeom>
          </p:spPr>
          <p:txBody>
            <a:bodyPr anchor="ctr">
              <a:noAutofit/>
            </a:bodyPr>
            <a:lstStyle/>
            <a:p>
              <a:pPr marL="214252" indent="-214252" defTabSz="685739">
                <a:buFont typeface="Arial" panose="020B0604020202020204" pitchFamily="34" charset="0"/>
                <a:buChar char="•"/>
              </a:pPr>
              <a:r>
                <a:rPr lang="zh-TW" altLang="en-US" sz="1101" dirty="0">
                  <a:solidFill>
                    <a:srgbClr val="0072C6"/>
                  </a:solidFill>
                </a:rPr>
                <a:t>裝置與 </a:t>
              </a:r>
              <a:r>
                <a:rPr lang="en-US" altLang="zh-TW" sz="1101" dirty="0">
                  <a:solidFill>
                    <a:srgbClr val="0072C6"/>
                  </a:solidFill>
                </a:rPr>
                <a:t>APP </a:t>
              </a:r>
              <a:r>
                <a:rPr lang="zh-TW" altLang="en-US" sz="1101" dirty="0">
                  <a:solidFill>
                    <a:srgbClr val="0072C6"/>
                  </a:solidFill>
                </a:rPr>
                <a:t>管理</a:t>
              </a:r>
              <a:endParaRPr lang="en-US" sz="1101" dirty="0">
                <a:solidFill>
                  <a:srgbClr val="0072C6"/>
                </a:solidFill>
              </a:endParaRPr>
            </a:p>
            <a:p>
              <a:pPr marL="214252" indent="-214252" defTabSz="685739">
                <a:buFont typeface="Arial" panose="020B0604020202020204" pitchFamily="34" charset="0"/>
                <a:buChar char="•"/>
              </a:pPr>
              <a:r>
                <a:rPr lang="zh-TW" altLang="en-US" sz="1101" dirty="0">
                  <a:solidFill>
                    <a:srgbClr val="0072C6"/>
                  </a:solidFill>
                </a:rPr>
                <a:t>支援遠端和行動應用</a:t>
              </a:r>
              <a:r>
                <a:rPr lang="en-US" sz="1101" dirty="0">
                  <a:solidFill>
                    <a:srgbClr val="0072C6"/>
                  </a:solidFill>
                </a:rPr>
                <a:t> </a:t>
              </a:r>
            </a:p>
            <a:p>
              <a:pPr marL="214252" indent="-214252" defTabSz="685739">
                <a:buFont typeface="Arial" panose="020B0604020202020204" pitchFamily="34" charset="0"/>
                <a:buChar char="•"/>
              </a:pPr>
              <a:r>
                <a:rPr lang="zh-TW" altLang="en-US" sz="1101" dirty="0">
                  <a:solidFill>
                    <a:srgbClr val="0072C6"/>
                  </a:solidFill>
                </a:rPr>
                <a:t>提供企業完整雲端技術</a:t>
              </a:r>
              <a:r>
                <a:rPr lang="en-US" sz="1101" dirty="0">
                  <a:solidFill>
                    <a:srgbClr val="0072C6"/>
                  </a:solidFill>
                </a:rPr>
                <a:t> </a:t>
              </a:r>
            </a:p>
            <a:p>
              <a:pPr marL="214252" indent="-214252" defTabSz="685739">
                <a:buFont typeface="Arial" panose="020B0604020202020204" pitchFamily="34" charset="0"/>
                <a:buChar char="•"/>
              </a:pPr>
              <a:r>
                <a:rPr lang="zh-TW" altLang="en-US" sz="1101" dirty="0">
                  <a:solidFill>
                    <a:srgbClr val="0072C6"/>
                  </a:solidFill>
                </a:rPr>
                <a:t>具廣泛市場驗證的優質升級</a:t>
              </a:r>
              <a:endParaRPr lang="en-US" sz="1101" dirty="0">
                <a:solidFill>
                  <a:srgbClr val="0072C6"/>
                </a:solidFill>
              </a:endParaRPr>
            </a:p>
          </p:txBody>
        </p:sp>
        <p:sp>
          <p:nvSpPr>
            <p:cNvPr id="25" name="Rectangle 39"/>
            <p:cNvSpPr/>
            <p:nvPr/>
          </p:nvSpPr>
          <p:spPr bwMode="auto">
            <a:xfrm>
              <a:off x="382329" y="2567625"/>
              <a:ext cx="11629764" cy="1097280"/>
            </a:xfrm>
            <a:prstGeom prst="rect">
              <a:avLst/>
            </a:prstGeom>
            <a:noFill/>
            <a:ln w="19050">
              <a:solidFill>
                <a:srgbClr val="00188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a:lnSpc>
                  <a:spcPct val="90000"/>
                </a:lnSpc>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40"/>
            <p:cNvSpPr/>
            <p:nvPr/>
          </p:nvSpPr>
          <p:spPr>
            <a:xfrm>
              <a:off x="10195559" y="2580964"/>
              <a:ext cx="1816535" cy="1097280"/>
            </a:xfrm>
            <a:prstGeom prst="rect">
              <a:avLst/>
            </a:prstGeom>
          </p:spPr>
          <p:txBody>
            <a:bodyPr anchor="ctr">
              <a:noAutofit/>
            </a:bodyPr>
            <a:lstStyle/>
            <a:p>
              <a:pPr defTabSz="685739"/>
              <a:r>
                <a:rPr lang="en-US" sz="1101" dirty="0">
                  <a:solidFill>
                    <a:srgbClr val="0072C6"/>
                  </a:solidFill>
                </a:rPr>
                <a:t>OEM</a:t>
              </a:r>
            </a:p>
            <a:p>
              <a:pPr defTabSz="685739"/>
              <a:r>
                <a:rPr lang="zh-TW" altLang="en-US" sz="1101" dirty="0">
                  <a:solidFill>
                    <a:srgbClr val="0072C6"/>
                  </a:solidFill>
                </a:rPr>
                <a:t>零售 </a:t>
              </a:r>
              <a:r>
                <a:rPr lang="en-US" sz="1101" dirty="0">
                  <a:solidFill>
                    <a:srgbClr val="0072C6"/>
                  </a:solidFill>
                </a:rPr>
                <a:t>/ ESD</a:t>
              </a:r>
            </a:p>
            <a:p>
              <a:pPr defTabSz="685739"/>
              <a:r>
                <a:rPr lang="zh-TW" altLang="en-US" sz="1101" dirty="0">
                  <a:solidFill>
                    <a:srgbClr val="0072C6"/>
                  </a:solidFill>
                </a:rPr>
                <a:t>大量授權</a:t>
              </a:r>
              <a:endParaRPr lang="en-US" sz="1101" dirty="0">
                <a:solidFill>
                  <a:srgbClr val="0072C6"/>
                </a:solidFill>
              </a:endParaRPr>
            </a:p>
            <a:p>
              <a:pPr defTabSz="685739"/>
              <a:r>
                <a:rPr lang="zh-TW" altLang="en-US" sz="1101" dirty="0">
                  <a:solidFill>
                    <a:srgbClr val="0072C6"/>
                  </a:solidFill>
                </a:rPr>
                <a:t>免費升級 </a:t>
              </a:r>
              <a:r>
                <a:rPr lang="en-US" sz="1101" baseline="30000" dirty="0">
                  <a:solidFill>
                    <a:srgbClr val="0072C6"/>
                  </a:solidFill>
                </a:rPr>
                <a:t>1</a:t>
              </a:r>
              <a:endParaRPr lang="en-US" sz="1101" dirty="0">
                <a:solidFill>
                  <a:srgbClr val="0072C6"/>
                </a:solidFill>
              </a:endParaRPr>
            </a:p>
          </p:txBody>
        </p:sp>
      </p:grpSp>
      <p:grpSp>
        <p:nvGrpSpPr>
          <p:cNvPr id="10" name="Group 47"/>
          <p:cNvGrpSpPr/>
          <p:nvPr/>
        </p:nvGrpSpPr>
        <p:grpSpPr>
          <a:xfrm>
            <a:off x="270047" y="3651897"/>
            <a:ext cx="8736674" cy="829161"/>
            <a:chOff x="359248" y="3726238"/>
            <a:chExt cx="11650551" cy="1105704"/>
          </a:xfrm>
        </p:grpSpPr>
        <p:sp>
          <p:nvSpPr>
            <p:cNvPr id="12" name="Rectangle 48"/>
            <p:cNvSpPr/>
            <p:nvPr/>
          </p:nvSpPr>
          <p:spPr>
            <a:xfrm>
              <a:off x="359248" y="3726238"/>
              <a:ext cx="1599551" cy="10972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19" tIns="80655" rIns="100819" bIns="80655" numCol="1" spcCol="0" rtlCol="0" fromWordArt="0" anchor="ctr" anchorCtr="0" forceAA="0" compatLnSpc="1">
              <a:prstTxWarp prst="textNoShape">
                <a:avLst/>
              </a:prstTxWarp>
              <a:noAutofit/>
            </a:bodyPr>
            <a:lstStyle/>
            <a:p>
              <a:pPr algn="ctr" defTabSz="685739">
                <a:lnSpc>
                  <a:spcPct val="90000"/>
                </a:lnSpc>
                <a:spcBef>
                  <a:spcPts val="600"/>
                </a:spcBef>
              </a:pPr>
              <a:r>
                <a:rPr lang="en-US" sz="2059" dirty="0">
                  <a:solidFill>
                    <a:srgbClr val="FFFFFF"/>
                  </a:solidFill>
                </a:rPr>
                <a:t>Windows 10</a:t>
              </a:r>
            </a:p>
            <a:p>
              <a:pPr algn="ctr" defTabSz="685739">
                <a:lnSpc>
                  <a:spcPct val="90000"/>
                </a:lnSpc>
                <a:spcBef>
                  <a:spcPts val="600"/>
                </a:spcBef>
              </a:pPr>
              <a:r>
                <a:rPr lang="zh-TW" altLang="en-US" sz="2059" dirty="0">
                  <a:solidFill>
                    <a:srgbClr val="FFFFFF"/>
                  </a:solidFill>
                </a:rPr>
                <a:t>企業版</a:t>
              </a:r>
              <a:endParaRPr lang="en-US" sz="2059" dirty="0">
                <a:solidFill>
                  <a:srgbClr val="FFFFFF"/>
                </a:solidFill>
              </a:endParaRPr>
            </a:p>
          </p:txBody>
        </p:sp>
        <p:sp>
          <p:nvSpPr>
            <p:cNvPr id="19" name="Rectangle 49"/>
            <p:cNvSpPr/>
            <p:nvPr/>
          </p:nvSpPr>
          <p:spPr>
            <a:xfrm>
              <a:off x="2029407" y="3734661"/>
              <a:ext cx="2233762" cy="10972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19" tIns="80655" rIns="100819" bIns="80655" numCol="1" spcCol="0" rtlCol="0" fromWordArt="0" anchor="ctr" anchorCtr="0" forceAA="0" compatLnSpc="1">
              <a:prstTxWarp prst="textNoShape">
                <a:avLst/>
              </a:prstTxWarp>
              <a:noAutofit/>
            </a:bodyPr>
            <a:lstStyle/>
            <a:p>
              <a:pPr defTabSz="932391">
                <a:defRPr/>
              </a:pPr>
              <a:r>
                <a:rPr lang="zh-TW" altLang="en-US" sz="1101" dirty="0">
                  <a:solidFill>
                    <a:srgbClr val="0072C6"/>
                  </a:solidFill>
                </a:rPr>
                <a:t>中大型企業</a:t>
              </a:r>
              <a:endParaRPr lang="en-US" sz="1101" dirty="0">
                <a:solidFill>
                  <a:srgbClr val="0072C6"/>
                </a:solidFill>
              </a:endParaRPr>
            </a:p>
          </p:txBody>
        </p:sp>
        <p:sp>
          <p:nvSpPr>
            <p:cNvPr id="5" name="Rectangle 50"/>
            <p:cNvSpPr/>
            <p:nvPr/>
          </p:nvSpPr>
          <p:spPr>
            <a:xfrm>
              <a:off x="4593187" y="3734662"/>
              <a:ext cx="5105634" cy="1097280"/>
            </a:xfrm>
            <a:prstGeom prst="rect">
              <a:avLst/>
            </a:prstGeom>
          </p:spPr>
          <p:txBody>
            <a:bodyPr anchor="ctr">
              <a:noAutofit/>
            </a:bodyPr>
            <a:lstStyle/>
            <a:p>
              <a:pPr marL="214252" indent="-214252" defTabSz="685739">
                <a:buFont typeface="Arial" panose="020B0604020202020204" pitchFamily="34" charset="0"/>
                <a:buChar char="•"/>
              </a:pPr>
              <a:r>
                <a:rPr lang="zh-TW" altLang="en-US" sz="1102" dirty="0">
                  <a:solidFill>
                    <a:srgbClr val="0072C6"/>
                  </a:solidFill>
                </a:rPr>
                <a:t>更進階的安全性功能</a:t>
              </a:r>
              <a:endParaRPr lang="en-US" sz="1102" dirty="0">
                <a:solidFill>
                  <a:srgbClr val="0072C6"/>
                </a:solidFill>
              </a:endParaRPr>
            </a:p>
            <a:p>
              <a:pPr marL="214252" indent="-214252" defTabSz="685739">
                <a:buFont typeface="Arial" panose="020B0604020202020204" pitchFamily="34" charset="0"/>
                <a:buChar char="•"/>
              </a:pPr>
              <a:r>
                <a:rPr lang="zh-TW" altLang="en-US" sz="1102" dirty="0">
                  <a:solidFill>
                    <a:srgbClr val="0072C6"/>
                  </a:solidFill>
                </a:rPr>
                <a:t>裝置與</a:t>
              </a:r>
              <a:r>
                <a:rPr lang="en-US" altLang="zh-TW" sz="1102" dirty="0">
                  <a:solidFill>
                    <a:srgbClr val="0072C6"/>
                  </a:solidFill>
                </a:rPr>
                <a:t> APP </a:t>
              </a:r>
              <a:r>
                <a:rPr lang="zh-TW" altLang="en-US" sz="1102" dirty="0">
                  <a:solidFill>
                    <a:srgbClr val="0072C6"/>
                  </a:solidFill>
                </a:rPr>
                <a:t>進階管理</a:t>
              </a:r>
              <a:endParaRPr lang="en-US" sz="1102" dirty="0">
                <a:solidFill>
                  <a:srgbClr val="0072C6"/>
                </a:solidFill>
              </a:endParaRPr>
            </a:p>
            <a:p>
              <a:pPr marL="214252" indent="-214252" defTabSz="685739">
                <a:buFont typeface="Arial" panose="020B0604020202020204" pitchFamily="34" charset="0"/>
                <a:buChar char="•"/>
              </a:pPr>
              <a:r>
                <a:rPr lang="zh-TW" altLang="en-US" sz="1102" dirty="0">
                  <a:solidFill>
                    <a:srgbClr val="0072C6"/>
                  </a:solidFill>
                </a:rPr>
                <a:t>可彈性控制的作業系統佈署及更新 </a:t>
              </a:r>
              <a:r>
                <a:rPr lang="en-US" sz="1102" baseline="30000" dirty="0">
                  <a:solidFill>
                    <a:srgbClr val="0072C6"/>
                  </a:solidFill>
                </a:rPr>
                <a:t>2</a:t>
              </a:r>
            </a:p>
            <a:p>
              <a:pPr marL="214252" indent="-214252" defTabSz="685739">
                <a:buFont typeface="Arial" panose="020B0604020202020204" pitchFamily="34" charset="0"/>
                <a:buChar char="•"/>
              </a:pPr>
              <a:r>
                <a:rPr lang="en-US" sz="1102" dirty="0">
                  <a:solidFill>
                    <a:srgbClr val="0072C6"/>
                  </a:solidFill>
                </a:rPr>
                <a:t>Microsoft Desktop Optimization Pack (MDOP)</a:t>
              </a:r>
              <a:r>
                <a:rPr lang="en-US" sz="1102" baseline="30000" dirty="0">
                  <a:solidFill>
                    <a:srgbClr val="0072C6"/>
                  </a:solidFill>
                </a:rPr>
                <a:t> 2</a:t>
              </a:r>
              <a:r>
                <a:rPr lang="en-US" sz="1102" dirty="0">
                  <a:solidFill>
                    <a:srgbClr val="0072C6"/>
                  </a:solidFill>
                </a:rPr>
                <a:t> </a:t>
              </a:r>
            </a:p>
          </p:txBody>
        </p:sp>
        <p:sp>
          <p:nvSpPr>
            <p:cNvPr id="26" name="Rectangle 51"/>
            <p:cNvSpPr/>
            <p:nvPr/>
          </p:nvSpPr>
          <p:spPr bwMode="auto">
            <a:xfrm>
              <a:off x="380035" y="3734661"/>
              <a:ext cx="11629764" cy="1097280"/>
            </a:xfrm>
            <a:prstGeom prst="rect">
              <a:avLst/>
            </a:prstGeom>
            <a:noFill/>
            <a:ln w="19050">
              <a:solidFill>
                <a:srgbClr val="00188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a:lnSpc>
                  <a:spcPct val="90000"/>
                </a:lnSpc>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52"/>
            <p:cNvSpPr/>
            <p:nvPr/>
          </p:nvSpPr>
          <p:spPr>
            <a:xfrm>
              <a:off x="10195559" y="3734662"/>
              <a:ext cx="1793454" cy="1097280"/>
            </a:xfrm>
            <a:prstGeom prst="rect">
              <a:avLst/>
            </a:prstGeom>
          </p:spPr>
          <p:txBody>
            <a:bodyPr anchor="ctr">
              <a:noAutofit/>
            </a:bodyPr>
            <a:lstStyle/>
            <a:p>
              <a:pPr defTabSz="685739"/>
              <a:r>
                <a:rPr lang="zh-TW" altLang="en-US" sz="1101" dirty="0">
                  <a:solidFill>
                    <a:srgbClr val="0072C6"/>
                  </a:solidFill>
                </a:rPr>
                <a:t>大量授權</a:t>
              </a:r>
              <a:endParaRPr lang="en-US" sz="1101" dirty="0">
                <a:solidFill>
                  <a:srgbClr val="0072C6"/>
                </a:solidFill>
              </a:endParaRPr>
            </a:p>
          </p:txBody>
        </p:sp>
      </p:grpSp>
      <p:grpSp>
        <p:nvGrpSpPr>
          <p:cNvPr id="30" name="Group 58"/>
          <p:cNvGrpSpPr/>
          <p:nvPr/>
        </p:nvGrpSpPr>
        <p:grpSpPr>
          <a:xfrm>
            <a:off x="270047" y="4533365"/>
            <a:ext cx="8736674" cy="829161"/>
            <a:chOff x="359248" y="3726238"/>
            <a:chExt cx="11650551" cy="1105704"/>
          </a:xfrm>
        </p:grpSpPr>
        <p:sp>
          <p:nvSpPr>
            <p:cNvPr id="31" name="Rectangle 59"/>
            <p:cNvSpPr/>
            <p:nvPr/>
          </p:nvSpPr>
          <p:spPr>
            <a:xfrm>
              <a:off x="359248" y="3726238"/>
              <a:ext cx="1599551" cy="10972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19" tIns="80655" rIns="100819" bIns="80655" numCol="1" spcCol="0" rtlCol="0" fromWordArt="0" anchor="ctr" anchorCtr="0" forceAA="0" compatLnSpc="1">
              <a:prstTxWarp prst="textNoShape">
                <a:avLst/>
              </a:prstTxWarp>
              <a:noAutofit/>
            </a:bodyPr>
            <a:lstStyle/>
            <a:p>
              <a:pPr algn="ctr" defTabSz="685739">
                <a:lnSpc>
                  <a:spcPct val="90000"/>
                </a:lnSpc>
                <a:spcBef>
                  <a:spcPts val="600"/>
                </a:spcBef>
              </a:pPr>
              <a:r>
                <a:rPr lang="en-US" sz="2059" dirty="0">
                  <a:solidFill>
                    <a:srgbClr val="FFFFFF"/>
                  </a:solidFill>
                </a:rPr>
                <a:t>Windows 10</a:t>
              </a:r>
            </a:p>
            <a:p>
              <a:pPr algn="ctr" defTabSz="685739">
                <a:lnSpc>
                  <a:spcPct val="90000"/>
                </a:lnSpc>
                <a:spcBef>
                  <a:spcPts val="600"/>
                </a:spcBef>
              </a:pPr>
              <a:r>
                <a:rPr lang="zh-TW" altLang="en-US" sz="2059" dirty="0">
                  <a:solidFill>
                    <a:srgbClr val="FFFFFF"/>
                  </a:solidFill>
                </a:rPr>
                <a:t>教育版</a:t>
              </a:r>
              <a:endParaRPr lang="en-US" sz="2059" dirty="0">
                <a:solidFill>
                  <a:srgbClr val="FFFFFF"/>
                </a:solidFill>
              </a:endParaRPr>
            </a:p>
          </p:txBody>
        </p:sp>
        <p:sp>
          <p:nvSpPr>
            <p:cNvPr id="32" name="Rectangle 60"/>
            <p:cNvSpPr/>
            <p:nvPr/>
          </p:nvSpPr>
          <p:spPr>
            <a:xfrm>
              <a:off x="2029407" y="3734661"/>
              <a:ext cx="2233762" cy="10972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19" tIns="80655" rIns="100819" bIns="80655" numCol="1" spcCol="0" rtlCol="0" fromWordArt="0" anchor="ctr" anchorCtr="0" forceAA="0" compatLnSpc="1">
              <a:prstTxWarp prst="textNoShape">
                <a:avLst/>
              </a:prstTxWarp>
              <a:noAutofit/>
            </a:bodyPr>
            <a:lstStyle/>
            <a:p>
              <a:pPr defTabSz="932391">
                <a:defRPr/>
              </a:pPr>
              <a:r>
                <a:rPr lang="zh-TW" altLang="en-US" sz="1101" dirty="0">
                  <a:solidFill>
                    <a:srgbClr val="0072C6"/>
                  </a:solidFill>
                </a:rPr>
                <a:t>大專院校</a:t>
              </a:r>
              <a:r>
                <a:rPr lang="en-US" sz="1101" dirty="0">
                  <a:solidFill>
                    <a:srgbClr val="0072C6"/>
                  </a:solidFill>
                </a:rPr>
                <a:t>, </a:t>
              </a:r>
              <a:r>
                <a:rPr lang="zh-TW" altLang="en-US" sz="1101" dirty="0">
                  <a:solidFill>
                    <a:srgbClr val="0072C6"/>
                  </a:solidFill>
                </a:rPr>
                <a:t>學生</a:t>
              </a:r>
              <a:r>
                <a:rPr lang="en-US" sz="1101" dirty="0">
                  <a:solidFill>
                    <a:srgbClr val="0072C6"/>
                  </a:solidFill>
                </a:rPr>
                <a:t>, </a:t>
              </a:r>
              <a:r>
                <a:rPr lang="zh-TW" altLang="en-US" sz="1101" dirty="0">
                  <a:solidFill>
                    <a:srgbClr val="0072C6"/>
                  </a:solidFill>
                </a:rPr>
                <a:t>教職員和系統管理員</a:t>
              </a:r>
              <a:endParaRPr lang="en-US" sz="1101" dirty="0">
                <a:solidFill>
                  <a:srgbClr val="0072C6"/>
                </a:solidFill>
              </a:endParaRPr>
            </a:p>
          </p:txBody>
        </p:sp>
        <p:sp>
          <p:nvSpPr>
            <p:cNvPr id="33" name="Rectangle 61"/>
            <p:cNvSpPr/>
            <p:nvPr/>
          </p:nvSpPr>
          <p:spPr>
            <a:xfrm>
              <a:off x="4593187" y="3734662"/>
              <a:ext cx="5105634" cy="1097280"/>
            </a:xfrm>
            <a:prstGeom prst="rect">
              <a:avLst/>
            </a:prstGeom>
          </p:spPr>
          <p:txBody>
            <a:bodyPr anchor="ctr">
              <a:noAutofit/>
            </a:bodyPr>
            <a:lstStyle/>
            <a:p>
              <a:pPr marL="214252" indent="-214252" defTabSz="685739">
                <a:buFont typeface="Arial" panose="020B0604020202020204" pitchFamily="34" charset="0"/>
                <a:buChar char="•"/>
              </a:pPr>
              <a:r>
                <a:rPr lang="zh-TW" altLang="en-US" sz="1102" dirty="0">
                  <a:solidFill>
                    <a:srgbClr val="0072C6"/>
                  </a:solidFill>
                </a:rPr>
                <a:t>涵蓋</a:t>
              </a:r>
              <a:r>
                <a:rPr lang="en-US" sz="1102" dirty="0">
                  <a:solidFill>
                    <a:srgbClr val="0072C6"/>
                  </a:solidFill>
                </a:rPr>
                <a:t> Windows 10 </a:t>
              </a:r>
              <a:r>
                <a:rPr lang="zh-TW" altLang="en-US" sz="1102" dirty="0">
                  <a:solidFill>
                    <a:srgbClr val="0072C6"/>
                  </a:solidFill>
                </a:rPr>
                <a:t>企業版所有功能</a:t>
              </a:r>
              <a:endParaRPr lang="en-US" sz="1102" dirty="0">
                <a:solidFill>
                  <a:srgbClr val="0072C6"/>
                </a:solidFill>
              </a:endParaRPr>
            </a:p>
            <a:p>
              <a:pPr marL="214252" indent="-214252" defTabSz="685739">
                <a:buFont typeface="Arial" panose="020B0604020202020204" pitchFamily="34" charset="0"/>
                <a:buChar char="•"/>
              </a:pPr>
              <a:r>
                <a:rPr lang="zh-TW" altLang="en-US" sz="1102" dirty="0">
                  <a:solidFill>
                    <a:srgbClr val="0072C6"/>
                  </a:solidFill>
                </a:rPr>
                <a:t>輕鬆自 </a:t>
              </a:r>
              <a:r>
                <a:rPr lang="en-US" altLang="zh-TW" sz="1102" dirty="0">
                  <a:solidFill>
                    <a:srgbClr val="0072C6"/>
                  </a:solidFill>
                </a:rPr>
                <a:t>Windows 10 </a:t>
              </a:r>
              <a:r>
                <a:rPr lang="zh-TW" altLang="en-US" sz="1102" dirty="0">
                  <a:solidFill>
                    <a:srgbClr val="0072C6"/>
                  </a:solidFill>
                </a:rPr>
                <a:t>家用版升級和佈署</a:t>
              </a:r>
              <a:endParaRPr lang="en-US" sz="1102" dirty="0">
                <a:solidFill>
                  <a:srgbClr val="0072C6"/>
                </a:solidFill>
              </a:endParaRPr>
            </a:p>
          </p:txBody>
        </p:sp>
        <p:sp>
          <p:nvSpPr>
            <p:cNvPr id="34" name="Rectangle 62"/>
            <p:cNvSpPr/>
            <p:nvPr/>
          </p:nvSpPr>
          <p:spPr bwMode="auto">
            <a:xfrm>
              <a:off x="380035" y="3734661"/>
              <a:ext cx="11629764" cy="1097280"/>
            </a:xfrm>
            <a:prstGeom prst="rect">
              <a:avLst/>
            </a:prstGeom>
            <a:noFill/>
            <a:ln w="19050">
              <a:solidFill>
                <a:srgbClr val="00188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a:lnSpc>
                  <a:spcPct val="90000"/>
                </a:lnSpc>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35" name="Rectangle 95"/>
            <p:cNvSpPr/>
            <p:nvPr/>
          </p:nvSpPr>
          <p:spPr>
            <a:xfrm>
              <a:off x="10195559" y="3734662"/>
              <a:ext cx="1793453" cy="1097280"/>
            </a:xfrm>
            <a:prstGeom prst="rect">
              <a:avLst/>
            </a:prstGeom>
          </p:spPr>
          <p:txBody>
            <a:bodyPr anchor="ctr">
              <a:noAutofit/>
            </a:bodyPr>
            <a:lstStyle/>
            <a:p>
              <a:pPr defTabSz="685739"/>
              <a:r>
                <a:rPr lang="zh-TW" altLang="en-US" sz="1101" dirty="0">
                  <a:solidFill>
                    <a:srgbClr val="0072C6"/>
                  </a:solidFill>
                </a:rPr>
                <a:t>大量授權</a:t>
              </a:r>
              <a:endParaRPr lang="en-US" sz="1101" baseline="30000" dirty="0">
                <a:solidFill>
                  <a:srgbClr val="0072C6"/>
                </a:solidFill>
              </a:endParaRPr>
            </a:p>
          </p:txBody>
        </p:sp>
      </p:grpSp>
    </p:spTree>
    <p:extLst>
      <p:ext uri="{BB962C8B-B14F-4D97-AF65-F5344CB8AC3E}">
        <p14:creationId xmlns:p14="http://schemas.microsoft.com/office/powerpoint/2010/main" val="465586449"/>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nvPr>
        </p:nvSpPr>
        <p:spPr/>
        <p:txBody>
          <a:bodyPr/>
          <a:lstStyle/>
          <a:p>
            <a:r>
              <a:rPr lang="en-US" altLang="zh-TW" dirty="0"/>
              <a:t>Windows as a Service </a:t>
            </a:r>
            <a:r>
              <a:rPr lang="zh-TW" altLang="zh-TW" dirty="0"/>
              <a:t>到底是什麼意思？</a:t>
            </a:r>
          </a:p>
        </p:txBody>
      </p:sp>
      <p:sp>
        <p:nvSpPr>
          <p:cNvPr id="6" name="文字版面配置區 5"/>
          <p:cNvSpPr>
            <a:spLocks noGrp="1"/>
          </p:cNvSpPr>
          <p:nvPr>
            <p:ph type="body" sz="quarter" idx="10"/>
          </p:nvPr>
        </p:nvSpPr>
        <p:spPr>
          <a:xfrm>
            <a:off x="201930" y="1791304"/>
            <a:ext cx="8740142" cy="4258538"/>
          </a:xfrm>
        </p:spPr>
        <p:txBody>
          <a:bodyPr/>
          <a:lstStyle/>
          <a:p>
            <a:r>
              <a:rPr lang="en-US" altLang="zh-TW" dirty="0"/>
              <a:t>Windows</a:t>
            </a:r>
            <a:r>
              <a:rPr lang="zh-TW" altLang="zh-TW" dirty="0"/>
              <a:t>從</a:t>
            </a:r>
            <a:r>
              <a:rPr lang="en-US" altLang="zh-TW" dirty="0"/>
              <a:t>Windows 10</a:t>
            </a:r>
            <a:r>
              <a:rPr lang="zh-TW" altLang="zh-TW" dirty="0"/>
              <a:t>開始已經轉型成「服務」</a:t>
            </a:r>
            <a:r>
              <a:rPr lang="zh-TW" altLang="zh-TW" dirty="0" smtClean="0"/>
              <a:t>。</a:t>
            </a:r>
            <a:endParaRPr lang="en-US" altLang="zh-TW" dirty="0" smtClean="0"/>
          </a:p>
          <a:p>
            <a:endParaRPr lang="zh-TW" altLang="zh-TW" dirty="0"/>
          </a:p>
          <a:p>
            <a:r>
              <a:rPr lang="zh-TW" altLang="zh-TW" dirty="0"/>
              <a:t>過去：微軟平均每</a:t>
            </a:r>
            <a:r>
              <a:rPr lang="en-US" altLang="zh-TW" dirty="0"/>
              <a:t>3</a:t>
            </a:r>
            <a:r>
              <a:rPr lang="zh-TW" altLang="zh-TW" dirty="0"/>
              <a:t>年推出一個新版本的</a:t>
            </a:r>
            <a:r>
              <a:rPr lang="en-US" altLang="zh-TW" dirty="0"/>
              <a:t>Windows</a:t>
            </a:r>
            <a:r>
              <a:rPr lang="zh-TW" altLang="zh-TW" dirty="0"/>
              <a:t>，所有的新功能都必須等待新版本。</a:t>
            </a:r>
          </a:p>
          <a:p>
            <a:endParaRPr lang="en-US" altLang="zh-TW" dirty="0" smtClean="0"/>
          </a:p>
          <a:p>
            <a:r>
              <a:rPr lang="zh-TW" altLang="zh-TW" dirty="0" smtClean="0"/>
              <a:t>現在</a:t>
            </a:r>
            <a:r>
              <a:rPr lang="zh-TW" altLang="zh-TW" dirty="0"/>
              <a:t>：</a:t>
            </a:r>
            <a:r>
              <a:rPr lang="en-US" altLang="zh-TW" dirty="0"/>
              <a:t>Windows 10</a:t>
            </a:r>
            <a:r>
              <a:rPr lang="zh-TW" altLang="zh-TW" dirty="0"/>
              <a:t>變成「服務」，每年會釋出</a:t>
            </a:r>
            <a:r>
              <a:rPr lang="en-US" altLang="zh-TW" dirty="0"/>
              <a:t>2-3</a:t>
            </a:r>
            <a:r>
              <a:rPr lang="zh-TW" altLang="zh-TW" dirty="0"/>
              <a:t>次的新功能。想像一艘大型航空母艦，隨時可以架上新研發成功的武器，不但運作良好，而且更加強大。有了</a:t>
            </a:r>
            <a:r>
              <a:rPr lang="en-US" altLang="zh-TW" dirty="0"/>
              <a:t>Windows as a Service</a:t>
            </a:r>
            <a:r>
              <a:rPr lang="zh-TW" altLang="zh-TW" dirty="0"/>
              <a:t>，裝置就可永保更新、永保安康。</a:t>
            </a:r>
          </a:p>
          <a:p>
            <a:endParaRPr lang="en-US" altLang="zh-TW" dirty="0" smtClean="0">
              <a:sym typeface="Wingdings" panose="05000000000000000000" pitchFamily="2" charset="2"/>
            </a:endParaRPr>
          </a:p>
        </p:txBody>
      </p:sp>
    </p:spTree>
    <p:extLst>
      <p:ext uri="{BB962C8B-B14F-4D97-AF65-F5344CB8AC3E}">
        <p14:creationId xmlns:p14="http://schemas.microsoft.com/office/powerpoint/2010/main" val="35375531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2" end="2"/>
                                            </p:txEl>
                                          </p:spTgt>
                                        </p:tgtEl>
                                        <p:attrNameLst>
                                          <p:attrName>style.visibility</p:attrName>
                                        </p:attrNameLst>
                                      </p:cBhvr>
                                      <p:to>
                                        <p:strVal val="visible"/>
                                      </p:to>
                                    </p:set>
                                    <p:animEffect transition="in" filter="fade">
                                      <p:cBhvr>
                                        <p:cTn id="12" dur="500"/>
                                        <p:tgtEl>
                                          <p:spTgt spid="6">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xEl>
                                              <p:pRg st="4" end="4"/>
                                            </p:txEl>
                                          </p:spTgt>
                                        </p:tgtEl>
                                        <p:attrNameLst>
                                          <p:attrName>style.visibility</p:attrName>
                                        </p:attrNameLst>
                                      </p:cBhvr>
                                      <p:to>
                                        <p:strVal val="visible"/>
                                      </p:to>
                                    </p:set>
                                    <p:animEffect transition="in" filter="fade">
                                      <p:cBhvr>
                                        <p:cTn id="17" dur="500"/>
                                        <p:tgtEl>
                                          <p:spTgt spid="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noAutofit/>
          </a:bodyPr>
          <a:lstStyle/>
          <a:p>
            <a:r>
              <a:rPr lang="en-US" altLang="zh-TW" sz="2800" b="1" dirty="0"/>
              <a:t>Adobe </a:t>
            </a:r>
            <a:r>
              <a:rPr lang="zh-TW" altLang="en-US" sz="2800" b="1" dirty="0"/>
              <a:t>軟體授權</a:t>
            </a:r>
            <a:r>
              <a:rPr lang="zh-TW" altLang="en-US" sz="2800" b="1" dirty="0" smtClean="0"/>
              <a:t>說明</a:t>
            </a:r>
            <a:endParaRPr lang="zh-TW" altLang="en-US" sz="2800" b="1" dirty="0">
              <a:solidFill>
                <a:srgbClr val="FFFF00"/>
              </a:solidFill>
              <a:latin typeface="+mn-ea"/>
            </a:endParaRPr>
          </a:p>
        </p:txBody>
      </p:sp>
      <p:sp>
        <p:nvSpPr>
          <p:cNvPr id="3" name="內容版面配置區 2"/>
          <p:cNvSpPr>
            <a:spLocks noGrp="1"/>
          </p:cNvSpPr>
          <p:nvPr>
            <p:ph idx="1"/>
          </p:nvPr>
        </p:nvSpPr>
        <p:spPr/>
        <p:txBody>
          <a:bodyPr/>
          <a:lstStyle/>
          <a:p>
            <a:r>
              <a:rPr lang="en-US" altLang="zh-TW" sz="4000" dirty="0"/>
              <a:t>Adobe</a:t>
            </a:r>
            <a:r>
              <a:rPr lang="zh-TW" altLang="en-US" sz="4000" dirty="0"/>
              <a:t>常用軟體產</a:t>
            </a:r>
            <a:r>
              <a:rPr lang="zh-TW" altLang="en-US" sz="4000" dirty="0" smtClean="0"/>
              <a:t>品</a:t>
            </a:r>
            <a:endParaRPr lang="en-US" altLang="zh-TW" sz="4000" dirty="0" smtClean="0"/>
          </a:p>
          <a:p>
            <a:r>
              <a:rPr lang="en-US" altLang="zh-TW" sz="4000" dirty="0"/>
              <a:t>Adobe </a:t>
            </a:r>
            <a:r>
              <a:rPr lang="zh-TW" altLang="en-US" sz="4000" dirty="0"/>
              <a:t>軟體常見授權問題 </a:t>
            </a:r>
            <a:r>
              <a:rPr lang="en-US" altLang="zh-TW" sz="4000" dirty="0" smtClean="0"/>
              <a:t>Q&amp;A</a:t>
            </a:r>
          </a:p>
          <a:p>
            <a:pPr marL="0" indent="0">
              <a:buNone/>
            </a:pPr>
            <a:endParaRPr lang="en-US" altLang="zh-TW" sz="4000" dirty="0" smtClean="0"/>
          </a:p>
          <a:p>
            <a:endParaRPr lang="zh-TW" altLang="en-US" dirty="0"/>
          </a:p>
        </p:txBody>
      </p:sp>
      <p:sp>
        <p:nvSpPr>
          <p:cNvPr id="4" name="投影片編號版面配置區 3"/>
          <p:cNvSpPr>
            <a:spLocks noGrp="1"/>
          </p:cNvSpPr>
          <p:nvPr>
            <p:ph type="sldNum" sz="quarter" idx="12"/>
          </p:nvPr>
        </p:nvSpPr>
        <p:spPr/>
        <p:txBody>
          <a:bodyPr/>
          <a:lstStyle/>
          <a:p>
            <a:pPr algn="ctr"/>
            <a:fld id="{90156F56-D5AE-4C6F-B826-C69D1BC521BB}" type="slidenum">
              <a:rPr lang="en-US" smtClean="0"/>
              <a:pPr algn="ctr"/>
              <a:t>3</a:t>
            </a:fld>
            <a:endParaRPr lang="en-US" dirty="0"/>
          </a:p>
        </p:txBody>
      </p:sp>
    </p:spTree>
    <p:extLst>
      <p:ext uri="{BB962C8B-B14F-4D97-AF65-F5344CB8AC3E}">
        <p14:creationId xmlns:p14="http://schemas.microsoft.com/office/powerpoint/2010/main" val="34734801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ltLang="zh-TW" b="1" dirty="0">
                <a:latin typeface="+mj-lt"/>
              </a:rPr>
              <a:t>Windows 10 </a:t>
            </a:r>
            <a:r>
              <a:rPr lang="zh-TW" altLang="en-US" dirty="0" smtClean="0">
                <a:latin typeface="微軟正黑體" panose="020B0604030504040204" pitchFamily="34" charset="-120"/>
                <a:ea typeface="微軟正黑體" panose="020B0604030504040204" pitchFamily="34" charset="-120"/>
              </a:rPr>
              <a:t>“</a:t>
            </a:r>
            <a:r>
              <a:rPr lang="zh-TW" altLang="en-US" dirty="0">
                <a:latin typeface="微軟正黑體" panose="020B0604030504040204" pitchFamily="34" charset="-120"/>
                <a:ea typeface="微軟正黑體" panose="020B0604030504040204" pitchFamily="34" charset="-120"/>
              </a:rPr>
              <a:t>永保更新” 升級計畫</a:t>
            </a:r>
          </a:p>
        </p:txBody>
      </p:sp>
      <p:grpSp>
        <p:nvGrpSpPr>
          <p:cNvPr id="31" name="Group 30"/>
          <p:cNvGrpSpPr/>
          <p:nvPr/>
        </p:nvGrpSpPr>
        <p:grpSpPr>
          <a:xfrm>
            <a:off x="39642" y="1659438"/>
            <a:ext cx="9006735" cy="4222288"/>
            <a:chOff x="39642" y="1659438"/>
            <a:chExt cx="9006735" cy="4222288"/>
          </a:xfrm>
        </p:grpSpPr>
        <p:sp>
          <p:nvSpPr>
            <p:cNvPr id="32" name="Rectangle 31"/>
            <p:cNvSpPr/>
            <p:nvPr/>
          </p:nvSpPr>
          <p:spPr bwMode="auto">
            <a:xfrm>
              <a:off x="1910801" y="3213530"/>
              <a:ext cx="1668339" cy="629459"/>
            </a:xfrm>
            <a:prstGeom prst="rect">
              <a:avLst/>
            </a:prstGeom>
            <a:solidFill>
              <a:srgbClr val="002050"/>
            </a:solidFill>
            <a:ln w="9525" cap="flat" cmpd="sng" algn="ctr">
              <a:solidFill>
                <a:srgbClr val="002050"/>
              </a:solidFill>
              <a:prstDash val="solid"/>
              <a:round/>
              <a:headEnd type="none" w="med" len="med"/>
              <a:tailEnd type="none" w="med" len="med"/>
            </a:ln>
            <a:effectLst/>
          </p:spPr>
          <p:txBody>
            <a:bodyPr vert="horz" wrap="square" lIns="67232" tIns="67232" rIns="67232" bIns="67232" numCol="1" rtlCol="0" anchor="ctr" anchorCtr="0" compatLnSpc="1">
              <a:prstTxWarp prst="textNoShape">
                <a:avLst/>
              </a:prstTxWarp>
              <a:noAutofit/>
            </a:bodyPr>
            <a:lstStyle/>
            <a:p>
              <a:pPr algn="ctr" defTabSz="653615"/>
              <a:r>
                <a:rPr lang="en-US" sz="1350" b="0" kern="0" dirty="0">
                  <a:solidFill>
                    <a:srgbClr val="FFFFFF"/>
                  </a:solidFill>
                  <a:cs typeface="Segoe UI" panose="020B0502040204020203" pitchFamily="34" charset="0"/>
                </a:rPr>
                <a:t>Windows 7 </a:t>
              </a:r>
            </a:p>
            <a:p>
              <a:pPr algn="ctr" defTabSz="653615"/>
              <a:r>
                <a:rPr lang="zh-TW" altLang="en-US" sz="1350" b="0" kern="0" dirty="0">
                  <a:solidFill>
                    <a:srgbClr val="FFFFFF"/>
                  </a:solidFill>
                  <a:cs typeface="Segoe UI" panose="020B0502040204020203" pitchFamily="34" charset="0"/>
                </a:rPr>
                <a:t>家用基本版</a:t>
              </a:r>
              <a:endParaRPr lang="en-US" sz="1350" b="0" kern="0" dirty="0">
                <a:solidFill>
                  <a:srgbClr val="FFFFFF"/>
                </a:solidFill>
                <a:cs typeface="Segoe UI" panose="020B0502040204020203" pitchFamily="34" charset="0"/>
              </a:endParaRPr>
            </a:p>
            <a:p>
              <a:pPr algn="ctr" defTabSz="653615"/>
              <a:r>
                <a:rPr lang="zh-TW" altLang="en-US" sz="1350" b="0" kern="0" dirty="0">
                  <a:solidFill>
                    <a:srgbClr val="FFFFFF"/>
                  </a:solidFill>
                  <a:cs typeface="Segoe UI" panose="020B0502040204020203" pitchFamily="34" charset="0"/>
                </a:rPr>
                <a:t>家用進階版</a:t>
              </a:r>
              <a:endParaRPr lang="en-US" sz="1350" b="0" kern="0" dirty="0">
                <a:solidFill>
                  <a:srgbClr val="FFFFFF"/>
                </a:solidFill>
                <a:cs typeface="Segoe UI" panose="020B0502040204020203" pitchFamily="34" charset="0"/>
              </a:endParaRPr>
            </a:p>
          </p:txBody>
        </p:sp>
        <p:sp>
          <p:nvSpPr>
            <p:cNvPr id="33" name="TextBox 32"/>
            <p:cNvSpPr txBox="1"/>
            <p:nvPr/>
          </p:nvSpPr>
          <p:spPr>
            <a:xfrm>
              <a:off x="1952603" y="1660921"/>
              <a:ext cx="1437662" cy="363946"/>
            </a:xfrm>
            <a:prstGeom prst="rect">
              <a:avLst/>
            </a:prstGeom>
            <a:noFill/>
          </p:spPr>
          <p:txBody>
            <a:bodyPr wrap="square" rtlCol="0">
              <a:spAutoFit/>
            </a:bodyPr>
            <a:lstStyle/>
            <a:p>
              <a:pPr algn="ctr" defTabSz="685800">
                <a:defRPr/>
              </a:pPr>
              <a:r>
                <a:rPr lang="zh-TW" altLang="en-US" sz="1765" kern="0" dirty="0">
                  <a:solidFill>
                    <a:srgbClr val="505050"/>
                  </a:solidFill>
                  <a:latin typeface="Segoe UI Light"/>
                </a:rPr>
                <a:t>現有版本</a:t>
              </a:r>
              <a:endParaRPr lang="en-US" sz="1765" kern="0" dirty="0">
                <a:solidFill>
                  <a:srgbClr val="505050"/>
                </a:solidFill>
                <a:latin typeface="Segoe UI Light"/>
              </a:endParaRPr>
            </a:p>
          </p:txBody>
        </p:sp>
        <p:sp>
          <p:nvSpPr>
            <p:cNvPr id="34" name="Rectangle 33"/>
            <p:cNvSpPr/>
            <p:nvPr/>
          </p:nvSpPr>
          <p:spPr bwMode="auto">
            <a:xfrm>
              <a:off x="1898102" y="2384379"/>
              <a:ext cx="1668339" cy="684854"/>
            </a:xfrm>
            <a:prstGeom prst="rect">
              <a:avLst/>
            </a:prstGeom>
            <a:solidFill>
              <a:srgbClr val="002050"/>
            </a:solidFill>
            <a:ln w="9525" cap="flat" cmpd="sng" algn="ctr">
              <a:solidFill>
                <a:srgbClr val="002050"/>
              </a:solidFill>
              <a:prstDash val="solid"/>
              <a:round/>
              <a:headEnd type="none" w="med" len="med"/>
              <a:tailEnd type="none" w="med" len="med"/>
            </a:ln>
            <a:effectLst/>
          </p:spPr>
          <p:txBody>
            <a:bodyPr vert="horz" wrap="square" lIns="67232" tIns="67232" rIns="67232" bIns="67232" numCol="1" rtlCol="0" anchor="ctr" anchorCtr="0" compatLnSpc="1">
              <a:prstTxWarp prst="textNoShape">
                <a:avLst/>
              </a:prstTxWarp>
              <a:noAutofit/>
            </a:bodyPr>
            <a:lstStyle/>
            <a:p>
              <a:pPr algn="ctr" defTabSz="653615"/>
              <a:r>
                <a:rPr lang="en-US" sz="1350" b="0" kern="0" dirty="0" smtClean="0">
                  <a:solidFill>
                    <a:srgbClr val="FFFFFF"/>
                  </a:solidFill>
                  <a:cs typeface="Segoe UI" panose="020B0502040204020203" pitchFamily="34" charset="0"/>
                </a:rPr>
                <a:t>Windows 8/8.1</a:t>
              </a:r>
            </a:p>
          </p:txBody>
        </p:sp>
        <p:sp>
          <p:nvSpPr>
            <p:cNvPr id="35" name="TextBox 34"/>
            <p:cNvSpPr txBox="1"/>
            <p:nvPr/>
          </p:nvSpPr>
          <p:spPr>
            <a:xfrm>
              <a:off x="4048383" y="1659438"/>
              <a:ext cx="1615034" cy="363946"/>
            </a:xfrm>
            <a:prstGeom prst="rect">
              <a:avLst/>
            </a:prstGeom>
            <a:noFill/>
          </p:spPr>
          <p:txBody>
            <a:bodyPr wrap="square" rtlCol="0">
              <a:spAutoFit/>
            </a:bodyPr>
            <a:lstStyle/>
            <a:p>
              <a:pPr algn="ctr" defTabSz="685800">
                <a:defRPr/>
              </a:pPr>
              <a:r>
                <a:rPr lang="zh-TW" altLang="en-US" sz="1765" kern="0" dirty="0">
                  <a:solidFill>
                    <a:srgbClr val="505050"/>
                  </a:solidFill>
                  <a:latin typeface="Segoe UI Light"/>
                </a:rPr>
                <a:t>升級到</a:t>
              </a:r>
              <a:endParaRPr lang="en-US" sz="1765" kern="0" dirty="0">
                <a:solidFill>
                  <a:srgbClr val="505050"/>
                </a:solidFill>
                <a:latin typeface="Segoe UI Light"/>
              </a:endParaRPr>
            </a:p>
          </p:txBody>
        </p:sp>
        <p:sp>
          <p:nvSpPr>
            <p:cNvPr id="36" name="Rectangle 35"/>
            <p:cNvSpPr/>
            <p:nvPr/>
          </p:nvSpPr>
          <p:spPr bwMode="auto">
            <a:xfrm>
              <a:off x="4048383" y="2227772"/>
              <a:ext cx="1615034" cy="1615217"/>
            </a:xfrm>
            <a:prstGeom prst="rect">
              <a:avLst/>
            </a:prstGeom>
            <a:solidFill>
              <a:srgbClr val="002050"/>
            </a:solidFill>
            <a:ln w="9525" cap="flat" cmpd="sng" algn="ctr">
              <a:solidFill>
                <a:srgbClr val="002050"/>
              </a:solidFill>
              <a:prstDash val="solid"/>
              <a:round/>
              <a:headEnd type="none" w="med" len="med"/>
              <a:tailEnd type="none" w="med" len="med"/>
            </a:ln>
            <a:effectLst/>
          </p:spPr>
          <p:txBody>
            <a:bodyPr vert="horz" wrap="square" lIns="67232" tIns="67232" rIns="67232" bIns="67232" numCol="1" rtlCol="0" anchor="ctr" anchorCtr="0" compatLnSpc="1">
              <a:prstTxWarp prst="textNoShape">
                <a:avLst/>
              </a:prstTxWarp>
              <a:noAutofit/>
            </a:bodyPr>
            <a:lstStyle/>
            <a:p>
              <a:pPr algn="ctr" defTabSz="653615"/>
              <a:r>
                <a:rPr lang="en-US" sz="1350" b="0" kern="0" dirty="0">
                  <a:solidFill>
                    <a:srgbClr val="FFFFFF"/>
                  </a:solidFill>
                  <a:cs typeface="Segoe UI" panose="020B0502040204020203" pitchFamily="34" charset="0"/>
                </a:rPr>
                <a:t>Windows 10 </a:t>
              </a:r>
              <a:r>
                <a:rPr lang="zh-TW" altLang="en-US" sz="1350" b="0" kern="0" dirty="0">
                  <a:solidFill>
                    <a:srgbClr val="FFFFFF"/>
                  </a:solidFill>
                  <a:cs typeface="Segoe UI" panose="020B0502040204020203" pitchFamily="34" charset="0"/>
                </a:rPr>
                <a:t>家用版</a:t>
              </a:r>
              <a:endParaRPr lang="en-US" sz="1350" b="0" kern="0" dirty="0">
                <a:solidFill>
                  <a:srgbClr val="FFFFFF"/>
                </a:solidFill>
                <a:cs typeface="Segoe UI" panose="020B0502040204020203" pitchFamily="34" charset="0"/>
              </a:endParaRPr>
            </a:p>
          </p:txBody>
        </p:sp>
        <p:sp>
          <p:nvSpPr>
            <p:cNvPr id="37" name="Right Arrow 36"/>
            <p:cNvSpPr/>
            <p:nvPr/>
          </p:nvSpPr>
          <p:spPr bwMode="auto">
            <a:xfrm>
              <a:off x="3437982" y="2655004"/>
              <a:ext cx="617220" cy="958778"/>
            </a:xfrm>
            <a:prstGeom prst="rightArrow">
              <a:avLst>
                <a:gd name="adj1" fmla="val 61397"/>
                <a:gd name="adj2" fmla="val 54248"/>
              </a:avLst>
            </a:prstGeom>
            <a:solidFill>
              <a:srgbClr val="969696"/>
            </a:solidFill>
            <a:ln w="9525" cap="flat" cmpd="sng" algn="ctr">
              <a:solidFill>
                <a:srgbClr val="969696"/>
              </a:solidFill>
              <a:prstDash val="solid"/>
              <a:round/>
              <a:headEnd type="none" w="med" len="med"/>
              <a:tailEnd type="none" w="med" len="med"/>
            </a:ln>
            <a:effectLst/>
          </p:spPr>
          <p:txBody>
            <a:bodyPr vert="horz" wrap="square" lIns="67232" tIns="67232" rIns="67232" bIns="67232" numCol="1" rtlCol="0" anchor="ctr" anchorCtr="0" compatLnSpc="1">
              <a:prstTxWarp prst="textNoShape">
                <a:avLst/>
              </a:prstTxWarp>
              <a:noAutofit/>
            </a:bodyPr>
            <a:lstStyle/>
            <a:p>
              <a:pPr algn="ctr" defTabSz="653615">
                <a:defRPr/>
              </a:pPr>
              <a:endParaRPr lang="en-US" sz="1029" kern="0" dirty="0" err="1">
                <a:solidFill>
                  <a:srgbClr val="FFFFFF"/>
                </a:solidFill>
                <a:cs typeface="Segoe UI" panose="020B0502040204020203" pitchFamily="34" charset="0"/>
              </a:endParaRPr>
            </a:p>
          </p:txBody>
        </p:sp>
        <p:sp>
          <p:nvSpPr>
            <p:cNvPr id="38" name="TextBox 37"/>
            <p:cNvSpPr txBox="1"/>
            <p:nvPr/>
          </p:nvSpPr>
          <p:spPr>
            <a:xfrm>
              <a:off x="378375" y="1659438"/>
              <a:ext cx="1154359" cy="363946"/>
            </a:xfrm>
            <a:prstGeom prst="rect">
              <a:avLst/>
            </a:prstGeom>
            <a:noFill/>
          </p:spPr>
          <p:txBody>
            <a:bodyPr wrap="square" rtlCol="0">
              <a:spAutoFit/>
            </a:bodyPr>
            <a:lstStyle/>
            <a:p>
              <a:pPr algn="ctr" defTabSz="685800">
                <a:defRPr/>
              </a:pPr>
              <a:r>
                <a:rPr lang="zh-TW" altLang="en-US" sz="1765" kern="0" dirty="0">
                  <a:solidFill>
                    <a:srgbClr val="505050"/>
                  </a:solidFill>
                  <a:latin typeface="Segoe UI Light"/>
                </a:rPr>
                <a:t>適用</a:t>
              </a:r>
              <a:endParaRPr lang="en-US" sz="1765" kern="0" dirty="0">
                <a:solidFill>
                  <a:srgbClr val="505050"/>
                </a:solidFill>
                <a:latin typeface="Segoe UI Light"/>
              </a:endParaRPr>
            </a:p>
          </p:txBody>
        </p:sp>
        <p:sp>
          <p:nvSpPr>
            <p:cNvPr id="39" name="Rectangle 38"/>
            <p:cNvSpPr/>
            <p:nvPr/>
          </p:nvSpPr>
          <p:spPr bwMode="auto">
            <a:xfrm>
              <a:off x="1880166" y="4774640"/>
              <a:ext cx="1673526" cy="686312"/>
            </a:xfrm>
            <a:prstGeom prst="rect">
              <a:avLst/>
            </a:prstGeom>
            <a:solidFill>
              <a:srgbClr val="002050"/>
            </a:solidFill>
            <a:ln w="9525" cap="flat" cmpd="sng" algn="ctr">
              <a:solidFill>
                <a:srgbClr val="002050"/>
              </a:solidFill>
              <a:prstDash val="solid"/>
              <a:round/>
              <a:headEnd type="none" w="med" len="med"/>
              <a:tailEnd type="none" w="med" len="med"/>
            </a:ln>
            <a:effectLst/>
          </p:spPr>
          <p:txBody>
            <a:bodyPr vert="horz" wrap="square" lIns="67232" tIns="67232" rIns="67232" bIns="67232" numCol="1" rtlCol="0" anchor="ctr" anchorCtr="0" compatLnSpc="1">
              <a:prstTxWarp prst="textNoShape">
                <a:avLst/>
              </a:prstTxWarp>
              <a:noAutofit/>
            </a:bodyPr>
            <a:lstStyle/>
            <a:p>
              <a:pPr algn="ctr" defTabSz="653615">
                <a:defRPr/>
              </a:pPr>
              <a:r>
                <a:rPr lang="en-US" sz="1350" b="0" kern="0" dirty="0">
                  <a:solidFill>
                    <a:srgbClr val="FFFFFF"/>
                  </a:solidFill>
                  <a:cs typeface="Segoe UI" panose="020B0502040204020203" pitchFamily="34" charset="0"/>
                </a:rPr>
                <a:t>Windows 7</a:t>
              </a:r>
            </a:p>
            <a:p>
              <a:pPr algn="ctr" defTabSz="653615">
                <a:defRPr/>
              </a:pPr>
              <a:r>
                <a:rPr lang="zh-TW" altLang="en-US" sz="1350" b="0" kern="0" dirty="0">
                  <a:solidFill>
                    <a:srgbClr val="FFFFFF"/>
                  </a:solidFill>
                  <a:cs typeface="Segoe UI" panose="020B0502040204020203" pitchFamily="34" charset="0"/>
                </a:rPr>
                <a:t>專業版</a:t>
              </a:r>
              <a:r>
                <a:rPr lang="en-US" sz="1350" b="0" kern="0" dirty="0">
                  <a:solidFill>
                    <a:srgbClr val="FFFFFF"/>
                  </a:solidFill>
                  <a:cs typeface="Segoe UI" panose="020B0502040204020203" pitchFamily="34" charset="0"/>
                </a:rPr>
                <a:t>, </a:t>
              </a:r>
              <a:r>
                <a:rPr lang="zh-TW" altLang="en-US" sz="1350" b="0" kern="0" dirty="0">
                  <a:solidFill>
                    <a:srgbClr val="FFFFFF"/>
                  </a:solidFill>
                  <a:cs typeface="Segoe UI" panose="020B0502040204020203" pitchFamily="34" charset="0"/>
                </a:rPr>
                <a:t>旗艦版</a:t>
              </a:r>
              <a:endParaRPr lang="en-US" sz="1350" b="0" kern="0" dirty="0">
                <a:solidFill>
                  <a:srgbClr val="FFFFFF"/>
                </a:solidFill>
                <a:cs typeface="Segoe UI" panose="020B0502040204020203" pitchFamily="34" charset="0"/>
              </a:endParaRPr>
            </a:p>
          </p:txBody>
        </p:sp>
        <p:sp>
          <p:nvSpPr>
            <p:cNvPr id="40" name="Rectangle 39"/>
            <p:cNvSpPr/>
            <p:nvPr/>
          </p:nvSpPr>
          <p:spPr bwMode="auto">
            <a:xfrm>
              <a:off x="1905614" y="3989991"/>
              <a:ext cx="1673526" cy="640352"/>
            </a:xfrm>
            <a:prstGeom prst="rect">
              <a:avLst/>
            </a:prstGeom>
            <a:solidFill>
              <a:srgbClr val="002050"/>
            </a:solidFill>
            <a:ln w="9525" cap="flat" cmpd="sng" algn="ctr">
              <a:solidFill>
                <a:srgbClr val="002050"/>
              </a:solidFill>
              <a:prstDash val="solid"/>
              <a:round/>
              <a:headEnd type="none" w="med" len="med"/>
              <a:tailEnd type="none" w="med" len="med"/>
            </a:ln>
            <a:effectLst/>
          </p:spPr>
          <p:txBody>
            <a:bodyPr vert="horz" wrap="square" lIns="67232" tIns="67232" rIns="67232" bIns="67232" numCol="1" rtlCol="0" anchor="ctr" anchorCtr="0" compatLnSpc="1">
              <a:prstTxWarp prst="textNoShape">
                <a:avLst/>
              </a:prstTxWarp>
              <a:noAutofit/>
            </a:bodyPr>
            <a:lstStyle/>
            <a:p>
              <a:pPr algn="ctr" defTabSz="653615">
                <a:defRPr/>
              </a:pPr>
              <a:r>
                <a:rPr lang="en-US" sz="1350" b="0" kern="0" dirty="0">
                  <a:solidFill>
                    <a:srgbClr val="FFFFFF"/>
                  </a:solidFill>
                  <a:cs typeface="Segoe UI" panose="020B0502040204020203" pitchFamily="34" charset="0"/>
                </a:rPr>
                <a:t>Windows </a:t>
              </a:r>
              <a:br>
                <a:rPr lang="en-US" sz="1350" b="0" kern="0" dirty="0">
                  <a:solidFill>
                    <a:srgbClr val="FFFFFF"/>
                  </a:solidFill>
                  <a:cs typeface="Segoe UI" panose="020B0502040204020203" pitchFamily="34" charset="0"/>
                </a:rPr>
              </a:br>
              <a:r>
                <a:rPr lang="en-US" sz="1350" b="0" kern="0" dirty="0">
                  <a:solidFill>
                    <a:srgbClr val="FFFFFF"/>
                  </a:solidFill>
                  <a:cs typeface="Segoe UI" panose="020B0502040204020203" pitchFamily="34" charset="0"/>
                </a:rPr>
                <a:t>8/8.1 </a:t>
              </a:r>
              <a:r>
                <a:rPr lang="zh-TW" altLang="en-US" sz="1350" b="0" kern="0" dirty="0">
                  <a:solidFill>
                    <a:srgbClr val="FFFFFF"/>
                  </a:solidFill>
                  <a:cs typeface="Segoe UI" panose="020B0502040204020203" pitchFamily="34" charset="0"/>
                </a:rPr>
                <a:t>專業版</a:t>
              </a:r>
              <a:endParaRPr lang="en-US" sz="1350" b="0" kern="0" dirty="0">
                <a:solidFill>
                  <a:srgbClr val="FFFFFF"/>
                </a:solidFill>
                <a:cs typeface="Segoe UI" panose="020B0502040204020203" pitchFamily="34" charset="0"/>
              </a:endParaRPr>
            </a:p>
          </p:txBody>
        </p:sp>
        <p:sp>
          <p:nvSpPr>
            <p:cNvPr id="41" name="Rectangle 40"/>
            <p:cNvSpPr/>
            <p:nvPr/>
          </p:nvSpPr>
          <p:spPr bwMode="auto">
            <a:xfrm>
              <a:off x="4054439" y="3966806"/>
              <a:ext cx="1615034" cy="1494146"/>
            </a:xfrm>
            <a:prstGeom prst="rect">
              <a:avLst/>
            </a:prstGeom>
            <a:solidFill>
              <a:srgbClr val="002050"/>
            </a:solidFill>
            <a:ln w="9525" cap="flat" cmpd="sng" algn="ctr">
              <a:solidFill>
                <a:srgbClr val="002050"/>
              </a:solidFill>
              <a:prstDash val="solid"/>
              <a:round/>
              <a:headEnd type="none" w="med" len="med"/>
              <a:tailEnd type="none" w="med" len="med"/>
            </a:ln>
            <a:effectLst/>
          </p:spPr>
          <p:txBody>
            <a:bodyPr vert="horz" wrap="square" lIns="67232" tIns="67232" rIns="67232" bIns="67232" numCol="1" rtlCol="0" anchor="ctr" anchorCtr="0" compatLnSpc="1">
              <a:prstTxWarp prst="textNoShape">
                <a:avLst/>
              </a:prstTxWarp>
              <a:noAutofit/>
            </a:bodyPr>
            <a:lstStyle/>
            <a:p>
              <a:pPr algn="ctr" defTabSz="653615">
                <a:defRPr/>
              </a:pPr>
              <a:r>
                <a:rPr lang="en-US" sz="1350" b="0" kern="0" dirty="0">
                  <a:solidFill>
                    <a:srgbClr val="FFFFFF"/>
                  </a:solidFill>
                  <a:cs typeface="Segoe UI" panose="020B0502040204020203" pitchFamily="34" charset="0"/>
                </a:rPr>
                <a:t>Windows 10 </a:t>
              </a:r>
            </a:p>
            <a:p>
              <a:pPr algn="ctr" defTabSz="653615">
                <a:defRPr/>
              </a:pPr>
              <a:r>
                <a:rPr lang="zh-TW" altLang="en-US" sz="1350" b="0" kern="0" dirty="0">
                  <a:solidFill>
                    <a:srgbClr val="FFFFFF"/>
                  </a:solidFill>
                  <a:cs typeface="Segoe UI" panose="020B0502040204020203" pitchFamily="34" charset="0"/>
                </a:rPr>
                <a:t>專業版</a:t>
              </a:r>
              <a:endParaRPr lang="en-US" sz="1350" b="0" kern="0" dirty="0">
                <a:solidFill>
                  <a:srgbClr val="FFFFFF"/>
                </a:solidFill>
                <a:cs typeface="Segoe UI" panose="020B0502040204020203" pitchFamily="34" charset="0"/>
              </a:endParaRPr>
            </a:p>
          </p:txBody>
        </p:sp>
        <p:sp>
          <p:nvSpPr>
            <p:cNvPr id="42" name="TextBox 41"/>
            <p:cNvSpPr txBox="1"/>
            <p:nvPr/>
          </p:nvSpPr>
          <p:spPr>
            <a:xfrm>
              <a:off x="5713468" y="1675675"/>
              <a:ext cx="1376351" cy="363946"/>
            </a:xfrm>
            <a:prstGeom prst="rect">
              <a:avLst/>
            </a:prstGeom>
            <a:noFill/>
          </p:spPr>
          <p:txBody>
            <a:bodyPr wrap="square" rtlCol="0">
              <a:spAutoFit/>
            </a:bodyPr>
            <a:lstStyle>
              <a:defPPr>
                <a:defRPr lang="en-US"/>
              </a:defPPr>
              <a:lvl1pPr algn="ctr">
                <a:defRPr sz="2353" kern="0">
                  <a:solidFill>
                    <a:srgbClr val="505050"/>
                  </a:solidFill>
                  <a:latin typeface="Segoe UI Light"/>
                </a:defRPr>
              </a:lvl1pPr>
            </a:lstStyle>
            <a:p>
              <a:pPr defTabSz="685800"/>
              <a:r>
                <a:rPr lang="zh-TW" altLang="en-US" sz="1765" dirty="0"/>
                <a:t>上市</a:t>
              </a:r>
              <a:endParaRPr lang="en-US" sz="1765" dirty="0"/>
            </a:p>
          </p:txBody>
        </p:sp>
        <p:sp>
          <p:nvSpPr>
            <p:cNvPr id="43" name="TextBox 42"/>
            <p:cNvSpPr txBox="1"/>
            <p:nvPr/>
          </p:nvSpPr>
          <p:spPr>
            <a:xfrm>
              <a:off x="7289648" y="1659438"/>
              <a:ext cx="1756729" cy="363946"/>
            </a:xfrm>
            <a:prstGeom prst="rect">
              <a:avLst/>
            </a:prstGeom>
            <a:noFill/>
          </p:spPr>
          <p:txBody>
            <a:bodyPr wrap="square" rtlCol="0">
              <a:spAutoFit/>
            </a:bodyPr>
            <a:lstStyle>
              <a:defPPr>
                <a:defRPr lang="en-US"/>
              </a:defPPr>
              <a:lvl1pPr algn="ctr">
                <a:defRPr sz="2353" kern="0">
                  <a:solidFill>
                    <a:srgbClr val="505050"/>
                  </a:solidFill>
                  <a:latin typeface="Segoe UI Light"/>
                </a:defRPr>
              </a:lvl1pPr>
            </a:lstStyle>
            <a:p>
              <a:pPr defTabSz="685800"/>
              <a:r>
                <a:rPr lang="zh-TW" altLang="en-US" sz="1765" dirty="0"/>
                <a:t>上市一年後</a:t>
              </a:r>
              <a:endParaRPr lang="en-US" sz="1765" dirty="0"/>
            </a:p>
          </p:txBody>
        </p:sp>
        <p:sp>
          <p:nvSpPr>
            <p:cNvPr id="44" name="Rectangle 43"/>
            <p:cNvSpPr/>
            <p:nvPr/>
          </p:nvSpPr>
          <p:spPr>
            <a:xfrm>
              <a:off x="39642" y="5631016"/>
              <a:ext cx="8410961" cy="250710"/>
            </a:xfrm>
            <a:prstGeom prst="rect">
              <a:avLst/>
            </a:prstGeom>
          </p:spPr>
          <p:txBody>
            <a:bodyPr wrap="square">
              <a:spAutoFit/>
            </a:bodyPr>
            <a:lstStyle/>
            <a:p>
              <a:pPr marL="99192" lvl="1" defTabSz="685800" fontAlgn="base">
                <a:buClr>
                  <a:srgbClr val="505050"/>
                </a:buClr>
                <a:buSzPct val="100000"/>
                <a:defRPr/>
              </a:pPr>
              <a:r>
                <a:rPr lang="en-US" altLang="zh-TW" sz="1029" kern="0" dirty="0">
                  <a:solidFill>
                    <a:srgbClr val="505050"/>
                  </a:solidFill>
                </a:rPr>
                <a:t>* </a:t>
              </a:r>
              <a:r>
                <a:rPr lang="zh-TW" altLang="en-US" sz="1029" kern="0" dirty="0">
                  <a:solidFill>
                    <a:srgbClr val="505050"/>
                  </a:solidFill>
                </a:rPr>
                <a:t>免費升級管道需透過 </a:t>
              </a:r>
              <a:r>
                <a:rPr lang="en-US" altLang="zh-TW" sz="1029" kern="0" dirty="0">
                  <a:solidFill>
                    <a:srgbClr val="505050"/>
                  </a:solidFill>
                </a:rPr>
                <a:t>Windows Update</a:t>
              </a:r>
              <a:endParaRPr lang="en-US" sz="1029" kern="0" dirty="0">
                <a:solidFill>
                  <a:srgbClr val="505050"/>
                </a:solidFill>
              </a:endParaRPr>
            </a:p>
          </p:txBody>
        </p:sp>
        <p:grpSp>
          <p:nvGrpSpPr>
            <p:cNvPr id="45" name="Group 44"/>
            <p:cNvGrpSpPr/>
            <p:nvPr/>
          </p:nvGrpSpPr>
          <p:grpSpPr>
            <a:xfrm>
              <a:off x="111543" y="2380765"/>
              <a:ext cx="1708944" cy="1486292"/>
              <a:chOff x="565294" y="2348398"/>
              <a:chExt cx="1866832" cy="1278370"/>
            </a:xfrm>
          </p:grpSpPr>
          <p:pic>
            <p:nvPicPr>
              <p:cNvPr id="57" name="Picture 56"/>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65295" y="2348398"/>
                <a:ext cx="1866831" cy="1127561"/>
              </a:xfrm>
              <a:prstGeom prst="rect">
                <a:avLst/>
              </a:prstGeom>
            </p:spPr>
          </p:pic>
          <p:sp>
            <p:nvSpPr>
              <p:cNvPr id="58" name="Rectangle 57"/>
              <p:cNvSpPr/>
              <p:nvPr>
                <p:custDataLst>
                  <p:tags r:id="rId2"/>
                </p:custDataLst>
              </p:nvPr>
            </p:nvSpPr>
            <p:spPr>
              <a:xfrm>
                <a:off x="565294" y="3294283"/>
                <a:ext cx="1866832" cy="332485"/>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44803" tIns="0" rIns="44803" bIns="0" numCol="1" spcCol="0" rtlCol="0" fromWordArt="0" anchor="ctr" anchorCtr="0" forceAA="0" compatLnSpc="1">
                <a:prstTxWarp prst="textNoShape">
                  <a:avLst/>
                </a:prstTxWarp>
                <a:noAutofit/>
              </a:bodyPr>
              <a:lstStyle/>
              <a:p>
                <a:pPr algn="ctr" defTabSz="671833" fontAlgn="base">
                  <a:lnSpc>
                    <a:spcPct val="90000"/>
                  </a:lnSpc>
                  <a:spcBef>
                    <a:spcPct val="0"/>
                  </a:spcBef>
                  <a:spcAft>
                    <a:spcPct val="0"/>
                  </a:spcAft>
                </a:pPr>
                <a:r>
                  <a:rPr lang="zh-TW" altLang="en-US" sz="1500" kern="0" spc="-74" dirty="0" smtClean="0">
                    <a:solidFill>
                      <a:srgbClr val="FFFFFF"/>
                    </a:solidFill>
                    <a:latin typeface="Segoe UI Light" panose="020B0502040204020203" pitchFamily="34" charset="0"/>
                    <a:ea typeface="Segoe UI" pitchFamily="34" charset="0"/>
                    <a:cs typeface="Segoe UI Light" panose="020B0502040204020203" pitchFamily="34" charset="0"/>
                  </a:rPr>
                  <a:t>一般用戶</a:t>
                </a:r>
                <a:endParaRPr lang="en-US" sz="1500" kern="0" spc="-74" dirty="0" smtClean="0">
                  <a:solidFill>
                    <a:srgbClr val="FFFFFF"/>
                  </a:solidFill>
                  <a:latin typeface="Segoe UI Light" panose="020B0502040204020203" pitchFamily="34" charset="0"/>
                  <a:ea typeface="Segoe UI" pitchFamily="34" charset="0"/>
                  <a:cs typeface="Segoe UI Light" panose="020B0502040204020203" pitchFamily="34" charset="0"/>
                </a:endParaRPr>
              </a:p>
            </p:txBody>
          </p:sp>
        </p:grpSp>
        <p:grpSp>
          <p:nvGrpSpPr>
            <p:cNvPr id="46" name="Group 45"/>
            <p:cNvGrpSpPr/>
            <p:nvPr/>
          </p:nvGrpSpPr>
          <p:grpSpPr>
            <a:xfrm>
              <a:off x="126649" y="4000427"/>
              <a:ext cx="1708944" cy="1486292"/>
              <a:chOff x="544476" y="3935907"/>
              <a:chExt cx="1866832" cy="1278370"/>
            </a:xfrm>
          </p:grpSpPr>
          <p:pic>
            <p:nvPicPr>
              <p:cNvPr id="55" name="Picture 54"/>
              <p:cNvPicPr>
                <a:picLocks noChangeAspect="1"/>
              </p:cNvPicPr>
              <p:nvPr/>
            </p:nvPicPr>
            <p:blipFill rotWithShape="1">
              <a:blip r:embed="rId5" cstate="email">
                <a:extLst>
                  <a:ext uri="{28A0092B-C50C-407E-A947-70E740481C1C}">
                    <a14:useLocalDpi xmlns:a14="http://schemas.microsoft.com/office/drawing/2010/main"/>
                  </a:ext>
                </a:extLst>
              </a:blip>
              <a:srcRect b="-20514"/>
              <a:stretch/>
            </p:blipFill>
            <p:spPr>
              <a:xfrm>
                <a:off x="544477" y="3935907"/>
                <a:ext cx="1866831" cy="1149899"/>
              </a:xfrm>
              <a:prstGeom prst="rect">
                <a:avLst/>
              </a:prstGeom>
            </p:spPr>
          </p:pic>
          <p:sp>
            <p:nvSpPr>
              <p:cNvPr id="56" name="Rectangle 55"/>
              <p:cNvSpPr/>
              <p:nvPr>
                <p:custDataLst>
                  <p:tags r:id="rId1"/>
                </p:custDataLst>
              </p:nvPr>
            </p:nvSpPr>
            <p:spPr>
              <a:xfrm>
                <a:off x="544476" y="4881792"/>
                <a:ext cx="1866832" cy="332485"/>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44803" tIns="0" rIns="44803" bIns="0" numCol="1" spcCol="0" rtlCol="0" fromWordArt="0" anchor="ctr" anchorCtr="0" forceAA="0" compatLnSpc="1">
                <a:prstTxWarp prst="textNoShape">
                  <a:avLst/>
                </a:prstTxWarp>
                <a:noAutofit/>
              </a:bodyPr>
              <a:lstStyle/>
              <a:p>
                <a:pPr algn="ctr" defTabSz="671833" fontAlgn="base">
                  <a:lnSpc>
                    <a:spcPct val="90000"/>
                  </a:lnSpc>
                  <a:spcBef>
                    <a:spcPct val="0"/>
                  </a:spcBef>
                  <a:spcAft>
                    <a:spcPct val="0"/>
                  </a:spcAft>
                </a:pPr>
                <a:r>
                  <a:rPr lang="zh-TW" altLang="en-US" sz="1500" kern="0" spc="-74" dirty="0" smtClean="0">
                    <a:solidFill>
                      <a:srgbClr val="FFFFFF"/>
                    </a:solidFill>
                    <a:latin typeface="Segoe UI Light" panose="020B0502040204020203" pitchFamily="34" charset="0"/>
                    <a:ea typeface="Segoe UI" pitchFamily="34" charset="0"/>
                    <a:cs typeface="Segoe UI Light" panose="020B0502040204020203" pitchFamily="34" charset="0"/>
                  </a:rPr>
                  <a:t>商務用戶</a:t>
                </a:r>
                <a:endParaRPr lang="en-US" sz="1500" kern="0" spc="-74" dirty="0" smtClean="0">
                  <a:solidFill>
                    <a:srgbClr val="FFFFFF"/>
                  </a:solidFill>
                  <a:latin typeface="Segoe UI Light" panose="020B0502040204020203" pitchFamily="34" charset="0"/>
                  <a:ea typeface="Segoe UI" pitchFamily="34" charset="0"/>
                  <a:cs typeface="Segoe UI Light" panose="020B0502040204020203" pitchFamily="34" charset="0"/>
                </a:endParaRPr>
              </a:p>
            </p:txBody>
          </p:sp>
        </p:grpSp>
        <p:grpSp>
          <p:nvGrpSpPr>
            <p:cNvPr id="47" name="Group 46"/>
            <p:cNvGrpSpPr/>
            <p:nvPr/>
          </p:nvGrpSpPr>
          <p:grpSpPr>
            <a:xfrm>
              <a:off x="7367005" y="2216493"/>
              <a:ext cx="1501555" cy="3247377"/>
              <a:chOff x="9481783" y="2337122"/>
              <a:chExt cx="2002073" cy="2877155"/>
            </a:xfrm>
          </p:grpSpPr>
          <p:sp>
            <p:nvSpPr>
              <p:cNvPr id="53" name="Rectangle 52"/>
              <p:cNvSpPr/>
              <p:nvPr/>
            </p:nvSpPr>
            <p:spPr bwMode="auto">
              <a:xfrm>
                <a:off x="9481783" y="2337122"/>
                <a:ext cx="2002073" cy="2877155"/>
              </a:xfrm>
              <a:prstGeom prst="rect">
                <a:avLst/>
              </a:prstGeom>
              <a:solidFill>
                <a:srgbClr val="0078D7"/>
              </a:solidFill>
              <a:ln w="9525" cap="flat" cmpd="sng" algn="ctr">
                <a:noFill/>
                <a:prstDash val="solid"/>
                <a:round/>
                <a:headEnd type="none" w="med" len="med"/>
                <a:tailEnd type="none" w="med" len="med"/>
              </a:ln>
              <a:effectLst/>
            </p:spPr>
            <p:txBody>
              <a:bodyPr vert="horz" wrap="square" lIns="67232" tIns="67232" rIns="67232" bIns="67232" numCol="1" rtlCol="0" anchor="ctr" anchorCtr="0" compatLnSpc="1">
                <a:prstTxWarp prst="textNoShape">
                  <a:avLst/>
                </a:prstTxWarp>
                <a:noAutofit/>
              </a:bodyPr>
              <a:lstStyle/>
              <a:p>
                <a:pPr algn="ctr" defTabSz="653615">
                  <a:defRPr/>
                </a:pPr>
                <a:endParaRPr lang="en-US" sz="1029" kern="0" dirty="0">
                  <a:solidFill>
                    <a:srgbClr val="FFFFFF"/>
                  </a:solidFill>
                  <a:cs typeface="Segoe UI" panose="020B0502040204020203" pitchFamily="34" charset="0"/>
                </a:endParaRPr>
              </a:p>
              <a:p>
                <a:pPr algn="ctr" defTabSz="653615">
                  <a:defRPr/>
                </a:pPr>
                <a:endParaRPr lang="en-US" sz="1029" kern="0" dirty="0">
                  <a:solidFill>
                    <a:srgbClr val="FFFFFF"/>
                  </a:solidFill>
                  <a:cs typeface="Segoe UI" panose="020B0502040204020203" pitchFamily="34" charset="0"/>
                </a:endParaRPr>
              </a:p>
              <a:p>
                <a:pPr algn="ctr" defTabSz="653615">
                  <a:defRPr/>
                </a:pPr>
                <a:endParaRPr lang="en-US" sz="1029" kern="0" dirty="0">
                  <a:solidFill>
                    <a:srgbClr val="FFFFFF"/>
                  </a:solidFill>
                  <a:cs typeface="Segoe UI" panose="020B0502040204020203" pitchFamily="34" charset="0"/>
                </a:endParaRPr>
              </a:p>
              <a:p>
                <a:pPr algn="ctr" defTabSz="653615">
                  <a:defRPr/>
                </a:pPr>
                <a:endParaRPr lang="en-US" sz="1029" kern="0" dirty="0">
                  <a:solidFill>
                    <a:srgbClr val="FFFFFF"/>
                  </a:solidFill>
                  <a:cs typeface="Segoe UI" panose="020B0502040204020203" pitchFamily="34" charset="0"/>
                </a:endParaRPr>
              </a:p>
              <a:p>
                <a:pPr algn="ctr" defTabSz="653615">
                  <a:defRPr/>
                </a:pPr>
                <a:r>
                  <a:rPr lang="zh-TW" altLang="en-US" sz="1350" b="0" kern="0" dirty="0">
                    <a:solidFill>
                      <a:srgbClr val="FFFFFF"/>
                    </a:solidFill>
                    <a:cs typeface="Segoe UI" panose="020B0502040204020203" pitchFamily="34" charset="0"/>
                  </a:rPr>
                  <a:t>付費</a:t>
                </a:r>
                <a:endParaRPr lang="en-US" sz="1350" b="0" kern="0" dirty="0">
                  <a:solidFill>
                    <a:srgbClr val="FFFFFF"/>
                  </a:solidFill>
                  <a:cs typeface="Segoe UI" panose="020B0502040204020203" pitchFamily="34" charset="0"/>
                </a:endParaRPr>
              </a:p>
              <a:p>
                <a:pPr algn="ctr" defTabSz="653615">
                  <a:defRPr/>
                </a:pPr>
                <a:r>
                  <a:rPr lang="zh-TW" altLang="en-US" sz="1350" b="0" kern="0" dirty="0">
                    <a:solidFill>
                      <a:srgbClr val="FFFFFF"/>
                    </a:solidFill>
                    <a:cs typeface="Segoe UI" panose="020B0502040204020203" pitchFamily="34" charset="0"/>
                  </a:rPr>
                  <a:t>零售版 </a:t>
                </a:r>
                <a:r>
                  <a:rPr lang="en-US" sz="1350" b="0" kern="0" dirty="0">
                    <a:solidFill>
                      <a:srgbClr val="FFFFFF"/>
                    </a:solidFill>
                    <a:cs typeface="Segoe UI" panose="020B0502040204020203" pitchFamily="34" charset="0"/>
                  </a:rPr>
                  <a:t>/ </a:t>
                </a:r>
                <a:r>
                  <a:rPr lang="zh-TW" altLang="en-US" sz="1350" b="0" kern="0" dirty="0">
                    <a:solidFill>
                      <a:srgbClr val="FFFFFF"/>
                    </a:solidFill>
                    <a:cs typeface="Segoe UI" panose="020B0502040204020203" pitchFamily="34" charset="0"/>
                  </a:rPr>
                  <a:t>大量授權升級</a:t>
                </a:r>
                <a:endParaRPr lang="en-US" sz="1350" b="0" kern="0" dirty="0">
                  <a:solidFill>
                    <a:srgbClr val="FFFFFF"/>
                  </a:solidFill>
                  <a:cs typeface="Segoe UI" panose="020B0502040204020203" pitchFamily="34" charset="0"/>
                </a:endParaRPr>
              </a:p>
            </p:txBody>
          </p:sp>
          <p:pic>
            <p:nvPicPr>
              <p:cNvPr id="54" name="Picture 53"/>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9944963" y="3120058"/>
                <a:ext cx="1075710" cy="616215"/>
              </a:xfrm>
              <a:prstGeom prst="rect">
                <a:avLst/>
              </a:prstGeom>
              <a:ln>
                <a:noFill/>
              </a:ln>
            </p:spPr>
          </p:pic>
        </p:grpSp>
        <p:grpSp>
          <p:nvGrpSpPr>
            <p:cNvPr id="48" name="Group 47"/>
            <p:cNvGrpSpPr/>
            <p:nvPr/>
          </p:nvGrpSpPr>
          <p:grpSpPr>
            <a:xfrm>
              <a:off x="5764434" y="2227772"/>
              <a:ext cx="1501555" cy="3233180"/>
              <a:chOff x="7345021" y="2349702"/>
              <a:chExt cx="2002073" cy="2864576"/>
            </a:xfrm>
          </p:grpSpPr>
          <p:sp>
            <p:nvSpPr>
              <p:cNvPr id="50" name="Rectangle 49"/>
              <p:cNvSpPr/>
              <p:nvPr/>
            </p:nvSpPr>
            <p:spPr bwMode="auto">
              <a:xfrm>
                <a:off x="7345021" y="2349702"/>
                <a:ext cx="2002073" cy="2864576"/>
              </a:xfrm>
              <a:prstGeom prst="rect">
                <a:avLst/>
              </a:prstGeom>
              <a:solidFill>
                <a:srgbClr val="002050"/>
              </a:solidFill>
              <a:ln w="9525" cap="flat" cmpd="sng" algn="ctr">
                <a:solidFill>
                  <a:srgbClr val="002050"/>
                </a:solidFill>
                <a:prstDash val="solid"/>
                <a:round/>
                <a:headEnd type="none" w="med" len="med"/>
                <a:tailEnd type="none" w="med" len="med"/>
              </a:ln>
              <a:effectLst/>
            </p:spPr>
            <p:txBody>
              <a:bodyPr vert="horz" wrap="square" lIns="67232" tIns="67232" rIns="67232" bIns="67232" numCol="1" rtlCol="0" anchor="ctr" anchorCtr="0" compatLnSpc="1">
                <a:prstTxWarp prst="textNoShape">
                  <a:avLst/>
                </a:prstTxWarp>
                <a:noAutofit/>
              </a:bodyPr>
              <a:lstStyle/>
              <a:p>
                <a:pPr algn="ctr" defTabSz="653615">
                  <a:defRPr/>
                </a:pPr>
                <a:endParaRPr lang="en-US" sz="1471" kern="0" dirty="0">
                  <a:solidFill>
                    <a:srgbClr val="FFFFFF"/>
                  </a:solidFill>
                  <a:cs typeface="Segoe UI" panose="020B0502040204020203" pitchFamily="34" charset="0"/>
                </a:endParaRPr>
              </a:p>
              <a:p>
                <a:pPr algn="ctr" defTabSz="653615">
                  <a:defRPr/>
                </a:pPr>
                <a:endParaRPr lang="en-US" sz="1471" kern="0" dirty="0">
                  <a:solidFill>
                    <a:srgbClr val="FFFFFF"/>
                  </a:solidFill>
                  <a:cs typeface="Segoe UI" panose="020B0502040204020203" pitchFamily="34" charset="0"/>
                </a:endParaRPr>
              </a:p>
              <a:p>
                <a:pPr algn="ctr" defTabSz="653615">
                  <a:defRPr/>
                </a:pPr>
                <a:endParaRPr lang="en-US" sz="1471" kern="0" dirty="0">
                  <a:solidFill>
                    <a:srgbClr val="FFFFFF"/>
                  </a:solidFill>
                  <a:cs typeface="Segoe UI" panose="020B0502040204020203" pitchFamily="34" charset="0"/>
                </a:endParaRPr>
              </a:p>
              <a:p>
                <a:pPr algn="ctr" defTabSz="653615">
                  <a:defRPr/>
                </a:pPr>
                <a:r>
                  <a:rPr lang="zh-TW" altLang="en-US" sz="1350" b="0" kern="0" dirty="0">
                    <a:solidFill>
                      <a:srgbClr val="FFFFFF"/>
                    </a:solidFill>
                    <a:cs typeface="Segoe UI" panose="020B0502040204020203" pitchFamily="34" charset="0"/>
                  </a:rPr>
                  <a:t>免費</a:t>
                </a:r>
                <a:r>
                  <a:rPr lang="en-US" sz="1350" b="0" kern="0" dirty="0">
                    <a:solidFill>
                      <a:srgbClr val="FFFFFF"/>
                    </a:solidFill>
                    <a:cs typeface="Segoe UI" panose="020B0502040204020203" pitchFamily="34" charset="0"/>
                  </a:rPr>
                  <a:t>* </a:t>
                </a:r>
              </a:p>
            </p:txBody>
          </p:sp>
          <p:pic>
            <p:nvPicPr>
              <p:cNvPr id="51" name="Picture 50"/>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7808202" y="3120058"/>
                <a:ext cx="1075710" cy="616215"/>
              </a:xfrm>
              <a:prstGeom prst="rect">
                <a:avLst/>
              </a:prstGeom>
            </p:spPr>
          </p:pic>
          <p:pic>
            <p:nvPicPr>
              <p:cNvPr id="52" name="Picture 51"/>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711425" y="2895764"/>
                <a:ext cx="1270220" cy="1091153"/>
              </a:xfrm>
              <a:prstGeom prst="rect">
                <a:avLst/>
              </a:prstGeom>
            </p:spPr>
          </p:pic>
        </p:grpSp>
        <p:sp>
          <p:nvSpPr>
            <p:cNvPr id="49" name="Right Arrow 48"/>
            <p:cNvSpPr/>
            <p:nvPr/>
          </p:nvSpPr>
          <p:spPr bwMode="auto">
            <a:xfrm>
              <a:off x="3431162" y="4223102"/>
              <a:ext cx="617220" cy="958778"/>
            </a:xfrm>
            <a:prstGeom prst="rightArrow">
              <a:avLst>
                <a:gd name="adj1" fmla="val 61397"/>
                <a:gd name="adj2" fmla="val 54248"/>
              </a:avLst>
            </a:prstGeom>
            <a:solidFill>
              <a:srgbClr val="969696"/>
            </a:solidFill>
            <a:ln w="9525" cap="flat" cmpd="sng" algn="ctr">
              <a:solidFill>
                <a:srgbClr val="969696"/>
              </a:solidFill>
              <a:prstDash val="solid"/>
              <a:round/>
              <a:headEnd type="none" w="med" len="med"/>
              <a:tailEnd type="none" w="med" len="med"/>
            </a:ln>
            <a:effectLst/>
          </p:spPr>
          <p:txBody>
            <a:bodyPr vert="horz" wrap="square" lIns="67232" tIns="67232" rIns="67232" bIns="67232" numCol="1" rtlCol="0" anchor="ctr" anchorCtr="0" compatLnSpc="1">
              <a:prstTxWarp prst="textNoShape">
                <a:avLst/>
              </a:prstTxWarp>
              <a:noAutofit/>
            </a:bodyPr>
            <a:lstStyle/>
            <a:p>
              <a:pPr algn="ctr" defTabSz="653615">
                <a:defRPr/>
              </a:pPr>
              <a:endParaRPr lang="en-US" sz="1029" kern="0" dirty="0" err="1">
                <a:solidFill>
                  <a:srgbClr val="FFFFFF"/>
                </a:solidFill>
                <a:cs typeface="Segoe UI" panose="020B0502040204020203" pitchFamily="34" charset="0"/>
              </a:endParaRPr>
            </a:p>
          </p:txBody>
        </p:sp>
      </p:grpSp>
    </p:spTree>
    <p:extLst>
      <p:ext uri="{BB962C8B-B14F-4D97-AF65-F5344CB8AC3E}">
        <p14:creationId xmlns:p14="http://schemas.microsoft.com/office/powerpoint/2010/main" val="132854976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584" y="2083347"/>
            <a:ext cx="3899448" cy="391321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24" dirty="0">
              <a:solidFill>
                <a:srgbClr val="FF0000"/>
              </a:solidFill>
            </a:endParaRPr>
          </a:p>
          <a:p>
            <a:pPr algn="ctr" defTabSz="685800"/>
            <a:endParaRPr lang="en-US" sz="1324" dirty="0">
              <a:solidFill>
                <a:srgbClr val="FF0000"/>
              </a:solidFill>
            </a:endParaRPr>
          </a:p>
          <a:p>
            <a:pPr algn="ctr" defTabSz="685800"/>
            <a:endParaRPr lang="en-US" sz="1324" dirty="0">
              <a:solidFill>
                <a:srgbClr val="FF0000"/>
              </a:solidFill>
            </a:endParaRPr>
          </a:p>
          <a:p>
            <a:pPr algn="ctr" defTabSz="685800"/>
            <a:endParaRPr lang="en-US" sz="1324" dirty="0">
              <a:solidFill>
                <a:srgbClr val="FF0000"/>
              </a:solidFill>
            </a:endParaRPr>
          </a:p>
        </p:txBody>
      </p:sp>
      <p:sp>
        <p:nvSpPr>
          <p:cNvPr id="9" name="Rectangle 8"/>
          <p:cNvSpPr/>
          <p:nvPr/>
        </p:nvSpPr>
        <p:spPr>
          <a:xfrm>
            <a:off x="-22963" y="68240"/>
            <a:ext cx="3899448" cy="22794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471" dirty="0">
              <a:solidFill>
                <a:srgbClr val="FFFFFF"/>
              </a:solidFill>
            </a:endParaRPr>
          </a:p>
        </p:txBody>
      </p:sp>
      <p:sp>
        <p:nvSpPr>
          <p:cNvPr id="6" name="Text Placeholder 5"/>
          <p:cNvSpPr>
            <a:spLocks noGrp="1"/>
          </p:cNvSpPr>
          <p:nvPr>
            <p:ph type="body" sz="quarter" idx="15"/>
          </p:nvPr>
        </p:nvSpPr>
        <p:spPr>
          <a:xfrm>
            <a:off x="-46510" y="498224"/>
            <a:ext cx="3699852" cy="1419460"/>
          </a:xfrm>
        </p:spPr>
        <p:txBody>
          <a:bodyPr/>
          <a:lstStyle/>
          <a:p>
            <a:pPr>
              <a:lnSpc>
                <a:spcPct val="100000"/>
              </a:lnSpc>
              <a:spcBef>
                <a:spcPts val="600"/>
              </a:spcBef>
              <a:spcAft>
                <a:spcPts val="600"/>
              </a:spcAft>
            </a:pPr>
            <a:r>
              <a:rPr lang="zh-TW" altLang="en-US" sz="4000" dirty="0">
                <a:solidFill>
                  <a:schemeClr val="bg1"/>
                </a:solidFill>
              </a:rPr>
              <a:t>大量</a:t>
            </a:r>
            <a:r>
              <a:rPr lang="zh-TW" altLang="en-US" sz="4000" dirty="0" smtClean="0">
                <a:solidFill>
                  <a:schemeClr val="bg1"/>
                </a:solidFill>
              </a:rPr>
              <a:t>授權 </a:t>
            </a:r>
            <a:r>
              <a:rPr lang="en-US" altLang="zh-TW" sz="4000" dirty="0">
                <a:solidFill>
                  <a:schemeClr val="bg1"/>
                </a:solidFill>
              </a:rPr>
              <a:t>-</a:t>
            </a:r>
            <a:r>
              <a:rPr lang="zh-TW" altLang="en-US" sz="4000" dirty="0">
                <a:solidFill>
                  <a:schemeClr val="bg1"/>
                </a:solidFill>
              </a:rPr>
              <a:t> </a:t>
            </a:r>
            <a:r>
              <a:rPr lang="en-US" sz="4000" b="1" dirty="0" smtClean="0">
                <a:solidFill>
                  <a:srgbClr val="FFFFFF"/>
                </a:solidFill>
                <a:latin typeface="+mj-lt"/>
              </a:rPr>
              <a:t>Windows </a:t>
            </a:r>
            <a:r>
              <a:rPr lang="en-US" altLang="zh-TW" sz="4000" b="1" dirty="0" smtClean="0">
                <a:solidFill>
                  <a:srgbClr val="FFFFFF"/>
                </a:solidFill>
                <a:latin typeface="+mj-lt"/>
              </a:rPr>
              <a:t>10 </a:t>
            </a:r>
          </a:p>
        </p:txBody>
      </p:sp>
      <p:pic>
        <p:nvPicPr>
          <p:cNvPr id="8" name="Picture 2" descr="C:\Users\michacha\Desktop\Picture1.tif"/>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2858" y="2329195"/>
            <a:ext cx="3896591" cy="3667361"/>
          </a:xfrm>
          <a:prstGeom prst="rect">
            <a:avLst/>
          </a:prstGeom>
          <a:noFill/>
          <a:extLst>
            <a:ext uri="{909E8E84-426E-40DD-AFC4-6F175D3DCCD1}">
              <a14:hiddenFill xmlns:a14="http://schemas.microsoft.com/office/drawing/2010/main">
                <a:solidFill>
                  <a:srgbClr val="FFFFFF"/>
                </a:solidFill>
              </a14:hiddenFill>
            </a:ext>
          </a:extLst>
        </p:spPr>
      </p:pic>
      <p:sp>
        <p:nvSpPr>
          <p:cNvPr id="22" name="Content Placeholder 2"/>
          <p:cNvSpPr txBox="1">
            <a:spLocks/>
          </p:cNvSpPr>
          <p:nvPr/>
        </p:nvSpPr>
        <p:spPr>
          <a:xfrm>
            <a:off x="4096189" y="1474699"/>
            <a:ext cx="4411406" cy="2410301"/>
          </a:xfrm>
          <a:prstGeom prst="rect">
            <a:avLst/>
          </a:prstGeom>
        </p:spPr>
        <p:txBody>
          <a:bodyPr/>
          <a:lstStyle>
            <a:lvl1pPr marL="0" indent="0" algn="l" defTabSz="1218808" rtl="0" eaLnBrk="1" fontAlgn="base" latinLnBrk="0" hangingPunct="1">
              <a:lnSpc>
                <a:spcPct val="95000"/>
              </a:lnSpc>
              <a:spcBef>
                <a:spcPts val="0"/>
              </a:spcBef>
              <a:spcAft>
                <a:spcPts val="0"/>
              </a:spcAft>
              <a:buClr>
                <a:schemeClr val="accent1"/>
              </a:buClr>
              <a:buSzPct val="110000"/>
              <a:buFont typeface="Avenir LT Pro 45 Book" charset="0"/>
              <a:buNone/>
              <a:defRPr lang="en-US" sz="3200" b="0" kern="1200" cap="none" baseline="0" dirty="0" smtClean="0">
                <a:solidFill>
                  <a:srgbClr val="FFFFFF"/>
                </a:solidFill>
                <a:latin typeface="Segoe UI Light"/>
                <a:ea typeface="ＭＳ Ｐゴシック" charset="0"/>
                <a:cs typeface="Segoe UI Light"/>
              </a:defRPr>
            </a:lvl1pPr>
            <a:lvl2pPr marL="0" indent="0" algn="l" defTabSz="1218808" rtl="0" eaLnBrk="1" latinLnBrk="0" hangingPunct="1">
              <a:lnSpc>
                <a:spcPct val="95000"/>
              </a:lnSpc>
              <a:spcBef>
                <a:spcPts val="0"/>
              </a:spcBef>
              <a:spcAft>
                <a:spcPts val="0"/>
              </a:spcAft>
              <a:buClrTx/>
              <a:buFont typeface="Arial" pitchFamily="34" charset="0"/>
              <a:buNone/>
              <a:defRPr lang="en-US" sz="1900" b="0" kern="1200" dirty="0" smtClean="0">
                <a:solidFill>
                  <a:srgbClr val="FFFFFF"/>
                </a:solidFill>
                <a:latin typeface="+mn-lt"/>
                <a:ea typeface="+mn-ea"/>
                <a:cs typeface="+mn-cs"/>
              </a:defRPr>
            </a:lvl2pPr>
            <a:lvl3pPr marL="609404" indent="-304703" algn="l" defTabSz="1218808" rtl="0" eaLnBrk="1" latinLnBrk="0" hangingPunct="1">
              <a:lnSpc>
                <a:spcPct val="95000"/>
              </a:lnSpc>
              <a:spcBef>
                <a:spcPts val="0"/>
              </a:spcBef>
              <a:spcAft>
                <a:spcPts val="0"/>
              </a:spcAft>
              <a:buFont typeface="Lucida Grande"/>
              <a:buChar char="-"/>
              <a:defRPr lang="en-US" sz="1900" b="0" kern="1200" dirty="0" smtClean="0">
                <a:solidFill>
                  <a:srgbClr val="FFFFFF"/>
                </a:solidFill>
                <a:latin typeface="+mn-lt"/>
                <a:ea typeface="+mn-ea"/>
                <a:cs typeface="+mn-cs"/>
              </a:defRPr>
            </a:lvl3pPr>
            <a:lvl4pPr marL="835815" indent="-226411" algn="l" defTabSz="1218808" rtl="0" eaLnBrk="1" latinLnBrk="0" hangingPunct="1">
              <a:lnSpc>
                <a:spcPct val="95000"/>
              </a:lnSpc>
              <a:spcBef>
                <a:spcPts val="0"/>
              </a:spcBef>
              <a:spcAft>
                <a:spcPts val="0"/>
              </a:spcAft>
              <a:buFont typeface="Arial" pitchFamily="34" charset="0"/>
              <a:buChar char="•"/>
              <a:defRPr lang="en-US" sz="1900" b="0" kern="1200" dirty="0" smtClean="0">
                <a:solidFill>
                  <a:srgbClr val="FFFFFF"/>
                </a:solidFill>
                <a:latin typeface="+mn-lt"/>
                <a:ea typeface="+mn-ea"/>
                <a:cs typeface="+mn-cs"/>
              </a:defRPr>
            </a:lvl4pPr>
            <a:lvl5pPr marL="1218808" indent="-304703" algn="l" defTabSz="1218808" rtl="0" eaLnBrk="1" latinLnBrk="0" hangingPunct="1">
              <a:lnSpc>
                <a:spcPct val="95000"/>
              </a:lnSpc>
              <a:spcBef>
                <a:spcPts val="0"/>
              </a:spcBef>
              <a:spcAft>
                <a:spcPts val="0"/>
              </a:spcAft>
              <a:buFont typeface="Lucida Grande"/>
              <a:buChar char="-"/>
              <a:defRPr lang="en-US" sz="1900" b="0" kern="1200" dirty="0">
                <a:solidFill>
                  <a:srgbClr val="FFFFFF"/>
                </a:solidFill>
                <a:latin typeface="+mn-lt"/>
                <a:ea typeface="+mn-ea"/>
                <a:cs typeface="+mn-cs"/>
              </a:defRPr>
            </a:lvl5pPr>
            <a:lvl6pPr marL="3351719" indent="-304703" algn="l" defTabSz="1218808"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123" indent="-304703" algn="l" defTabSz="1218808"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0527" indent="-304703" algn="l" defTabSz="1218808"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79929" indent="-304703" algn="l" defTabSz="1218808"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spcAft>
                <a:spcPts val="1324"/>
              </a:spcAft>
              <a:buClr>
                <a:srgbClr val="00BCF2"/>
              </a:buClr>
            </a:pPr>
            <a:r>
              <a:rPr sz="2059">
                <a:solidFill>
                  <a:srgbClr val="505050"/>
                </a:solidFill>
                <a:latin typeface="Segoe UI"/>
                <a:ea typeface="微軟正黑體" panose="020B0604030504040204" pitchFamily="34" charset="-120"/>
              </a:rPr>
              <a:t>Windows 10 </a:t>
            </a:r>
            <a:r>
              <a:rPr lang="zh-TW" altLang="en-US" sz="2059">
                <a:solidFill>
                  <a:srgbClr val="505050"/>
                </a:solidFill>
                <a:latin typeface="Segoe UI"/>
                <a:ea typeface="微軟正黑體" panose="020B0604030504040204" pitchFamily="34" charset="-120"/>
              </a:rPr>
              <a:t>專業版</a:t>
            </a:r>
            <a:endParaRPr sz="2059">
              <a:solidFill>
                <a:srgbClr val="505050"/>
              </a:solidFill>
              <a:latin typeface="Segoe UI"/>
              <a:ea typeface="微軟正黑體" panose="020B0604030504040204" pitchFamily="34" charset="-120"/>
            </a:endParaRPr>
          </a:p>
          <a:p>
            <a:pPr>
              <a:spcAft>
                <a:spcPts val="1324"/>
              </a:spcAft>
              <a:buClr>
                <a:srgbClr val="00BCF2"/>
              </a:buClr>
            </a:pPr>
            <a:r>
              <a:rPr sz="2059">
                <a:solidFill>
                  <a:srgbClr val="505050"/>
                </a:solidFill>
                <a:latin typeface="Segoe UI"/>
                <a:ea typeface="微軟正黑體" panose="020B0604030504040204" pitchFamily="34" charset="-120"/>
              </a:rPr>
              <a:t>Windows 10 </a:t>
            </a:r>
            <a:r>
              <a:rPr lang="zh-TW" altLang="en-US" sz="2059">
                <a:solidFill>
                  <a:srgbClr val="505050"/>
                </a:solidFill>
                <a:latin typeface="Segoe UI"/>
                <a:ea typeface="微軟正黑體" panose="020B0604030504040204" pitchFamily="34" charset="-120"/>
              </a:rPr>
              <a:t>企業版</a:t>
            </a:r>
            <a:endParaRPr sz="2059">
              <a:solidFill>
                <a:srgbClr val="505050"/>
              </a:solidFill>
              <a:latin typeface="Segoe UI"/>
              <a:ea typeface="微軟正黑體" panose="020B0604030504040204" pitchFamily="34" charset="-120"/>
            </a:endParaRPr>
          </a:p>
          <a:p>
            <a:pPr>
              <a:spcAft>
                <a:spcPts val="1324"/>
              </a:spcAft>
              <a:buClr>
                <a:srgbClr val="00BCF2"/>
              </a:buClr>
            </a:pPr>
            <a:r>
              <a:rPr sz="2059">
                <a:solidFill>
                  <a:srgbClr val="505050"/>
                </a:solidFill>
                <a:latin typeface="Segoe UI"/>
                <a:ea typeface="微軟正黑體" panose="020B0604030504040204" pitchFamily="34" charset="-120"/>
              </a:rPr>
              <a:t>Windows Software Assurance (SA) </a:t>
            </a:r>
          </a:p>
          <a:p>
            <a:pPr>
              <a:spcAft>
                <a:spcPts val="1324"/>
              </a:spcAft>
              <a:buClr>
                <a:srgbClr val="00BCF2"/>
              </a:buClr>
            </a:pPr>
            <a:r>
              <a:rPr sz="2059">
                <a:solidFill>
                  <a:srgbClr val="505050"/>
                </a:solidFill>
                <a:latin typeface="Segoe UI"/>
                <a:ea typeface="微軟正黑體" panose="020B0604030504040204" pitchFamily="34" charset="-120"/>
              </a:rPr>
              <a:t>Windows Virtual Desktop Access (VDA)</a:t>
            </a:r>
          </a:p>
          <a:p>
            <a:pPr>
              <a:spcAft>
                <a:spcPts val="1324"/>
              </a:spcAft>
              <a:buClr>
                <a:srgbClr val="00BCF2"/>
              </a:buClr>
            </a:pPr>
            <a:endParaRPr sz="2059">
              <a:solidFill>
                <a:srgbClr val="505050"/>
              </a:solidFill>
              <a:latin typeface="Segoe UI"/>
              <a:ea typeface="微軟正黑體" panose="020B0604030504040204" pitchFamily="34" charset="-120"/>
            </a:endParaRPr>
          </a:p>
          <a:p>
            <a:pPr>
              <a:spcAft>
                <a:spcPts val="1324"/>
              </a:spcAft>
              <a:buClr>
                <a:srgbClr val="00BCF2"/>
              </a:buClr>
            </a:pPr>
            <a:endParaRPr sz="2059">
              <a:solidFill>
                <a:srgbClr val="505050"/>
              </a:solidFill>
              <a:latin typeface="Segoe UI"/>
              <a:ea typeface="微軟正黑體" panose="020B0604030504040204" pitchFamily="34" charset="-120"/>
            </a:endParaRPr>
          </a:p>
        </p:txBody>
      </p:sp>
      <p:grpSp>
        <p:nvGrpSpPr>
          <p:cNvPr id="5" name="Group 4"/>
          <p:cNvGrpSpPr/>
          <p:nvPr/>
        </p:nvGrpSpPr>
        <p:grpSpPr>
          <a:xfrm>
            <a:off x="4003358" y="2325339"/>
            <a:ext cx="4554002" cy="1676473"/>
            <a:chOff x="5360670" y="2651760"/>
            <a:chExt cx="6517743" cy="1630004"/>
          </a:xfrm>
        </p:grpSpPr>
        <p:sp>
          <p:nvSpPr>
            <p:cNvPr id="3" name="Rectangle 2"/>
            <p:cNvSpPr/>
            <p:nvPr/>
          </p:nvSpPr>
          <p:spPr>
            <a:xfrm>
              <a:off x="5360670" y="2651760"/>
              <a:ext cx="6517743" cy="1516431"/>
            </a:xfrm>
            <a:prstGeom prst="rect">
              <a:avLst/>
            </a:prstGeom>
            <a:noFill/>
            <a:ln w="2857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srgbClr val="FFFFFF"/>
                </a:solidFill>
              </a:endParaRPr>
            </a:p>
          </p:txBody>
        </p:sp>
        <p:sp>
          <p:nvSpPr>
            <p:cNvPr id="4" name="TextBox 3"/>
            <p:cNvSpPr txBox="1"/>
            <p:nvPr/>
          </p:nvSpPr>
          <p:spPr>
            <a:xfrm>
              <a:off x="6129637" y="3892744"/>
              <a:ext cx="5208011" cy="389020"/>
            </a:xfrm>
            <a:prstGeom prst="rect">
              <a:avLst/>
            </a:prstGeom>
            <a:solidFill>
              <a:srgbClr val="F5F5F5"/>
            </a:solidFill>
            <a:ln>
              <a:noFill/>
            </a:ln>
          </p:spPr>
          <p:txBody>
            <a:bodyPr wrap="none" rtlCol="0">
              <a:spAutoFit/>
            </a:bodyPr>
            <a:lstStyle/>
            <a:p>
              <a:pPr defTabSz="685800"/>
              <a:r>
                <a:rPr lang="en-US" sz="2000" b="1" dirty="0">
                  <a:solidFill>
                    <a:srgbClr val="00BCF2"/>
                  </a:solidFill>
                  <a:latin typeface="Segoe UI Light"/>
                  <a:ea typeface="ＭＳ Ｐゴシック" charset="0"/>
                  <a:cs typeface="Segoe UI Light"/>
                </a:rPr>
                <a:t>Available per User or per Device</a:t>
              </a:r>
            </a:p>
          </p:txBody>
        </p:sp>
      </p:grpSp>
      <p:sp>
        <p:nvSpPr>
          <p:cNvPr id="28" name="Content Placeholder 2"/>
          <p:cNvSpPr txBox="1">
            <a:spLocks/>
          </p:cNvSpPr>
          <p:nvPr/>
        </p:nvSpPr>
        <p:spPr>
          <a:xfrm>
            <a:off x="4145954" y="4162875"/>
            <a:ext cx="4411406" cy="1051481"/>
          </a:xfrm>
          <a:prstGeom prst="rect">
            <a:avLst/>
          </a:prstGeom>
        </p:spPr>
        <p:txBody>
          <a:bodyPr/>
          <a:lstStyle>
            <a:lvl1pPr marL="0" indent="0" algn="l" defTabSz="1218808" rtl="0" eaLnBrk="1" fontAlgn="base" latinLnBrk="0" hangingPunct="1">
              <a:lnSpc>
                <a:spcPct val="95000"/>
              </a:lnSpc>
              <a:spcBef>
                <a:spcPts val="0"/>
              </a:spcBef>
              <a:spcAft>
                <a:spcPts val="0"/>
              </a:spcAft>
              <a:buClr>
                <a:schemeClr val="accent1"/>
              </a:buClr>
              <a:buSzPct val="110000"/>
              <a:buFont typeface="Avenir LT Pro 45 Book" charset="0"/>
              <a:buNone/>
              <a:defRPr lang="en-US" sz="3200" b="0" kern="1200" cap="none" baseline="0" dirty="0" smtClean="0">
                <a:solidFill>
                  <a:srgbClr val="FFFFFF"/>
                </a:solidFill>
                <a:latin typeface="Segoe UI Light"/>
                <a:ea typeface="ＭＳ Ｐゴシック" charset="0"/>
                <a:cs typeface="Segoe UI Light"/>
              </a:defRPr>
            </a:lvl1pPr>
            <a:lvl2pPr marL="0" indent="0" algn="l" defTabSz="1218808" rtl="0" eaLnBrk="1" latinLnBrk="0" hangingPunct="1">
              <a:lnSpc>
                <a:spcPct val="95000"/>
              </a:lnSpc>
              <a:spcBef>
                <a:spcPts val="0"/>
              </a:spcBef>
              <a:spcAft>
                <a:spcPts val="0"/>
              </a:spcAft>
              <a:buClrTx/>
              <a:buFont typeface="Arial" pitchFamily="34" charset="0"/>
              <a:buNone/>
              <a:defRPr lang="en-US" sz="1900" b="0" kern="1200" dirty="0" smtClean="0">
                <a:solidFill>
                  <a:srgbClr val="FFFFFF"/>
                </a:solidFill>
                <a:latin typeface="+mn-lt"/>
                <a:ea typeface="+mn-ea"/>
                <a:cs typeface="+mn-cs"/>
              </a:defRPr>
            </a:lvl2pPr>
            <a:lvl3pPr marL="609404" indent="-304703" algn="l" defTabSz="1218808" rtl="0" eaLnBrk="1" latinLnBrk="0" hangingPunct="1">
              <a:lnSpc>
                <a:spcPct val="95000"/>
              </a:lnSpc>
              <a:spcBef>
                <a:spcPts val="0"/>
              </a:spcBef>
              <a:spcAft>
                <a:spcPts val="0"/>
              </a:spcAft>
              <a:buFont typeface="Lucida Grande"/>
              <a:buChar char="-"/>
              <a:defRPr lang="en-US" sz="1900" b="0" kern="1200" dirty="0" smtClean="0">
                <a:solidFill>
                  <a:srgbClr val="FFFFFF"/>
                </a:solidFill>
                <a:latin typeface="+mn-lt"/>
                <a:ea typeface="+mn-ea"/>
                <a:cs typeface="+mn-cs"/>
              </a:defRPr>
            </a:lvl3pPr>
            <a:lvl4pPr marL="835815" indent="-226411" algn="l" defTabSz="1218808" rtl="0" eaLnBrk="1" latinLnBrk="0" hangingPunct="1">
              <a:lnSpc>
                <a:spcPct val="95000"/>
              </a:lnSpc>
              <a:spcBef>
                <a:spcPts val="0"/>
              </a:spcBef>
              <a:spcAft>
                <a:spcPts val="0"/>
              </a:spcAft>
              <a:buFont typeface="Arial" pitchFamily="34" charset="0"/>
              <a:buChar char="•"/>
              <a:defRPr lang="en-US" sz="1900" b="0" kern="1200" dirty="0" smtClean="0">
                <a:solidFill>
                  <a:srgbClr val="FFFFFF"/>
                </a:solidFill>
                <a:latin typeface="+mn-lt"/>
                <a:ea typeface="+mn-ea"/>
                <a:cs typeface="+mn-cs"/>
              </a:defRPr>
            </a:lvl4pPr>
            <a:lvl5pPr marL="1218808" indent="-304703" algn="l" defTabSz="1218808" rtl="0" eaLnBrk="1" latinLnBrk="0" hangingPunct="1">
              <a:lnSpc>
                <a:spcPct val="95000"/>
              </a:lnSpc>
              <a:spcBef>
                <a:spcPts val="0"/>
              </a:spcBef>
              <a:spcAft>
                <a:spcPts val="0"/>
              </a:spcAft>
              <a:buFont typeface="Lucida Grande"/>
              <a:buChar char="-"/>
              <a:defRPr lang="en-US" sz="1900" b="0" kern="1200" dirty="0">
                <a:solidFill>
                  <a:srgbClr val="FFFFFF"/>
                </a:solidFill>
                <a:latin typeface="+mn-lt"/>
                <a:ea typeface="+mn-ea"/>
                <a:cs typeface="+mn-cs"/>
              </a:defRPr>
            </a:lvl5pPr>
            <a:lvl6pPr marL="3351719" indent="-304703" algn="l" defTabSz="1218808"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123" indent="-304703" algn="l" defTabSz="1218808"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0527" indent="-304703" algn="l" defTabSz="1218808"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79929" indent="-304703" algn="l" defTabSz="1218808"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spcAft>
                <a:spcPts val="1324"/>
              </a:spcAft>
              <a:buClr>
                <a:srgbClr val="00BCF2"/>
              </a:buClr>
            </a:pPr>
            <a:r>
              <a:rPr sz="2059">
                <a:solidFill>
                  <a:srgbClr val="505050"/>
                </a:solidFill>
                <a:latin typeface="Segoe UI"/>
                <a:ea typeface="微軟正黑體" panose="020B0604030504040204" pitchFamily="34" charset="-120"/>
              </a:rPr>
              <a:t>Windows 10 </a:t>
            </a:r>
            <a:r>
              <a:rPr lang="zh-TW" altLang="en-US" sz="2059">
                <a:solidFill>
                  <a:srgbClr val="505050"/>
                </a:solidFill>
                <a:latin typeface="Segoe UI"/>
                <a:ea typeface="微軟正黑體" panose="020B0604030504040204" pitchFamily="34" charset="-120"/>
              </a:rPr>
              <a:t>教育版</a:t>
            </a:r>
            <a:endParaRPr sz="2059">
              <a:solidFill>
                <a:srgbClr val="505050"/>
              </a:solidFill>
              <a:latin typeface="Segoe UI"/>
              <a:ea typeface="微軟正黑體" panose="020B0604030504040204" pitchFamily="34" charset="-120"/>
            </a:endParaRPr>
          </a:p>
          <a:p>
            <a:pPr>
              <a:spcAft>
                <a:spcPts val="1324"/>
              </a:spcAft>
              <a:buClr>
                <a:srgbClr val="00BCF2"/>
              </a:buClr>
            </a:pPr>
            <a:r>
              <a:rPr sz="2059">
                <a:solidFill>
                  <a:srgbClr val="505050"/>
                </a:solidFill>
                <a:latin typeface="Segoe UI"/>
                <a:ea typeface="微軟正黑體" panose="020B0604030504040204" pitchFamily="34" charset="-120"/>
              </a:rPr>
              <a:t>Windows 10 </a:t>
            </a:r>
            <a:r>
              <a:rPr lang="zh-TW" altLang="en-US" sz="2059">
                <a:solidFill>
                  <a:srgbClr val="505050"/>
                </a:solidFill>
                <a:latin typeface="Segoe UI"/>
                <a:ea typeface="微軟正黑體" panose="020B0604030504040204" pitchFamily="34" charset="-120"/>
              </a:rPr>
              <a:t>企業行業版</a:t>
            </a:r>
            <a:endParaRPr sz="2059">
              <a:solidFill>
                <a:srgbClr val="505050"/>
              </a:solidFill>
              <a:latin typeface="Segoe UI"/>
              <a:ea typeface="微軟正黑體" panose="020B0604030504040204" pitchFamily="34" charset="-120"/>
            </a:endParaRPr>
          </a:p>
        </p:txBody>
      </p:sp>
    </p:spTree>
    <p:extLst>
      <p:ext uri="{BB962C8B-B14F-4D97-AF65-F5344CB8AC3E}">
        <p14:creationId xmlns:p14="http://schemas.microsoft.com/office/powerpoint/2010/main" val="1120215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5"/>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649" y="1936961"/>
            <a:ext cx="3912927" cy="4063424"/>
          </a:xfrm>
          <a:prstGeom prst="rect">
            <a:avLst/>
          </a:prstGeom>
        </p:spPr>
      </p:pic>
      <p:sp>
        <p:nvSpPr>
          <p:cNvPr id="14" name="Content Placeholder 2"/>
          <p:cNvSpPr txBox="1">
            <a:spLocks/>
          </p:cNvSpPr>
          <p:nvPr/>
        </p:nvSpPr>
        <p:spPr>
          <a:xfrm>
            <a:off x="4155827" y="1147098"/>
            <a:ext cx="4777513" cy="4499417"/>
          </a:xfrm>
          <a:prstGeom prst="rect">
            <a:avLst/>
          </a:prstGeom>
        </p:spPr>
        <p:txBody>
          <a:bodyPr anchor="ctr"/>
          <a:lstStyle>
            <a:lvl1pPr marL="0" indent="0" algn="l" defTabSz="1218808" rtl="0" eaLnBrk="1" fontAlgn="base" latinLnBrk="0" hangingPunct="1">
              <a:lnSpc>
                <a:spcPct val="95000"/>
              </a:lnSpc>
              <a:spcBef>
                <a:spcPts val="0"/>
              </a:spcBef>
              <a:spcAft>
                <a:spcPts val="0"/>
              </a:spcAft>
              <a:buClr>
                <a:schemeClr val="accent1"/>
              </a:buClr>
              <a:buSzPct val="110000"/>
              <a:buFont typeface="Avenir LT Pro 45 Book" charset="0"/>
              <a:buNone/>
              <a:defRPr lang="en-US" sz="3200" b="0" kern="1200" cap="none" baseline="0" dirty="0" smtClean="0">
                <a:solidFill>
                  <a:srgbClr val="FFFFFF"/>
                </a:solidFill>
                <a:latin typeface="Segoe UI Light"/>
                <a:ea typeface="ＭＳ Ｐゴシック" charset="0"/>
                <a:cs typeface="Segoe UI Light"/>
              </a:defRPr>
            </a:lvl1pPr>
            <a:lvl2pPr marL="0" indent="0" algn="l" defTabSz="1218808" rtl="0" eaLnBrk="1" latinLnBrk="0" hangingPunct="1">
              <a:lnSpc>
                <a:spcPct val="95000"/>
              </a:lnSpc>
              <a:spcBef>
                <a:spcPts val="0"/>
              </a:spcBef>
              <a:spcAft>
                <a:spcPts val="0"/>
              </a:spcAft>
              <a:buClrTx/>
              <a:buFont typeface="Arial" pitchFamily="34" charset="0"/>
              <a:buNone/>
              <a:defRPr lang="en-US" sz="1900" b="0" kern="1200" dirty="0" smtClean="0">
                <a:solidFill>
                  <a:srgbClr val="FFFFFF"/>
                </a:solidFill>
                <a:latin typeface="+mn-lt"/>
                <a:ea typeface="+mn-ea"/>
                <a:cs typeface="+mn-cs"/>
              </a:defRPr>
            </a:lvl2pPr>
            <a:lvl3pPr marL="609404" indent="-304703" algn="l" defTabSz="1218808" rtl="0" eaLnBrk="1" latinLnBrk="0" hangingPunct="1">
              <a:lnSpc>
                <a:spcPct val="95000"/>
              </a:lnSpc>
              <a:spcBef>
                <a:spcPts val="0"/>
              </a:spcBef>
              <a:spcAft>
                <a:spcPts val="0"/>
              </a:spcAft>
              <a:buFont typeface="Lucida Grande"/>
              <a:buChar char="-"/>
              <a:defRPr lang="en-US" sz="1900" b="0" kern="1200" dirty="0" smtClean="0">
                <a:solidFill>
                  <a:srgbClr val="FFFFFF"/>
                </a:solidFill>
                <a:latin typeface="+mn-lt"/>
                <a:ea typeface="+mn-ea"/>
                <a:cs typeface="+mn-cs"/>
              </a:defRPr>
            </a:lvl3pPr>
            <a:lvl4pPr marL="835815" indent="-226411" algn="l" defTabSz="1218808" rtl="0" eaLnBrk="1" latinLnBrk="0" hangingPunct="1">
              <a:lnSpc>
                <a:spcPct val="95000"/>
              </a:lnSpc>
              <a:spcBef>
                <a:spcPts val="0"/>
              </a:spcBef>
              <a:spcAft>
                <a:spcPts val="0"/>
              </a:spcAft>
              <a:buFont typeface="Arial" pitchFamily="34" charset="0"/>
              <a:buChar char="•"/>
              <a:defRPr lang="en-US" sz="1900" b="0" kern="1200" dirty="0" smtClean="0">
                <a:solidFill>
                  <a:srgbClr val="FFFFFF"/>
                </a:solidFill>
                <a:latin typeface="+mn-lt"/>
                <a:ea typeface="+mn-ea"/>
                <a:cs typeface="+mn-cs"/>
              </a:defRPr>
            </a:lvl4pPr>
            <a:lvl5pPr marL="1218808" indent="-304703" algn="l" defTabSz="1218808" rtl="0" eaLnBrk="1" latinLnBrk="0" hangingPunct="1">
              <a:lnSpc>
                <a:spcPct val="95000"/>
              </a:lnSpc>
              <a:spcBef>
                <a:spcPts val="0"/>
              </a:spcBef>
              <a:spcAft>
                <a:spcPts val="0"/>
              </a:spcAft>
              <a:buFont typeface="Lucida Grande"/>
              <a:buChar char="-"/>
              <a:defRPr lang="en-US" sz="1900" b="0" kern="1200" dirty="0">
                <a:solidFill>
                  <a:srgbClr val="FFFFFF"/>
                </a:solidFill>
                <a:latin typeface="+mn-lt"/>
                <a:ea typeface="+mn-ea"/>
                <a:cs typeface="+mn-cs"/>
              </a:defRPr>
            </a:lvl5pPr>
            <a:lvl6pPr marL="3351719" indent="-304703" algn="l" defTabSz="1218808"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123" indent="-304703" algn="l" defTabSz="1218808"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0527" indent="-304703" algn="l" defTabSz="1218808"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79929" indent="-304703" algn="l" defTabSz="1218808"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spcAft>
                <a:spcPts val="1324"/>
              </a:spcAft>
              <a:buClr>
                <a:srgbClr val="00BCF2"/>
              </a:buClr>
            </a:pPr>
            <a:r>
              <a:rPr lang="zh-TW" altLang="en-US" sz="2400" dirty="0">
                <a:solidFill>
                  <a:srgbClr val="505050"/>
                </a:solidFill>
              </a:rPr>
              <a:t>大量授權方案的 </a:t>
            </a:r>
            <a:r>
              <a:rPr sz="2400" dirty="0">
                <a:solidFill>
                  <a:srgbClr val="505050"/>
                </a:solidFill>
              </a:rPr>
              <a:t>Windows 10 </a:t>
            </a:r>
            <a:r>
              <a:rPr lang="zh-TW" altLang="en-US" sz="2400" dirty="0">
                <a:solidFill>
                  <a:srgbClr val="505050"/>
                </a:solidFill>
              </a:rPr>
              <a:t>專業版為升級使用權</a:t>
            </a:r>
            <a:endParaRPr sz="2400" dirty="0">
              <a:solidFill>
                <a:srgbClr val="505050"/>
              </a:solidFill>
            </a:endParaRPr>
          </a:p>
          <a:p>
            <a:pPr>
              <a:spcAft>
                <a:spcPts val="1324"/>
              </a:spcAft>
              <a:buClr>
                <a:srgbClr val="00BCF2"/>
              </a:buClr>
            </a:pPr>
            <a:r>
              <a:rPr lang="zh-TW" altLang="en-US" sz="2400" dirty="0">
                <a:solidFill>
                  <a:srgbClr val="505050"/>
                </a:solidFill>
              </a:rPr>
              <a:t>獨立升級授權可透過 </a:t>
            </a:r>
            <a:r>
              <a:rPr sz="2400" dirty="0">
                <a:solidFill>
                  <a:srgbClr val="505050"/>
                </a:solidFill>
              </a:rPr>
              <a:t>Open </a:t>
            </a:r>
            <a:r>
              <a:rPr lang="zh-TW" altLang="en-US" sz="2400" dirty="0">
                <a:solidFill>
                  <a:srgbClr val="505050"/>
                </a:solidFill>
              </a:rPr>
              <a:t>授權和</a:t>
            </a:r>
            <a:r>
              <a:rPr sz="2400" dirty="0">
                <a:solidFill>
                  <a:srgbClr val="505050"/>
                </a:solidFill>
              </a:rPr>
              <a:t> MPSA </a:t>
            </a:r>
            <a:r>
              <a:rPr lang="zh-TW" altLang="en-US" sz="2400" dirty="0">
                <a:solidFill>
                  <a:srgbClr val="505050"/>
                </a:solidFill>
              </a:rPr>
              <a:t>方案取得</a:t>
            </a:r>
            <a:endParaRPr sz="2400" dirty="0">
              <a:solidFill>
                <a:srgbClr val="505050"/>
              </a:solidFill>
            </a:endParaRPr>
          </a:p>
          <a:p>
            <a:pPr lvl="1">
              <a:spcAft>
                <a:spcPts val="1324"/>
              </a:spcAft>
              <a:buClr>
                <a:srgbClr val="00BCF2"/>
              </a:buClr>
              <a:buSzPct val="110000"/>
            </a:pPr>
            <a:r>
              <a:rPr lang="zh-TW" altLang="en-US" sz="2400" dirty="0">
                <a:solidFill>
                  <a:srgbClr val="505050"/>
                </a:solidFill>
                <a:latin typeface="Segoe UI Light"/>
                <a:ea typeface="ＭＳ Ｐゴシック" charset="0"/>
                <a:cs typeface="Segoe UI Light"/>
              </a:rPr>
              <a:t>裝置需含基本合格作業系統授權</a:t>
            </a:r>
          </a:p>
          <a:p>
            <a:pPr>
              <a:spcAft>
                <a:spcPts val="1324"/>
              </a:spcAft>
              <a:buClr>
                <a:srgbClr val="00BCF2"/>
              </a:buClr>
            </a:pPr>
            <a:r>
              <a:rPr lang="zh-TW" altLang="en-US" sz="2400" dirty="0">
                <a:solidFill>
                  <a:srgbClr val="505050"/>
                </a:solidFill>
              </a:rPr>
              <a:t>提供 </a:t>
            </a:r>
            <a:r>
              <a:rPr sz="2400" dirty="0">
                <a:solidFill>
                  <a:srgbClr val="505050"/>
                </a:solidFill>
              </a:rPr>
              <a:t>Current Branch/Current Branch for Business </a:t>
            </a:r>
            <a:r>
              <a:rPr lang="zh-TW" altLang="en-US" sz="2400" dirty="0">
                <a:solidFill>
                  <a:srgbClr val="505050"/>
                </a:solidFill>
              </a:rPr>
              <a:t>服務</a:t>
            </a:r>
            <a:endParaRPr sz="2400" dirty="0">
              <a:solidFill>
                <a:srgbClr val="505050"/>
              </a:solidFill>
            </a:endParaRPr>
          </a:p>
        </p:txBody>
      </p:sp>
      <p:sp>
        <p:nvSpPr>
          <p:cNvPr id="9" name="Rectangle 8"/>
          <p:cNvSpPr/>
          <p:nvPr/>
        </p:nvSpPr>
        <p:spPr>
          <a:xfrm>
            <a:off x="649" y="857980"/>
            <a:ext cx="3898895" cy="14788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9"/>
            <a:endParaRPr lang="en-US" sz="1471" dirty="0">
              <a:solidFill>
                <a:srgbClr val="FFFFFF"/>
              </a:solidFill>
            </a:endParaRPr>
          </a:p>
        </p:txBody>
      </p:sp>
      <p:sp>
        <p:nvSpPr>
          <p:cNvPr id="6" name="Text Placeholder 5"/>
          <p:cNvSpPr>
            <a:spLocks noGrp="1"/>
          </p:cNvSpPr>
          <p:nvPr>
            <p:ph type="body" sz="quarter" idx="15"/>
          </p:nvPr>
        </p:nvSpPr>
        <p:spPr>
          <a:xfrm>
            <a:off x="-13383" y="769874"/>
            <a:ext cx="3912927" cy="1655102"/>
          </a:xfrm>
        </p:spPr>
        <p:txBody>
          <a:bodyPr/>
          <a:lstStyle/>
          <a:p>
            <a:pPr>
              <a:lnSpc>
                <a:spcPct val="90000"/>
              </a:lnSpc>
            </a:pPr>
            <a:r>
              <a:rPr lang="zh-TW" altLang="en-US" dirty="0">
                <a:solidFill>
                  <a:schemeClr val="bg1"/>
                </a:solidFill>
              </a:rPr>
              <a:t>大量授權方案 </a:t>
            </a:r>
            <a:r>
              <a:rPr lang="en-US" altLang="zh-TW" dirty="0">
                <a:solidFill>
                  <a:schemeClr val="bg1"/>
                </a:solidFill>
              </a:rPr>
              <a:t>-</a:t>
            </a:r>
            <a:r>
              <a:rPr lang="zh-TW" altLang="en-US" dirty="0">
                <a:solidFill>
                  <a:schemeClr val="bg1"/>
                </a:solidFill>
              </a:rPr>
              <a:t> </a:t>
            </a:r>
            <a:r>
              <a:rPr lang="zh-TW" altLang="en-US" dirty="0" smtClean="0">
                <a:solidFill>
                  <a:schemeClr val="bg1"/>
                </a:solidFill>
              </a:rPr>
              <a:t> </a:t>
            </a:r>
            <a:r>
              <a:rPr lang="en-US" dirty="0" smtClean="0">
                <a:solidFill>
                  <a:schemeClr val="bg1"/>
                </a:solidFill>
              </a:rPr>
              <a:t>Windows 10 </a:t>
            </a:r>
            <a:r>
              <a:rPr lang="zh-TW" altLang="en-US" dirty="0" smtClean="0">
                <a:solidFill>
                  <a:schemeClr val="bg1"/>
                </a:solidFill>
              </a:rPr>
              <a:t>專業版</a:t>
            </a:r>
            <a:endParaRPr lang="en-US" dirty="0">
              <a:solidFill>
                <a:schemeClr val="bg1"/>
              </a:solidFill>
            </a:endParaRPr>
          </a:p>
        </p:txBody>
      </p:sp>
    </p:spTree>
    <p:extLst>
      <p:ext uri="{BB962C8B-B14F-4D97-AF65-F5344CB8AC3E}">
        <p14:creationId xmlns:p14="http://schemas.microsoft.com/office/powerpoint/2010/main" val="4154256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2"/>
          <p:cNvSpPr txBox="1">
            <a:spLocks/>
          </p:cNvSpPr>
          <p:nvPr/>
        </p:nvSpPr>
        <p:spPr>
          <a:xfrm>
            <a:off x="4155827" y="1147098"/>
            <a:ext cx="4777513" cy="4499417"/>
          </a:xfrm>
          <a:prstGeom prst="rect">
            <a:avLst/>
          </a:prstGeom>
        </p:spPr>
        <p:txBody>
          <a:bodyPr anchor="ctr"/>
          <a:lstStyle>
            <a:lvl1pPr marL="0" indent="0" algn="l" defTabSz="1218808" rtl="0" eaLnBrk="1" fontAlgn="base" latinLnBrk="0" hangingPunct="1">
              <a:lnSpc>
                <a:spcPct val="95000"/>
              </a:lnSpc>
              <a:spcBef>
                <a:spcPts val="0"/>
              </a:spcBef>
              <a:spcAft>
                <a:spcPts val="0"/>
              </a:spcAft>
              <a:buClr>
                <a:schemeClr val="accent1"/>
              </a:buClr>
              <a:buSzPct val="110000"/>
              <a:buFont typeface="Avenir LT Pro 45 Book" charset="0"/>
              <a:buNone/>
              <a:defRPr lang="en-US" sz="3200" b="0" kern="1200" cap="none" baseline="0" dirty="0" smtClean="0">
                <a:solidFill>
                  <a:srgbClr val="FFFFFF"/>
                </a:solidFill>
                <a:latin typeface="Segoe UI Light"/>
                <a:ea typeface="ＭＳ Ｐゴシック" charset="0"/>
                <a:cs typeface="Segoe UI Light"/>
              </a:defRPr>
            </a:lvl1pPr>
            <a:lvl2pPr marL="0" indent="0" algn="l" defTabSz="1218808" rtl="0" eaLnBrk="1" latinLnBrk="0" hangingPunct="1">
              <a:lnSpc>
                <a:spcPct val="95000"/>
              </a:lnSpc>
              <a:spcBef>
                <a:spcPts val="0"/>
              </a:spcBef>
              <a:spcAft>
                <a:spcPts val="0"/>
              </a:spcAft>
              <a:buClrTx/>
              <a:buFont typeface="Arial" pitchFamily="34" charset="0"/>
              <a:buNone/>
              <a:defRPr lang="en-US" sz="1900" b="0" kern="1200" dirty="0" smtClean="0">
                <a:solidFill>
                  <a:srgbClr val="FFFFFF"/>
                </a:solidFill>
                <a:latin typeface="+mn-lt"/>
                <a:ea typeface="+mn-ea"/>
                <a:cs typeface="+mn-cs"/>
              </a:defRPr>
            </a:lvl2pPr>
            <a:lvl3pPr marL="609404" indent="-304703" algn="l" defTabSz="1218808" rtl="0" eaLnBrk="1" latinLnBrk="0" hangingPunct="1">
              <a:lnSpc>
                <a:spcPct val="95000"/>
              </a:lnSpc>
              <a:spcBef>
                <a:spcPts val="0"/>
              </a:spcBef>
              <a:spcAft>
                <a:spcPts val="0"/>
              </a:spcAft>
              <a:buFont typeface="Lucida Grande"/>
              <a:buChar char="-"/>
              <a:defRPr lang="en-US" sz="1900" b="0" kern="1200" dirty="0" smtClean="0">
                <a:solidFill>
                  <a:srgbClr val="FFFFFF"/>
                </a:solidFill>
                <a:latin typeface="+mn-lt"/>
                <a:ea typeface="+mn-ea"/>
                <a:cs typeface="+mn-cs"/>
              </a:defRPr>
            </a:lvl3pPr>
            <a:lvl4pPr marL="835815" indent="-226411" algn="l" defTabSz="1218808" rtl="0" eaLnBrk="1" latinLnBrk="0" hangingPunct="1">
              <a:lnSpc>
                <a:spcPct val="95000"/>
              </a:lnSpc>
              <a:spcBef>
                <a:spcPts val="0"/>
              </a:spcBef>
              <a:spcAft>
                <a:spcPts val="0"/>
              </a:spcAft>
              <a:buFont typeface="Arial" pitchFamily="34" charset="0"/>
              <a:buChar char="•"/>
              <a:defRPr lang="en-US" sz="1900" b="0" kern="1200" dirty="0" smtClean="0">
                <a:solidFill>
                  <a:srgbClr val="FFFFFF"/>
                </a:solidFill>
                <a:latin typeface="+mn-lt"/>
                <a:ea typeface="+mn-ea"/>
                <a:cs typeface="+mn-cs"/>
              </a:defRPr>
            </a:lvl4pPr>
            <a:lvl5pPr marL="1218808" indent="-304703" algn="l" defTabSz="1218808" rtl="0" eaLnBrk="1" latinLnBrk="0" hangingPunct="1">
              <a:lnSpc>
                <a:spcPct val="95000"/>
              </a:lnSpc>
              <a:spcBef>
                <a:spcPts val="0"/>
              </a:spcBef>
              <a:spcAft>
                <a:spcPts val="0"/>
              </a:spcAft>
              <a:buFont typeface="Lucida Grande"/>
              <a:buChar char="-"/>
              <a:defRPr lang="en-US" sz="1900" b="0" kern="1200" dirty="0">
                <a:solidFill>
                  <a:srgbClr val="FFFFFF"/>
                </a:solidFill>
                <a:latin typeface="+mn-lt"/>
                <a:ea typeface="+mn-ea"/>
                <a:cs typeface="+mn-cs"/>
              </a:defRPr>
            </a:lvl5pPr>
            <a:lvl6pPr marL="3351719" indent="-304703" algn="l" defTabSz="1218808"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123" indent="-304703" algn="l" defTabSz="1218808"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0527" indent="-304703" algn="l" defTabSz="1218808"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79929" indent="-304703" algn="l" defTabSz="1218808"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5835" lvl="1" defTabSz="671851">
              <a:lnSpc>
                <a:spcPct val="90000"/>
              </a:lnSpc>
              <a:spcBef>
                <a:spcPct val="20000"/>
              </a:spcBef>
              <a:spcAft>
                <a:spcPts val="441"/>
              </a:spcAft>
              <a:buClr>
                <a:srgbClr val="00BCF2"/>
              </a:buClr>
              <a:buSzPct val="100000"/>
              <a:tabLst>
                <a:tab pos="463085" algn="l"/>
              </a:tabLst>
            </a:pPr>
            <a:r>
              <a:rPr lang="zh-TW" altLang="en-US" sz="2400" dirty="0">
                <a:solidFill>
                  <a:srgbClr val="505050"/>
                </a:solidFill>
                <a:latin typeface="Segoe UI Light"/>
                <a:ea typeface="ＭＳ Ｐゴシック" charset="0"/>
                <a:cs typeface="Segoe UI Light"/>
              </a:rPr>
              <a:t>企業版可透過具更多優勢權益的軟體保證方案取得</a:t>
            </a:r>
            <a:endParaRPr sz="2400" dirty="0">
              <a:solidFill>
                <a:srgbClr val="505050"/>
              </a:solidFill>
              <a:latin typeface="Segoe UI Light"/>
              <a:ea typeface="ＭＳ Ｐゴシック" charset="0"/>
              <a:cs typeface="Segoe UI Light"/>
            </a:endParaRPr>
          </a:p>
          <a:p>
            <a:pPr marL="5835" lvl="1" defTabSz="671851">
              <a:lnSpc>
                <a:spcPct val="90000"/>
              </a:lnSpc>
              <a:spcBef>
                <a:spcPct val="20000"/>
              </a:spcBef>
              <a:spcAft>
                <a:spcPts val="441"/>
              </a:spcAft>
              <a:buClr>
                <a:srgbClr val="00BCF2"/>
              </a:buClr>
              <a:buSzPct val="100000"/>
              <a:tabLst>
                <a:tab pos="463085" algn="l"/>
              </a:tabLst>
            </a:pPr>
            <a:r>
              <a:rPr lang="zh-TW" altLang="en-US" sz="2400" dirty="0">
                <a:solidFill>
                  <a:srgbClr val="505050"/>
                </a:solidFill>
                <a:latin typeface="Segoe UI Light"/>
                <a:ea typeface="ＭＳ Ｐゴシック" charset="0"/>
                <a:cs typeface="Segoe UI Light"/>
              </a:rPr>
              <a:t>獨立升級授權可透過 </a:t>
            </a:r>
            <a:r>
              <a:rPr altLang="zh-TW" sz="2400" dirty="0">
                <a:solidFill>
                  <a:srgbClr val="505050"/>
                </a:solidFill>
                <a:latin typeface="Segoe UI Light"/>
                <a:ea typeface="ＭＳ Ｐゴシック" charset="0"/>
                <a:cs typeface="Segoe UI Light"/>
              </a:rPr>
              <a:t>Open </a:t>
            </a:r>
            <a:r>
              <a:rPr lang="zh-TW" altLang="en-US" sz="2400" dirty="0">
                <a:solidFill>
                  <a:srgbClr val="505050"/>
                </a:solidFill>
                <a:latin typeface="Segoe UI Light"/>
                <a:ea typeface="ＭＳ Ｐゴシック" charset="0"/>
                <a:cs typeface="Segoe UI Light"/>
              </a:rPr>
              <a:t>授權和</a:t>
            </a:r>
            <a:r>
              <a:rPr sz="2400" dirty="0">
                <a:solidFill>
                  <a:srgbClr val="505050"/>
                </a:solidFill>
                <a:latin typeface="Segoe UI Light"/>
                <a:ea typeface="ＭＳ Ｐゴシック" charset="0"/>
                <a:cs typeface="Segoe UI Light"/>
              </a:rPr>
              <a:t>MPSA </a:t>
            </a:r>
            <a:r>
              <a:rPr lang="zh-TW" altLang="en-US" sz="2400" dirty="0">
                <a:solidFill>
                  <a:srgbClr val="505050"/>
                </a:solidFill>
                <a:latin typeface="Segoe UI Light"/>
                <a:ea typeface="ＭＳ Ｐゴシック" charset="0"/>
                <a:cs typeface="Segoe UI Light"/>
              </a:rPr>
              <a:t>方案取得</a:t>
            </a:r>
            <a:r>
              <a:rPr sz="2400" dirty="0">
                <a:solidFill>
                  <a:srgbClr val="505050"/>
                </a:solidFill>
                <a:latin typeface="Segoe UI Light"/>
                <a:ea typeface="ＭＳ Ｐゴシック" charset="0"/>
                <a:cs typeface="Segoe UI Light"/>
              </a:rPr>
              <a:t> (</a:t>
            </a:r>
            <a:r>
              <a:rPr lang="zh-TW" altLang="en-US" sz="2400" dirty="0">
                <a:solidFill>
                  <a:srgbClr val="505050"/>
                </a:solidFill>
                <a:latin typeface="Segoe UI Light"/>
                <a:ea typeface="ＭＳ Ｐゴシック" charset="0"/>
                <a:cs typeface="Segoe UI Light"/>
              </a:rPr>
              <a:t>僅</a:t>
            </a:r>
            <a:r>
              <a:rPr sz="2400" dirty="0">
                <a:solidFill>
                  <a:srgbClr val="505050"/>
                </a:solidFill>
                <a:latin typeface="Segoe UI Light"/>
                <a:ea typeface="ＭＳ Ｐゴシック" charset="0"/>
                <a:cs typeface="Segoe UI Light"/>
              </a:rPr>
              <a:t>LTSB)</a:t>
            </a:r>
          </a:p>
          <a:p>
            <a:pPr marL="5835" lvl="1" defTabSz="671851">
              <a:lnSpc>
                <a:spcPct val="90000"/>
              </a:lnSpc>
              <a:spcBef>
                <a:spcPct val="20000"/>
              </a:spcBef>
              <a:spcAft>
                <a:spcPts val="441"/>
              </a:spcAft>
              <a:buClr>
                <a:srgbClr val="00BCF2"/>
              </a:buClr>
              <a:buSzPct val="100000"/>
              <a:tabLst>
                <a:tab pos="463085" algn="l"/>
              </a:tabLst>
            </a:pPr>
            <a:r>
              <a:rPr lang="zh-TW" altLang="en-US" sz="2400" dirty="0">
                <a:solidFill>
                  <a:srgbClr val="505050"/>
                </a:solidFill>
                <a:latin typeface="Segoe UI Light"/>
                <a:ea typeface="ＭＳ Ｐゴシック" charset="0"/>
                <a:cs typeface="Segoe UI Light"/>
              </a:rPr>
              <a:t>裝置需含基本合格作業系統授權</a:t>
            </a:r>
            <a:endParaRPr sz="2400" dirty="0">
              <a:solidFill>
                <a:srgbClr val="505050"/>
              </a:solidFill>
              <a:latin typeface="Segoe UI Light"/>
              <a:ea typeface="ＭＳ Ｐゴシック" charset="0"/>
              <a:cs typeface="Segoe UI Light"/>
            </a:endParaRPr>
          </a:p>
          <a:p>
            <a:pPr marL="5835" lvl="1" defTabSz="671851">
              <a:lnSpc>
                <a:spcPct val="90000"/>
              </a:lnSpc>
              <a:spcBef>
                <a:spcPct val="20000"/>
              </a:spcBef>
              <a:spcAft>
                <a:spcPts val="441"/>
              </a:spcAft>
              <a:buClr>
                <a:srgbClr val="00BCF2"/>
              </a:buClr>
              <a:buSzPct val="100000"/>
              <a:tabLst>
                <a:tab pos="463085" algn="l"/>
              </a:tabLst>
            </a:pPr>
            <a:r>
              <a:rPr lang="zh-TW" altLang="en-US" sz="2400" dirty="0">
                <a:solidFill>
                  <a:srgbClr val="505050"/>
                </a:solidFill>
                <a:latin typeface="Segoe UI Light"/>
                <a:ea typeface="ＭＳ Ｐゴシック" charset="0"/>
                <a:cs typeface="Segoe UI Light"/>
              </a:rPr>
              <a:t>企業版提供之 </a:t>
            </a:r>
            <a:r>
              <a:rPr sz="2400" dirty="0">
                <a:solidFill>
                  <a:srgbClr val="505050"/>
                </a:solidFill>
                <a:latin typeface="Segoe UI Light"/>
                <a:ea typeface="ＭＳ Ｐゴシック" charset="0"/>
                <a:cs typeface="Segoe UI Light"/>
              </a:rPr>
              <a:t>Current Branch, Current Branch for Business </a:t>
            </a:r>
            <a:r>
              <a:rPr lang="zh-TW" altLang="en-US" sz="2400" dirty="0">
                <a:solidFill>
                  <a:srgbClr val="505050"/>
                </a:solidFill>
                <a:latin typeface="Segoe UI Light"/>
                <a:ea typeface="ＭＳ Ｐゴシック" charset="0"/>
                <a:cs typeface="Segoe UI Light"/>
              </a:rPr>
              <a:t>是專屬擁有 </a:t>
            </a:r>
            <a:r>
              <a:rPr altLang="zh-TW" sz="2400" dirty="0">
                <a:solidFill>
                  <a:srgbClr val="505050"/>
                </a:solidFill>
                <a:latin typeface="Segoe UI Light"/>
                <a:ea typeface="ＭＳ Ｐゴシック" charset="0"/>
                <a:cs typeface="Segoe UI Light"/>
              </a:rPr>
              <a:t>SA </a:t>
            </a:r>
            <a:r>
              <a:rPr lang="zh-TW" altLang="en-US" sz="2400" dirty="0">
                <a:solidFill>
                  <a:srgbClr val="505050"/>
                </a:solidFill>
                <a:latin typeface="Segoe UI Light"/>
                <a:ea typeface="ＭＳ Ｐゴシック" charset="0"/>
                <a:cs typeface="Segoe UI Light"/>
              </a:rPr>
              <a:t>方案客戶的選項</a:t>
            </a:r>
            <a:endParaRPr sz="2400" dirty="0">
              <a:solidFill>
                <a:srgbClr val="505050"/>
              </a:solidFill>
              <a:latin typeface="Segoe UI Light"/>
              <a:ea typeface="ＭＳ Ｐゴシック" charset="0"/>
              <a:cs typeface="Segoe UI Light"/>
            </a:endParaRPr>
          </a:p>
        </p:txBody>
      </p:sp>
      <p:sp>
        <p:nvSpPr>
          <p:cNvPr id="9" name="Rectangle 8"/>
          <p:cNvSpPr/>
          <p:nvPr/>
        </p:nvSpPr>
        <p:spPr>
          <a:xfrm>
            <a:off x="0" y="857980"/>
            <a:ext cx="3898895" cy="16887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9"/>
            <a:endParaRPr lang="en-US" sz="1471" dirty="0">
              <a:solidFill>
                <a:srgbClr val="FFFFFF"/>
              </a:solidFill>
            </a:endParaRPr>
          </a:p>
        </p:txBody>
      </p:sp>
      <p:sp>
        <p:nvSpPr>
          <p:cNvPr id="6" name="Text Placeholder 5"/>
          <p:cNvSpPr>
            <a:spLocks noGrp="1"/>
          </p:cNvSpPr>
          <p:nvPr>
            <p:ph type="body" sz="quarter" idx="15"/>
          </p:nvPr>
        </p:nvSpPr>
        <p:spPr>
          <a:xfrm>
            <a:off x="134049" y="1036640"/>
            <a:ext cx="3630796" cy="1655102"/>
          </a:xfrm>
        </p:spPr>
        <p:txBody>
          <a:bodyPr/>
          <a:lstStyle/>
          <a:p>
            <a:pPr>
              <a:lnSpc>
                <a:spcPct val="90000"/>
              </a:lnSpc>
            </a:pPr>
            <a:r>
              <a:rPr lang="zh-TW" altLang="en-US" dirty="0">
                <a:solidFill>
                  <a:schemeClr val="bg1"/>
                </a:solidFill>
              </a:rPr>
              <a:t>大量授權方案 </a:t>
            </a:r>
            <a:r>
              <a:rPr lang="en-US" altLang="zh-TW" dirty="0" smtClean="0">
                <a:solidFill>
                  <a:schemeClr val="bg1"/>
                </a:solidFill>
              </a:rPr>
              <a:t>–</a:t>
            </a:r>
            <a:r>
              <a:rPr lang="zh-TW" altLang="en-US" dirty="0" smtClean="0">
                <a:solidFill>
                  <a:schemeClr val="bg1"/>
                </a:solidFill>
              </a:rPr>
              <a:t> </a:t>
            </a:r>
            <a:r>
              <a:rPr lang="en-US" dirty="0" smtClean="0">
                <a:solidFill>
                  <a:schemeClr val="bg1"/>
                </a:solidFill>
              </a:rPr>
              <a:t>Windows </a:t>
            </a:r>
            <a:r>
              <a:rPr lang="zh-TW" altLang="en-US" dirty="0" smtClean="0">
                <a:solidFill>
                  <a:schemeClr val="bg1"/>
                </a:solidFill>
              </a:rPr>
              <a:t>企業版</a:t>
            </a:r>
            <a:endParaRPr lang="en-US" dirty="0">
              <a:solidFill>
                <a:schemeClr val="bg1"/>
              </a:solidFill>
            </a:endParaRPr>
          </a:p>
        </p:txBody>
      </p:sp>
      <p:pic>
        <p:nvPicPr>
          <p:cNvPr id="16" name="Picture 15"/>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48" y="2546729"/>
            <a:ext cx="3898896" cy="3428514"/>
          </a:xfrm>
          <a:prstGeom prst="rect">
            <a:avLst/>
          </a:prstGeom>
          <a:noFill/>
          <a:ln>
            <a:noFill/>
          </a:ln>
        </p:spPr>
      </p:pic>
    </p:spTree>
    <p:extLst>
      <p:ext uri="{BB962C8B-B14F-4D97-AF65-F5344CB8AC3E}">
        <p14:creationId xmlns:p14="http://schemas.microsoft.com/office/powerpoint/2010/main" val="3992743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bwMode="auto">
          <a:xfrm>
            <a:off x="4089742" y="3490916"/>
            <a:ext cx="1849433" cy="30861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34290" bIns="68580" numCol="1" spcCol="0" rtlCol="0" fromWordArt="0" anchor="b" anchorCtr="0" forceAA="0" compatLnSpc="1">
            <a:prstTxWarp prst="textNoShape">
              <a:avLst/>
            </a:prstTxWarp>
            <a:noAutofit/>
          </a:bodyPr>
          <a:lstStyle/>
          <a:p>
            <a:pPr algn="ctr" defTabSz="685574" fontAlgn="base">
              <a:spcBef>
                <a:spcPct val="0"/>
              </a:spcBef>
              <a:spcAft>
                <a:spcPct val="0"/>
              </a:spcAft>
            </a:pPr>
            <a:endParaRPr lang="en-GB" spc="-38" dirty="0">
              <a:solidFill>
                <a:srgbClr val="000000"/>
              </a:solidFill>
              <a:ea typeface="Segoe UI" pitchFamily="34" charset="0"/>
              <a:cs typeface="Segoe UI" pitchFamily="34" charset="0"/>
            </a:endParaRPr>
          </a:p>
        </p:txBody>
      </p:sp>
      <p:sp>
        <p:nvSpPr>
          <p:cNvPr id="38" name="Rectangle 37"/>
          <p:cNvSpPr/>
          <p:nvPr/>
        </p:nvSpPr>
        <p:spPr bwMode="auto">
          <a:xfrm>
            <a:off x="4089742" y="3031941"/>
            <a:ext cx="1849433" cy="30861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34290" bIns="68580" numCol="1" spcCol="0" rtlCol="0" fromWordArt="0" anchor="b" anchorCtr="0" forceAA="0" compatLnSpc="1">
            <a:prstTxWarp prst="textNoShape">
              <a:avLst/>
            </a:prstTxWarp>
            <a:noAutofit/>
          </a:bodyPr>
          <a:lstStyle/>
          <a:p>
            <a:pPr algn="ctr" defTabSz="685574" fontAlgn="base">
              <a:spcBef>
                <a:spcPct val="0"/>
              </a:spcBef>
              <a:spcAft>
                <a:spcPct val="0"/>
              </a:spcAft>
            </a:pPr>
            <a:endParaRPr lang="en-GB" spc="-38" dirty="0">
              <a:solidFill>
                <a:srgbClr val="000000"/>
              </a:solidFill>
              <a:ea typeface="Segoe UI" pitchFamily="34" charset="0"/>
              <a:cs typeface="Segoe UI" pitchFamily="34" charset="0"/>
            </a:endParaRPr>
          </a:p>
        </p:txBody>
      </p:sp>
      <p:sp>
        <p:nvSpPr>
          <p:cNvPr id="33" name="Rectangle 32"/>
          <p:cNvSpPr/>
          <p:nvPr/>
        </p:nvSpPr>
        <p:spPr bwMode="auto">
          <a:xfrm>
            <a:off x="4106224" y="2599742"/>
            <a:ext cx="1849433" cy="30861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34290" bIns="68580" numCol="1" spcCol="0" rtlCol="0" fromWordArt="0" anchor="b" anchorCtr="0" forceAA="0" compatLnSpc="1">
            <a:prstTxWarp prst="textNoShape">
              <a:avLst/>
            </a:prstTxWarp>
            <a:noAutofit/>
          </a:bodyPr>
          <a:lstStyle/>
          <a:p>
            <a:pPr algn="ctr" defTabSz="685574" fontAlgn="base">
              <a:spcBef>
                <a:spcPct val="0"/>
              </a:spcBef>
              <a:spcAft>
                <a:spcPct val="0"/>
              </a:spcAft>
            </a:pPr>
            <a:endParaRPr lang="en-GB" spc="-38" dirty="0">
              <a:solidFill>
                <a:srgbClr val="000000"/>
              </a:solidFill>
              <a:ea typeface="Segoe UI" pitchFamily="34" charset="0"/>
              <a:cs typeface="Segoe UI" pitchFamily="34" charset="0"/>
            </a:endParaRPr>
          </a:p>
        </p:txBody>
      </p:sp>
      <p:sp>
        <p:nvSpPr>
          <p:cNvPr id="14" name="Content Placeholder 2"/>
          <p:cNvSpPr txBox="1">
            <a:spLocks/>
          </p:cNvSpPr>
          <p:nvPr/>
        </p:nvSpPr>
        <p:spPr>
          <a:xfrm>
            <a:off x="5589086" y="4719142"/>
            <a:ext cx="1714939" cy="1563646"/>
          </a:xfrm>
          <a:prstGeom prst="rect">
            <a:avLst/>
          </a:prstGeom>
        </p:spPr>
        <p:style>
          <a:lnRef idx="0">
            <a:schemeClr val="accent5"/>
          </a:lnRef>
          <a:fillRef idx="3">
            <a:schemeClr val="accent5"/>
          </a:fillRef>
          <a:effectRef idx="3">
            <a:schemeClr val="accent5"/>
          </a:effectRef>
          <a:fontRef idx="minor">
            <a:schemeClr val="lt1"/>
          </a:fontRef>
        </p:style>
        <p:txBody>
          <a:bodyPr/>
          <a:lstStyle>
            <a:lvl1pPr marL="0" indent="0" algn="l" defTabSz="1218808" rtl="0" eaLnBrk="1" fontAlgn="base" latinLnBrk="0" hangingPunct="1">
              <a:lnSpc>
                <a:spcPct val="95000"/>
              </a:lnSpc>
              <a:spcBef>
                <a:spcPts val="0"/>
              </a:spcBef>
              <a:spcAft>
                <a:spcPts val="0"/>
              </a:spcAft>
              <a:buClr>
                <a:schemeClr val="accent1"/>
              </a:buClr>
              <a:buSzPct val="110000"/>
              <a:buFont typeface="Avenir LT Pro 45 Book" charset="0"/>
              <a:buNone/>
              <a:defRPr lang="en-US" sz="3200" b="0" kern="1200" cap="none" baseline="0" dirty="0" smtClean="0">
                <a:solidFill>
                  <a:srgbClr val="FFFFFF"/>
                </a:solidFill>
                <a:latin typeface="Segoe UI Light"/>
                <a:ea typeface="ＭＳ Ｐゴシック" charset="0"/>
                <a:cs typeface="Segoe UI Light"/>
              </a:defRPr>
            </a:lvl1pPr>
            <a:lvl2pPr marL="0" indent="0" algn="l" defTabSz="1218808" rtl="0" eaLnBrk="1" latinLnBrk="0" hangingPunct="1">
              <a:lnSpc>
                <a:spcPct val="95000"/>
              </a:lnSpc>
              <a:spcBef>
                <a:spcPts val="0"/>
              </a:spcBef>
              <a:spcAft>
                <a:spcPts val="0"/>
              </a:spcAft>
              <a:buClrTx/>
              <a:buFont typeface="Arial" pitchFamily="34" charset="0"/>
              <a:buNone/>
              <a:defRPr lang="en-US" sz="1900" b="0" kern="1200" dirty="0" smtClean="0">
                <a:solidFill>
                  <a:srgbClr val="FFFFFF"/>
                </a:solidFill>
                <a:latin typeface="+mn-lt"/>
                <a:ea typeface="+mn-ea"/>
                <a:cs typeface="+mn-cs"/>
              </a:defRPr>
            </a:lvl2pPr>
            <a:lvl3pPr marL="609404" indent="-304703" algn="l" defTabSz="1218808" rtl="0" eaLnBrk="1" latinLnBrk="0" hangingPunct="1">
              <a:lnSpc>
                <a:spcPct val="95000"/>
              </a:lnSpc>
              <a:spcBef>
                <a:spcPts val="0"/>
              </a:spcBef>
              <a:spcAft>
                <a:spcPts val="0"/>
              </a:spcAft>
              <a:buFont typeface="Lucida Grande"/>
              <a:buChar char="-"/>
              <a:defRPr lang="en-US" sz="1900" b="0" kern="1200" dirty="0" smtClean="0">
                <a:solidFill>
                  <a:srgbClr val="FFFFFF"/>
                </a:solidFill>
                <a:latin typeface="+mn-lt"/>
                <a:ea typeface="+mn-ea"/>
                <a:cs typeface="+mn-cs"/>
              </a:defRPr>
            </a:lvl3pPr>
            <a:lvl4pPr marL="835815" indent="-226411" algn="l" defTabSz="1218808" rtl="0" eaLnBrk="1" latinLnBrk="0" hangingPunct="1">
              <a:lnSpc>
                <a:spcPct val="95000"/>
              </a:lnSpc>
              <a:spcBef>
                <a:spcPts val="0"/>
              </a:spcBef>
              <a:spcAft>
                <a:spcPts val="0"/>
              </a:spcAft>
              <a:buFont typeface="Arial" pitchFamily="34" charset="0"/>
              <a:buChar char="•"/>
              <a:defRPr lang="en-US" sz="1900" b="0" kern="1200" dirty="0" smtClean="0">
                <a:solidFill>
                  <a:srgbClr val="FFFFFF"/>
                </a:solidFill>
                <a:latin typeface="+mn-lt"/>
                <a:ea typeface="+mn-ea"/>
                <a:cs typeface="+mn-cs"/>
              </a:defRPr>
            </a:lvl4pPr>
            <a:lvl5pPr marL="1218808" indent="-304703" algn="l" defTabSz="1218808" rtl="0" eaLnBrk="1" latinLnBrk="0" hangingPunct="1">
              <a:lnSpc>
                <a:spcPct val="95000"/>
              </a:lnSpc>
              <a:spcBef>
                <a:spcPts val="0"/>
              </a:spcBef>
              <a:spcAft>
                <a:spcPts val="0"/>
              </a:spcAft>
              <a:buFont typeface="Lucida Grande"/>
              <a:buChar char="-"/>
              <a:defRPr lang="en-US" sz="1900" b="0" kern="1200" dirty="0">
                <a:solidFill>
                  <a:srgbClr val="FFFFFF"/>
                </a:solidFill>
                <a:latin typeface="+mn-lt"/>
                <a:ea typeface="+mn-ea"/>
                <a:cs typeface="+mn-cs"/>
              </a:defRPr>
            </a:lvl5pPr>
            <a:lvl6pPr marL="3351719" indent="-304703" algn="l" defTabSz="1218808"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123" indent="-304703" algn="l" defTabSz="1218808"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0527" indent="-304703" algn="l" defTabSz="1218808"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79929" indent="-304703" algn="l" defTabSz="1218808"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spcAft>
                <a:spcPts val="1324"/>
              </a:spcAft>
              <a:buClr>
                <a:srgbClr val="00BCF2"/>
              </a:buClr>
            </a:pPr>
            <a:r>
              <a:rPr lang="zh-TW" altLang="en-US" sz="2059" dirty="0">
                <a:solidFill>
                  <a:srgbClr val="00BCF2"/>
                </a:solidFill>
                <a:latin typeface="微軟正黑體" panose="020B0604030504040204" pitchFamily="34" charset="-120"/>
                <a:ea typeface="微軟正黑體" panose="020B0604030504040204" pitchFamily="34" charset="-120"/>
              </a:rPr>
              <a:t>均擁有</a:t>
            </a:r>
            <a:r>
              <a:rPr sz="2059" dirty="0">
                <a:solidFill>
                  <a:srgbClr val="00BCF2"/>
                </a:solidFill>
                <a:latin typeface="微軟正黑體" panose="020B0604030504040204" pitchFamily="34" charset="-120"/>
                <a:ea typeface="微軟正黑體" panose="020B0604030504040204" pitchFamily="34" charset="-120"/>
              </a:rPr>
              <a:t>:</a:t>
            </a:r>
          </a:p>
          <a:p>
            <a:pPr>
              <a:spcAft>
                <a:spcPts val="1324"/>
              </a:spcAft>
              <a:buClr>
                <a:srgbClr val="00BCF2"/>
              </a:buClr>
            </a:pPr>
            <a:r>
              <a:rPr lang="zh-TW" altLang="en-US" sz="1500" dirty="0">
                <a:solidFill>
                  <a:srgbClr val="505050"/>
                </a:solidFill>
                <a:latin typeface="微軟正黑體" panose="020B0604030504040204" pitchFamily="34" charset="-120"/>
                <a:ea typeface="微軟正黑體" panose="020B0604030504040204" pitchFamily="34" charset="-120"/>
              </a:rPr>
              <a:t>可存取企業版</a:t>
            </a:r>
            <a:endParaRPr sz="1500" dirty="0">
              <a:solidFill>
                <a:srgbClr val="505050"/>
              </a:solidFill>
              <a:latin typeface="微軟正黑體" panose="020B0604030504040204" pitchFamily="34" charset="-120"/>
              <a:ea typeface="微軟正黑體" panose="020B0604030504040204" pitchFamily="34" charset="-120"/>
            </a:endParaRPr>
          </a:p>
          <a:p>
            <a:pPr>
              <a:spcAft>
                <a:spcPts val="1324"/>
              </a:spcAft>
              <a:buClr>
                <a:srgbClr val="00BCF2"/>
              </a:buClr>
            </a:pPr>
            <a:r>
              <a:rPr lang="zh-TW" altLang="en-US" sz="1500" dirty="0">
                <a:solidFill>
                  <a:srgbClr val="505050"/>
                </a:solidFill>
                <a:latin typeface="微軟正黑體" panose="020B0604030504040204" pitchFamily="34" charset="-120"/>
                <a:ea typeface="微軟正黑體" panose="020B0604030504040204" pitchFamily="34" charset="-120"/>
              </a:rPr>
              <a:t>彈性使用權</a:t>
            </a:r>
            <a:endParaRPr sz="1500" dirty="0">
              <a:solidFill>
                <a:srgbClr val="505050"/>
              </a:solidFill>
              <a:latin typeface="微軟正黑體" panose="020B0604030504040204" pitchFamily="34" charset="-120"/>
              <a:ea typeface="微軟正黑體" panose="020B0604030504040204" pitchFamily="34" charset="-120"/>
            </a:endParaRPr>
          </a:p>
          <a:p>
            <a:pPr>
              <a:spcAft>
                <a:spcPts val="1324"/>
              </a:spcAft>
              <a:buClr>
                <a:srgbClr val="00BCF2"/>
              </a:buClr>
            </a:pPr>
            <a:r>
              <a:rPr sz="1500" dirty="0">
                <a:solidFill>
                  <a:srgbClr val="505050"/>
                </a:solidFill>
                <a:latin typeface="微軟正黑體" panose="020B0604030504040204" pitchFamily="34" charset="-120"/>
                <a:ea typeface="微軟正黑體" panose="020B0604030504040204" pitchFamily="34" charset="-120"/>
              </a:rPr>
              <a:t>SA </a:t>
            </a:r>
            <a:r>
              <a:rPr lang="zh-TW" altLang="en-US" sz="1500" dirty="0">
                <a:solidFill>
                  <a:srgbClr val="505050"/>
                </a:solidFill>
                <a:latin typeface="微軟正黑體" panose="020B0604030504040204" pitchFamily="34" charset="-120"/>
                <a:ea typeface="微軟正黑體" panose="020B0604030504040204" pitchFamily="34" charset="-120"/>
              </a:rPr>
              <a:t>權益</a:t>
            </a:r>
            <a:endParaRPr sz="1500" dirty="0">
              <a:solidFill>
                <a:srgbClr val="505050"/>
              </a:solidFill>
              <a:latin typeface="微軟正黑體" panose="020B0604030504040204" pitchFamily="34" charset="-120"/>
              <a:ea typeface="微軟正黑體" panose="020B0604030504040204" pitchFamily="34" charset="-120"/>
            </a:endParaRPr>
          </a:p>
        </p:txBody>
      </p:sp>
      <p:sp>
        <p:nvSpPr>
          <p:cNvPr id="9" name="Rectangle 8"/>
          <p:cNvSpPr/>
          <p:nvPr/>
        </p:nvSpPr>
        <p:spPr>
          <a:xfrm>
            <a:off x="1" y="857616"/>
            <a:ext cx="3899448" cy="14791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471" dirty="0">
              <a:solidFill>
                <a:srgbClr val="FFFFFF"/>
              </a:solidFill>
            </a:endParaRPr>
          </a:p>
        </p:txBody>
      </p:sp>
      <p:sp>
        <p:nvSpPr>
          <p:cNvPr id="6" name="Text Placeholder 5"/>
          <p:cNvSpPr>
            <a:spLocks noGrp="1"/>
          </p:cNvSpPr>
          <p:nvPr>
            <p:ph type="body" sz="quarter" idx="15"/>
          </p:nvPr>
        </p:nvSpPr>
        <p:spPr>
          <a:xfrm>
            <a:off x="-34505" y="1006905"/>
            <a:ext cx="3899448" cy="1120468"/>
          </a:xfrm>
        </p:spPr>
        <p:txBody>
          <a:bodyPr/>
          <a:lstStyle/>
          <a:p>
            <a:pPr algn="ctr">
              <a:lnSpc>
                <a:spcPct val="90000"/>
              </a:lnSpc>
            </a:pPr>
            <a:r>
              <a:rPr lang="en-US" altLang="zh-TW" b="1" dirty="0" smtClean="0">
                <a:solidFill>
                  <a:schemeClr val="bg1"/>
                </a:solidFill>
                <a:latin typeface="微軟正黑體" panose="020B0604030504040204" pitchFamily="34" charset="-120"/>
                <a:ea typeface="微軟正黑體" panose="020B0604030504040204" pitchFamily="34" charset="-120"/>
              </a:rPr>
              <a:t>Windows</a:t>
            </a:r>
          </a:p>
          <a:p>
            <a:pPr algn="ctr">
              <a:lnSpc>
                <a:spcPct val="90000"/>
              </a:lnSpc>
            </a:pPr>
            <a:r>
              <a:rPr lang="zh-TW" altLang="en-US" sz="3200" b="1" dirty="0" smtClean="0">
                <a:solidFill>
                  <a:schemeClr val="bg1"/>
                </a:solidFill>
                <a:latin typeface="微軟正黑體" panose="020B0604030504040204" pitchFamily="34" charset="-120"/>
                <a:ea typeface="微軟正黑體" panose="020B0604030504040204" pitchFamily="34" charset="-120"/>
              </a:rPr>
              <a:t>主要裝置授權模式</a:t>
            </a:r>
            <a:endParaRPr lang="en-US" sz="3200" b="1" dirty="0">
              <a:solidFill>
                <a:schemeClr val="bg1"/>
              </a:solidFill>
              <a:latin typeface="微軟正黑體" panose="020B0604030504040204" pitchFamily="34" charset="-120"/>
              <a:ea typeface="微軟正黑體" panose="020B0604030504040204" pitchFamily="34" charset="-120"/>
            </a:endParaRPr>
          </a:p>
        </p:txBody>
      </p:sp>
      <p:sp>
        <p:nvSpPr>
          <p:cNvPr id="10" name="Rectangle 9"/>
          <p:cNvSpPr/>
          <p:nvPr/>
        </p:nvSpPr>
        <p:spPr bwMode="auto">
          <a:xfrm>
            <a:off x="6126096" y="1949074"/>
            <a:ext cx="1371600" cy="508044"/>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34290" bIns="68580" numCol="1" spcCol="0" rtlCol="0" fromWordArt="0" anchor="ctr" anchorCtr="0" forceAA="0" compatLnSpc="1">
            <a:prstTxWarp prst="textNoShape">
              <a:avLst/>
            </a:prstTxWarp>
            <a:noAutofit/>
          </a:bodyPr>
          <a:lstStyle/>
          <a:p>
            <a:pPr algn="ctr" defTabSz="685574" fontAlgn="base">
              <a:spcBef>
                <a:spcPct val="0"/>
              </a:spcBef>
              <a:spcAft>
                <a:spcPct val="0"/>
              </a:spcAft>
            </a:pPr>
            <a:r>
              <a:rPr lang="en-GB" sz="2000" dirty="0">
                <a:solidFill>
                  <a:srgbClr val="FFFFFF"/>
                </a:solidFill>
                <a:latin typeface="Segoe UI Light" panose="020B0502040204020203" pitchFamily="34" charset="0"/>
                <a:cs typeface="Segoe UI Light" panose="020B0502040204020203" pitchFamily="34" charset="0"/>
              </a:rPr>
              <a:t>PC</a:t>
            </a:r>
          </a:p>
        </p:txBody>
      </p:sp>
      <p:sp>
        <p:nvSpPr>
          <p:cNvPr id="11" name="Rectangle 10"/>
          <p:cNvSpPr/>
          <p:nvPr/>
        </p:nvSpPr>
        <p:spPr bwMode="auto">
          <a:xfrm>
            <a:off x="6127301" y="2515774"/>
            <a:ext cx="1371600" cy="132065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34290" bIns="68580" numCol="1" spcCol="0" rtlCol="0" fromWordArt="0" anchor="t" anchorCtr="0" forceAA="0" compatLnSpc="1">
            <a:prstTxWarp prst="textNoShape">
              <a:avLst/>
            </a:prstTxWarp>
            <a:noAutofit/>
          </a:bodyPr>
          <a:lstStyle/>
          <a:p>
            <a:pPr marL="198835" indent="-198835" defTabSz="685574" fontAlgn="base">
              <a:spcBef>
                <a:spcPct val="0"/>
              </a:spcBef>
              <a:spcAft>
                <a:spcPct val="0"/>
              </a:spcAft>
              <a:buFont typeface="Arial" pitchFamily="34" charset="0"/>
              <a:buChar char="•"/>
            </a:pPr>
            <a:endParaRPr lang="en-US" sz="1200" spc="-38" dirty="0">
              <a:solidFill>
                <a:srgbClr val="FFFFFF"/>
              </a:solidFill>
              <a:ea typeface="Segoe UI" pitchFamily="34" charset="0"/>
              <a:cs typeface="Segoe UI" pitchFamily="34" charset="0"/>
            </a:endParaRPr>
          </a:p>
        </p:txBody>
      </p:sp>
      <p:sp>
        <p:nvSpPr>
          <p:cNvPr id="12" name="Rectangle 11"/>
          <p:cNvSpPr/>
          <p:nvPr/>
        </p:nvSpPr>
        <p:spPr bwMode="auto">
          <a:xfrm>
            <a:off x="7696794" y="1949074"/>
            <a:ext cx="1371600" cy="508044"/>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34290" bIns="68580" numCol="1" spcCol="0" rtlCol="0" fromWordArt="0" anchor="ctr" anchorCtr="0" forceAA="0" compatLnSpc="1">
            <a:prstTxWarp prst="textNoShape">
              <a:avLst/>
            </a:prstTxWarp>
            <a:noAutofit/>
          </a:bodyPr>
          <a:lstStyle/>
          <a:p>
            <a:pPr marL="0" lvl="1" algn="ctr" defTabSz="685800"/>
            <a:r>
              <a:rPr lang="en-US" sz="2000" b="1" spc="-38" dirty="0">
                <a:gradFill>
                  <a:gsLst>
                    <a:gs pos="0">
                      <a:srgbClr val="FFFFFF"/>
                    </a:gs>
                    <a:gs pos="100000">
                      <a:srgbClr val="FFFFFF"/>
                    </a:gs>
                  </a:gsLst>
                  <a:lin ang="5400000" scaled="0"/>
                </a:gradFill>
                <a:latin typeface="Segoe UI Light" pitchFamily="34" charset="0"/>
                <a:ea typeface="Segoe UI" pitchFamily="34" charset="0"/>
                <a:cs typeface="Segoe UI Light" pitchFamily="34" charset="0"/>
              </a:rPr>
              <a:t>Thin Client</a:t>
            </a:r>
          </a:p>
        </p:txBody>
      </p:sp>
      <p:sp>
        <p:nvSpPr>
          <p:cNvPr id="13" name="Rectangle 12"/>
          <p:cNvSpPr/>
          <p:nvPr/>
        </p:nvSpPr>
        <p:spPr bwMode="auto">
          <a:xfrm>
            <a:off x="7696794" y="2500578"/>
            <a:ext cx="1371600" cy="1335847"/>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34290" bIns="68580" numCol="1" spcCol="0" rtlCol="0" fromWordArt="0" anchor="t" anchorCtr="0" forceAA="0" compatLnSpc="1">
            <a:prstTxWarp prst="textNoShape">
              <a:avLst/>
            </a:prstTxWarp>
            <a:noAutofit/>
          </a:bodyPr>
          <a:lstStyle/>
          <a:p>
            <a:pPr marL="198835" indent="-198835" defTabSz="685574" fontAlgn="base">
              <a:spcBef>
                <a:spcPct val="0"/>
              </a:spcBef>
              <a:spcAft>
                <a:spcPct val="0"/>
              </a:spcAft>
              <a:buFont typeface="Arial" pitchFamily="34" charset="0"/>
              <a:buChar char="•"/>
            </a:pPr>
            <a:endParaRPr lang="en-US" sz="1200" spc="-38" dirty="0">
              <a:solidFill>
                <a:srgbClr val="FFFFFF"/>
              </a:solidFill>
              <a:ea typeface="Segoe UI" pitchFamily="34" charset="0"/>
              <a:cs typeface="Segoe UI" pitchFamily="34" charset="0"/>
            </a:endParaRPr>
          </a:p>
        </p:txBody>
      </p:sp>
      <p:sp>
        <p:nvSpPr>
          <p:cNvPr id="30" name="Rectangle 29"/>
          <p:cNvSpPr/>
          <p:nvPr/>
        </p:nvSpPr>
        <p:spPr>
          <a:xfrm>
            <a:off x="6654459" y="2599524"/>
            <a:ext cx="377026" cy="323165"/>
          </a:xfrm>
          <a:prstGeom prst="rect">
            <a:avLst/>
          </a:prstGeom>
        </p:spPr>
        <p:txBody>
          <a:bodyPr wrap="none">
            <a:spAutoFit/>
          </a:bodyPr>
          <a:lstStyle/>
          <a:p>
            <a:pPr defTabSz="685800"/>
            <a:r>
              <a:rPr lang="zh-TW" altLang="en-US" sz="1500" dirty="0">
                <a:solidFill>
                  <a:srgbClr val="000000"/>
                </a:solidFill>
                <a:latin typeface="Segoe UI Light" panose="020B0502040204020203" pitchFamily="34" charset="0"/>
                <a:cs typeface="Segoe UI Light" panose="020B0502040204020203" pitchFamily="34" charset="0"/>
              </a:rPr>
              <a:t>是</a:t>
            </a:r>
            <a:endParaRPr lang="en-GB" sz="1500" dirty="0">
              <a:solidFill>
                <a:srgbClr val="000000"/>
              </a:solidFill>
              <a:latin typeface="Segoe UI Light" panose="020B0502040204020203" pitchFamily="34" charset="0"/>
              <a:cs typeface="Segoe UI Light" panose="020B0502040204020203" pitchFamily="34" charset="0"/>
            </a:endParaRPr>
          </a:p>
        </p:txBody>
      </p:sp>
      <p:sp>
        <p:nvSpPr>
          <p:cNvPr id="32" name="Rectangle 31"/>
          <p:cNvSpPr/>
          <p:nvPr/>
        </p:nvSpPr>
        <p:spPr>
          <a:xfrm>
            <a:off x="8143984" y="2610610"/>
            <a:ext cx="477221" cy="323165"/>
          </a:xfrm>
          <a:prstGeom prst="rect">
            <a:avLst/>
          </a:prstGeom>
        </p:spPr>
        <p:txBody>
          <a:bodyPr wrap="square">
            <a:spAutoFit/>
          </a:bodyPr>
          <a:lstStyle/>
          <a:p>
            <a:pPr defTabSz="685800"/>
            <a:r>
              <a:rPr lang="zh-TW" altLang="en-US" sz="1500" dirty="0">
                <a:solidFill>
                  <a:srgbClr val="000000"/>
                </a:solidFill>
                <a:latin typeface="Segoe UI Light" panose="020B0502040204020203" pitchFamily="34" charset="0"/>
                <a:cs typeface="Segoe UI Light" panose="020B0502040204020203" pitchFamily="34" charset="0"/>
              </a:rPr>
              <a:t>否</a:t>
            </a:r>
            <a:endParaRPr lang="en-GB" sz="1500" dirty="0">
              <a:solidFill>
                <a:srgbClr val="000000"/>
              </a:solidFill>
              <a:latin typeface="Segoe UI Light" panose="020B0502040204020203" pitchFamily="34" charset="0"/>
              <a:cs typeface="Segoe UI Light" panose="020B0502040204020203" pitchFamily="34" charset="0"/>
            </a:endParaRPr>
          </a:p>
        </p:txBody>
      </p:sp>
      <p:sp>
        <p:nvSpPr>
          <p:cNvPr id="31" name="Rectangle 30"/>
          <p:cNvSpPr/>
          <p:nvPr/>
        </p:nvSpPr>
        <p:spPr>
          <a:xfrm>
            <a:off x="4073216" y="2610610"/>
            <a:ext cx="1723549" cy="323165"/>
          </a:xfrm>
          <a:prstGeom prst="rect">
            <a:avLst/>
          </a:prstGeom>
        </p:spPr>
        <p:txBody>
          <a:bodyPr wrap="none">
            <a:spAutoFit/>
          </a:bodyPr>
          <a:lstStyle/>
          <a:p>
            <a:pPr defTabSz="685800"/>
            <a:r>
              <a:rPr lang="zh-TW" altLang="en-US" sz="1500" dirty="0">
                <a:solidFill>
                  <a:srgbClr val="000000"/>
                </a:solidFill>
                <a:latin typeface="Segoe UI Light" panose="020B0502040204020203" pitchFamily="34" charset="0"/>
                <a:cs typeface="Segoe UI Light" panose="020B0502040204020203" pitchFamily="34" charset="0"/>
              </a:rPr>
              <a:t>需含合格作業系統</a:t>
            </a:r>
            <a:endParaRPr lang="en-GB" sz="1500" dirty="0">
              <a:solidFill>
                <a:srgbClr val="000000"/>
              </a:solidFill>
              <a:latin typeface="Segoe UI Light" panose="020B0502040204020203" pitchFamily="34" charset="0"/>
              <a:cs typeface="Segoe UI Light" panose="020B0502040204020203" pitchFamily="34" charset="0"/>
            </a:endParaRPr>
          </a:p>
        </p:txBody>
      </p:sp>
      <p:sp>
        <p:nvSpPr>
          <p:cNvPr id="26" name="Rectangle 25"/>
          <p:cNvSpPr/>
          <p:nvPr/>
        </p:nvSpPr>
        <p:spPr>
          <a:xfrm>
            <a:off x="6654459" y="3029586"/>
            <a:ext cx="377026" cy="323165"/>
          </a:xfrm>
          <a:prstGeom prst="rect">
            <a:avLst/>
          </a:prstGeom>
        </p:spPr>
        <p:txBody>
          <a:bodyPr wrap="none">
            <a:spAutoFit/>
          </a:bodyPr>
          <a:lstStyle/>
          <a:p>
            <a:pPr defTabSz="685800"/>
            <a:r>
              <a:rPr lang="zh-TW" altLang="en-US" sz="1500" dirty="0">
                <a:solidFill>
                  <a:srgbClr val="000000"/>
                </a:solidFill>
                <a:latin typeface="Segoe UI Light" panose="020B0502040204020203" pitchFamily="34" charset="0"/>
                <a:cs typeface="Segoe UI Light" panose="020B0502040204020203" pitchFamily="34" charset="0"/>
              </a:rPr>
              <a:t>是</a:t>
            </a:r>
            <a:endParaRPr lang="en-GB" sz="1500" dirty="0">
              <a:solidFill>
                <a:srgbClr val="000000"/>
              </a:solidFill>
              <a:latin typeface="Segoe UI Light" panose="020B0502040204020203" pitchFamily="34" charset="0"/>
              <a:cs typeface="Segoe UI Light" panose="020B0502040204020203" pitchFamily="34" charset="0"/>
            </a:endParaRPr>
          </a:p>
        </p:txBody>
      </p:sp>
      <p:sp>
        <p:nvSpPr>
          <p:cNvPr id="27" name="Rectangle 26"/>
          <p:cNvSpPr/>
          <p:nvPr/>
        </p:nvSpPr>
        <p:spPr>
          <a:xfrm>
            <a:off x="4066151" y="3050393"/>
            <a:ext cx="1338828" cy="323165"/>
          </a:xfrm>
          <a:prstGeom prst="rect">
            <a:avLst/>
          </a:prstGeom>
        </p:spPr>
        <p:txBody>
          <a:bodyPr wrap="none">
            <a:spAutoFit/>
          </a:bodyPr>
          <a:lstStyle/>
          <a:p>
            <a:pPr defTabSz="685800"/>
            <a:r>
              <a:rPr lang="zh-TW" altLang="en-US" sz="1500" dirty="0">
                <a:solidFill>
                  <a:srgbClr val="000000"/>
                </a:solidFill>
                <a:latin typeface="Segoe UI Light" panose="020B0502040204020203" pitchFamily="34" charset="0"/>
                <a:cs typeface="Segoe UI Light" panose="020B0502040204020203" pitchFamily="34" charset="0"/>
              </a:rPr>
              <a:t>本機安裝權利</a:t>
            </a:r>
            <a:endParaRPr lang="en-GB" sz="1500" dirty="0">
              <a:solidFill>
                <a:srgbClr val="000000"/>
              </a:solidFill>
              <a:latin typeface="Segoe UI Light" panose="020B0502040204020203" pitchFamily="34" charset="0"/>
              <a:cs typeface="Segoe UI Light" panose="020B0502040204020203" pitchFamily="34" charset="0"/>
            </a:endParaRPr>
          </a:p>
        </p:txBody>
      </p:sp>
      <p:sp>
        <p:nvSpPr>
          <p:cNvPr id="28" name="Rectangle 27"/>
          <p:cNvSpPr/>
          <p:nvPr/>
        </p:nvSpPr>
        <p:spPr>
          <a:xfrm>
            <a:off x="8135329" y="3023971"/>
            <a:ext cx="494531" cy="323165"/>
          </a:xfrm>
          <a:prstGeom prst="rect">
            <a:avLst/>
          </a:prstGeom>
        </p:spPr>
        <p:txBody>
          <a:bodyPr wrap="square">
            <a:spAutoFit/>
          </a:bodyPr>
          <a:lstStyle/>
          <a:p>
            <a:pPr defTabSz="685800"/>
            <a:r>
              <a:rPr lang="zh-TW" altLang="en-US" sz="1500" dirty="0">
                <a:solidFill>
                  <a:srgbClr val="000000"/>
                </a:solidFill>
                <a:latin typeface="Segoe UI Light" panose="020B0502040204020203" pitchFamily="34" charset="0"/>
                <a:cs typeface="Segoe UI Light" panose="020B0502040204020203" pitchFamily="34" charset="0"/>
              </a:rPr>
              <a:t>否</a:t>
            </a:r>
            <a:endParaRPr lang="en-GB" sz="1500" dirty="0">
              <a:solidFill>
                <a:srgbClr val="000000"/>
              </a:solidFill>
              <a:latin typeface="Segoe UI Light" panose="020B0502040204020203" pitchFamily="34" charset="0"/>
              <a:cs typeface="Segoe UI Light" panose="020B0502040204020203" pitchFamily="34" charset="0"/>
            </a:endParaRPr>
          </a:p>
        </p:txBody>
      </p:sp>
      <p:sp>
        <p:nvSpPr>
          <p:cNvPr id="22" name="Rectangle 21"/>
          <p:cNvSpPr/>
          <p:nvPr/>
        </p:nvSpPr>
        <p:spPr>
          <a:xfrm>
            <a:off x="6126096" y="3459648"/>
            <a:ext cx="1435008" cy="323165"/>
          </a:xfrm>
          <a:prstGeom prst="rect">
            <a:avLst/>
          </a:prstGeom>
        </p:spPr>
        <p:txBody>
          <a:bodyPr wrap="none">
            <a:spAutoFit/>
          </a:bodyPr>
          <a:lstStyle/>
          <a:p>
            <a:pPr defTabSz="685800"/>
            <a:r>
              <a:rPr lang="en-GB" sz="1500" dirty="0">
                <a:solidFill>
                  <a:srgbClr val="000000"/>
                </a:solidFill>
                <a:latin typeface="Segoe UI Light" panose="020B0502040204020203" pitchFamily="34" charset="0"/>
                <a:cs typeface="Segoe UI Light" panose="020B0502040204020203" pitchFamily="34" charset="0"/>
              </a:rPr>
              <a:t>Enterprise + SA</a:t>
            </a:r>
          </a:p>
        </p:txBody>
      </p:sp>
      <p:sp>
        <p:nvSpPr>
          <p:cNvPr id="23" name="Rectangle 22"/>
          <p:cNvSpPr/>
          <p:nvPr/>
        </p:nvSpPr>
        <p:spPr>
          <a:xfrm>
            <a:off x="4078270" y="3490176"/>
            <a:ext cx="954107" cy="323165"/>
          </a:xfrm>
          <a:prstGeom prst="rect">
            <a:avLst/>
          </a:prstGeom>
        </p:spPr>
        <p:txBody>
          <a:bodyPr wrap="none">
            <a:spAutoFit/>
          </a:bodyPr>
          <a:lstStyle/>
          <a:p>
            <a:pPr defTabSz="685800"/>
            <a:r>
              <a:rPr lang="zh-TW" altLang="en-US" sz="1500" dirty="0">
                <a:solidFill>
                  <a:srgbClr val="000000"/>
                </a:solidFill>
                <a:latin typeface="Segoe UI Light" panose="020B0502040204020203" pitchFamily="34" charset="0"/>
                <a:cs typeface="Segoe UI Light" panose="020B0502040204020203" pitchFamily="34" charset="0"/>
              </a:rPr>
              <a:t>授權方式</a:t>
            </a:r>
            <a:endParaRPr lang="en-GB" sz="1500" dirty="0">
              <a:solidFill>
                <a:srgbClr val="000000"/>
              </a:solidFill>
              <a:latin typeface="Segoe UI Light" panose="020B0502040204020203" pitchFamily="34" charset="0"/>
              <a:cs typeface="Segoe UI Light" panose="020B0502040204020203" pitchFamily="34" charset="0"/>
            </a:endParaRPr>
          </a:p>
        </p:txBody>
      </p:sp>
      <p:sp>
        <p:nvSpPr>
          <p:cNvPr id="24" name="Rectangle 23"/>
          <p:cNvSpPr/>
          <p:nvPr/>
        </p:nvSpPr>
        <p:spPr>
          <a:xfrm>
            <a:off x="8099579" y="3459648"/>
            <a:ext cx="566032" cy="323165"/>
          </a:xfrm>
          <a:prstGeom prst="rect">
            <a:avLst/>
          </a:prstGeom>
        </p:spPr>
        <p:txBody>
          <a:bodyPr wrap="square">
            <a:spAutoFit/>
          </a:bodyPr>
          <a:lstStyle/>
          <a:p>
            <a:pPr defTabSz="685800"/>
            <a:r>
              <a:rPr lang="en-GB" sz="1500" dirty="0">
                <a:solidFill>
                  <a:srgbClr val="000000"/>
                </a:solidFill>
                <a:latin typeface="Segoe UI Light" panose="020B0502040204020203" pitchFamily="34" charset="0"/>
                <a:cs typeface="Segoe UI Light" panose="020B0502040204020203" pitchFamily="34" charset="0"/>
              </a:rPr>
              <a:t>VDA</a:t>
            </a:r>
          </a:p>
        </p:txBody>
      </p:sp>
      <p:cxnSp>
        <p:nvCxnSpPr>
          <p:cNvPr id="3" name="Straight Connector 2"/>
          <p:cNvCxnSpPr/>
          <p:nvPr/>
        </p:nvCxnSpPr>
        <p:spPr>
          <a:xfrm>
            <a:off x="4106224" y="3421220"/>
            <a:ext cx="1851660" cy="0"/>
          </a:xfrm>
          <a:prstGeom prst="line">
            <a:avLst/>
          </a:prstGeom>
        </p:spPr>
        <p:style>
          <a:lnRef idx="1">
            <a:schemeClr val="dk1"/>
          </a:lnRef>
          <a:fillRef idx="0">
            <a:schemeClr val="dk1"/>
          </a:fillRef>
          <a:effectRef idx="0">
            <a:schemeClr val="dk1"/>
          </a:effectRef>
          <a:fontRef idx="minor">
            <a:schemeClr val="tx1"/>
          </a:fontRef>
        </p:style>
      </p:cxnSp>
      <p:cxnSp>
        <p:nvCxnSpPr>
          <p:cNvPr id="40" name="Straight Connector 39"/>
          <p:cNvCxnSpPr/>
          <p:nvPr/>
        </p:nvCxnSpPr>
        <p:spPr>
          <a:xfrm>
            <a:off x="6129525" y="3421220"/>
            <a:ext cx="1364742" cy="0"/>
          </a:xfrm>
          <a:prstGeom prst="line">
            <a:avLst/>
          </a:prstGeom>
        </p:spPr>
        <p:style>
          <a:lnRef idx="1">
            <a:schemeClr val="dk1"/>
          </a:lnRef>
          <a:fillRef idx="0">
            <a:schemeClr val="dk1"/>
          </a:fillRef>
          <a:effectRef idx="0">
            <a:schemeClr val="dk1"/>
          </a:effectRef>
          <a:fontRef idx="minor">
            <a:schemeClr val="tx1"/>
          </a:fontRef>
        </p:style>
      </p:cxnSp>
      <p:cxnSp>
        <p:nvCxnSpPr>
          <p:cNvPr id="41" name="Straight Connector 40"/>
          <p:cNvCxnSpPr/>
          <p:nvPr/>
        </p:nvCxnSpPr>
        <p:spPr>
          <a:xfrm>
            <a:off x="7699918" y="3421220"/>
            <a:ext cx="1364742" cy="0"/>
          </a:xfrm>
          <a:prstGeom prst="line">
            <a:avLst/>
          </a:prstGeom>
        </p:spPr>
        <p:style>
          <a:lnRef idx="1">
            <a:schemeClr val="dk1"/>
          </a:lnRef>
          <a:fillRef idx="0">
            <a:schemeClr val="dk1"/>
          </a:fillRef>
          <a:effectRef idx="0">
            <a:schemeClr val="dk1"/>
          </a:effectRef>
          <a:fontRef idx="minor">
            <a:schemeClr val="tx1"/>
          </a:fontRef>
        </p:style>
      </p:cxnSp>
      <p:grpSp>
        <p:nvGrpSpPr>
          <p:cNvPr id="42" name="Group 41"/>
          <p:cNvGrpSpPr/>
          <p:nvPr/>
        </p:nvGrpSpPr>
        <p:grpSpPr>
          <a:xfrm>
            <a:off x="330378" y="2859746"/>
            <a:ext cx="3238693" cy="2446875"/>
            <a:chOff x="0" y="1062656"/>
            <a:chExt cx="4318257" cy="3262500"/>
          </a:xfrm>
        </p:grpSpPr>
        <p:pic>
          <p:nvPicPr>
            <p:cNvPr id="43" name="Picture 2" descr="https://compass-ssl.surface.com/assets/3e/22/3e22a8d7-25bd-473d-815a-f49e27c515cb.png#desktop-engagingmeetings-new.pn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t="11376"/>
            <a:stretch/>
          </p:blipFill>
          <p:spPr bwMode="auto">
            <a:xfrm>
              <a:off x="863856" y="1062656"/>
              <a:ext cx="3333675" cy="1871405"/>
            </a:xfrm>
            <a:prstGeom prst="rect">
              <a:avLst/>
            </a:prstGeom>
            <a:noFill/>
            <a:extLst>
              <a:ext uri="{909E8E84-426E-40DD-AFC4-6F175D3DCCD1}">
                <a14:hiddenFill xmlns:a14="http://schemas.microsoft.com/office/drawing/2010/main">
                  <a:solidFill>
                    <a:srgbClr val="FFFFFF"/>
                  </a:solidFill>
                </a14:hiddenFill>
              </a:ext>
            </a:extLst>
          </p:spPr>
        </p:pic>
        <p:pic>
          <p:nvPicPr>
            <p:cNvPr id="44" name="Desktop"/>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0" y="2196365"/>
              <a:ext cx="2689012" cy="1615069"/>
            </a:xfrm>
            <a:prstGeom prst="rect">
              <a:avLst/>
            </a:prstGeom>
          </p:spPr>
        </p:pic>
        <p:pic>
          <p:nvPicPr>
            <p:cNvPr id="45" name="Small Tablet"/>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34199" y="3348787"/>
              <a:ext cx="1068440" cy="976369"/>
            </a:xfrm>
            <a:prstGeom prst="rect">
              <a:avLst/>
            </a:prstGeom>
          </p:spPr>
        </p:pic>
        <p:pic>
          <p:nvPicPr>
            <p:cNvPr id="46" name="2-in-1"/>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2225455" y="3039437"/>
              <a:ext cx="2092802" cy="1263179"/>
            </a:xfrm>
            <a:prstGeom prst="rect">
              <a:avLst/>
            </a:prstGeom>
          </p:spPr>
        </p:pic>
        <p:pic>
          <p:nvPicPr>
            <p:cNvPr id="47" name="Phone"/>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90638" y="3618128"/>
              <a:ext cx="721436" cy="707028"/>
            </a:xfrm>
            <a:prstGeom prst="rect">
              <a:avLst/>
            </a:prstGeom>
          </p:spPr>
        </p:pic>
      </p:grpSp>
    </p:spTree>
    <p:extLst>
      <p:ext uri="{BB962C8B-B14F-4D97-AF65-F5344CB8AC3E}">
        <p14:creationId xmlns:p14="http://schemas.microsoft.com/office/powerpoint/2010/main" val="35680016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p:cNvSpPr/>
          <p:nvPr/>
        </p:nvSpPr>
        <p:spPr bwMode="auto">
          <a:xfrm>
            <a:off x="426037" y="3315508"/>
            <a:ext cx="8291930" cy="791741"/>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07631" tIns="33616" rIns="67232" bIns="33616" numCol="1" spcCol="0" rtlCol="0" fromWordArt="0" anchor="ctr" anchorCtr="0" forceAA="0" compatLnSpc="1">
            <a:prstTxWarp prst="textNoShape">
              <a:avLst/>
            </a:prstTxWarp>
            <a:noAutofit/>
          </a:bodyPr>
          <a:lstStyle/>
          <a:p>
            <a:pPr defTabSz="685577" fontAlgn="base">
              <a:spcBef>
                <a:spcPct val="0"/>
              </a:spcBef>
              <a:spcAft>
                <a:spcPct val="0"/>
              </a:spcAft>
            </a:pPr>
            <a:endParaRPr lang="en-US" sz="1471" dirty="0">
              <a:solidFill>
                <a:srgbClr val="505050"/>
              </a:solidFill>
              <a:ea typeface="Segoe UI" pitchFamily="34" charset="0"/>
              <a:cs typeface="Segoe UI" pitchFamily="34" charset="0"/>
            </a:endParaRPr>
          </a:p>
        </p:txBody>
      </p:sp>
      <p:sp>
        <p:nvSpPr>
          <p:cNvPr id="64" name="Rectangle 63"/>
          <p:cNvSpPr/>
          <p:nvPr/>
        </p:nvSpPr>
        <p:spPr bwMode="auto">
          <a:xfrm>
            <a:off x="426037" y="2439908"/>
            <a:ext cx="8291930" cy="791741"/>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07631" tIns="33616" rIns="67232" bIns="33616" numCol="1" spcCol="0" rtlCol="0" fromWordArt="0" anchor="ctr" anchorCtr="0" forceAA="0" compatLnSpc="1">
            <a:prstTxWarp prst="textNoShape">
              <a:avLst/>
            </a:prstTxWarp>
            <a:noAutofit/>
          </a:bodyPr>
          <a:lstStyle/>
          <a:p>
            <a:pPr defTabSz="685577" fontAlgn="base">
              <a:spcBef>
                <a:spcPct val="0"/>
              </a:spcBef>
              <a:spcAft>
                <a:spcPct val="0"/>
              </a:spcAft>
            </a:pPr>
            <a:endParaRPr lang="en-US" sz="1471" dirty="0">
              <a:solidFill>
                <a:srgbClr val="505050"/>
              </a:solidFill>
              <a:ea typeface="Segoe UI" pitchFamily="34" charset="0"/>
              <a:cs typeface="Segoe UI" pitchFamily="34" charset="0"/>
            </a:endParaRPr>
          </a:p>
        </p:txBody>
      </p:sp>
      <p:sp>
        <p:nvSpPr>
          <p:cNvPr id="88" name="Rectangle 87"/>
          <p:cNvSpPr/>
          <p:nvPr/>
        </p:nvSpPr>
        <p:spPr bwMode="auto">
          <a:xfrm>
            <a:off x="426037" y="4181749"/>
            <a:ext cx="8291930" cy="1820845"/>
          </a:xfrm>
          <a:prstGeom prst="rect">
            <a:avLst/>
          </a:prstGeom>
          <a:solidFill>
            <a:schemeClr val="tx1">
              <a:lumMod val="50000"/>
              <a:lumOff val="50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07631" tIns="33616" rIns="67232" bIns="33616" numCol="1" spcCol="0" rtlCol="0" fromWordArt="0" anchor="ctr" anchorCtr="0" forceAA="0" compatLnSpc="1">
            <a:prstTxWarp prst="textNoShape">
              <a:avLst/>
            </a:prstTxWarp>
            <a:noAutofit/>
          </a:bodyPr>
          <a:lstStyle/>
          <a:p>
            <a:pPr defTabSz="685577" fontAlgn="base">
              <a:spcBef>
                <a:spcPct val="0"/>
              </a:spcBef>
              <a:spcAft>
                <a:spcPct val="0"/>
              </a:spcAft>
            </a:pPr>
            <a:endParaRPr lang="en-US" sz="1471" dirty="0">
              <a:solidFill>
                <a:srgbClr val="505050"/>
              </a:solidFill>
              <a:ea typeface="Segoe UI" pitchFamily="34" charset="0"/>
              <a:cs typeface="Segoe UI" pitchFamily="34" charset="0"/>
            </a:endParaRPr>
          </a:p>
        </p:txBody>
      </p:sp>
      <p:sp>
        <p:nvSpPr>
          <p:cNvPr id="72" name="Rectangle 71"/>
          <p:cNvSpPr/>
          <p:nvPr/>
        </p:nvSpPr>
        <p:spPr bwMode="auto">
          <a:xfrm>
            <a:off x="1175878" y="4181749"/>
            <a:ext cx="7428626" cy="1820845"/>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78" tIns="33616" rIns="67232" bIns="33616" numCol="1" spcCol="0" rtlCol="0" fromWordArt="0" anchor="ctr" anchorCtr="0" forceAA="0" compatLnSpc="1">
            <a:prstTxWarp prst="textNoShape">
              <a:avLst/>
            </a:prstTxWarp>
            <a:noAutofit/>
          </a:bodyPr>
          <a:lstStyle/>
          <a:p>
            <a:pPr defTabSz="685577" fontAlgn="base">
              <a:spcAft>
                <a:spcPts val="441"/>
              </a:spcAft>
            </a:pPr>
            <a:r>
              <a:rPr lang="zh-TW" altLang="en-US" dirty="0">
                <a:solidFill>
                  <a:srgbClr val="505050"/>
                </a:solidFill>
                <a:latin typeface="Segoe UI Light" panose="020B0502040204020203" pitchFamily="34" charset="0"/>
                <a:ea typeface="Segoe UI" pitchFamily="34" charset="0"/>
                <a:cs typeface="Segoe UI Light" panose="020B0502040204020203" pitchFamily="34" charset="0"/>
              </a:rPr>
              <a:t>簡易授權管理選項</a:t>
            </a:r>
            <a:r>
              <a:rPr lang="en-US" dirty="0" smtClean="0">
                <a:solidFill>
                  <a:srgbClr val="505050"/>
                </a:solidFill>
                <a:latin typeface="Segoe UI Light" panose="020B0502040204020203" pitchFamily="34" charset="0"/>
                <a:ea typeface="Segoe UI" pitchFamily="34" charset="0"/>
                <a:cs typeface="Segoe UI Light" panose="020B0502040204020203" pitchFamily="34" charset="0"/>
              </a:rPr>
              <a:t>: (</a:t>
            </a:r>
            <a:r>
              <a:rPr lang="zh-TW" altLang="en-US" dirty="0" smtClean="0">
                <a:solidFill>
                  <a:srgbClr val="505050"/>
                </a:solidFill>
                <a:latin typeface="Segoe UI Light" panose="020B0502040204020203" pitchFamily="34" charset="0"/>
                <a:ea typeface="Segoe UI" pitchFamily="34" charset="0"/>
                <a:cs typeface="Segoe UI Light" panose="020B0502040204020203" pitchFamily="34" charset="0"/>
              </a:rPr>
              <a:t>每一使用者授權模式</a:t>
            </a:r>
            <a:r>
              <a:rPr lang="en-US" altLang="zh-TW" dirty="0" smtClean="0">
                <a:solidFill>
                  <a:srgbClr val="505050"/>
                </a:solidFill>
                <a:latin typeface="Segoe UI Light" panose="020B0502040204020203" pitchFamily="34" charset="0"/>
                <a:ea typeface="Segoe UI" pitchFamily="34" charset="0"/>
                <a:cs typeface="Segoe UI Light" panose="020B0502040204020203" pitchFamily="34" charset="0"/>
              </a:rPr>
              <a:t>-</a:t>
            </a:r>
            <a:r>
              <a:rPr lang="zh-TW" altLang="en-US" dirty="0" smtClean="0">
                <a:solidFill>
                  <a:srgbClr val="505050"/>
                </a:solidFill>
                <a:latin typeface="Segoe UI Light" panose="020B0502040204020203" pitchFamily="34" charset="0"/>
                <a:ea typeface="Segoe UI" pitchFamily="34" charset="0"/>
                <a:cs typeface="Segoe UI Light" panose="020B0502040204020203" pitchFamily="34" charset="0"/>
              </a:rPr>
              <a:t>訂閱式</a:t>
            </a:r>
            <a:r>
              <a:rPr lang="en-US" altLang="zh-TW" dirty="0" smtClean="0">
                <a:solidFill>
                  <a:srgbClr val="505050"/>
                </a:solidFill>
                <a:latin typeface="Segoe UI Light" panose="020B0502040204020203" pitchFamily="34" charset="0"/>
                <a:ea typeface="Segoe UI" pitchFamily="34" charset="0"/>
                <a:cs typeface="Segoe UI Light" panose="020B0502040204020203" pitchFamily="34" charset="0"/>
              </a:rPr>
              <a:t>)</a:t>
            </a:r>
            <a:endParaRPr lang="en-US" dirty="0">
              <a:solidFill>
                <a:srgbClr val="505050"/>
              </a:solidFill>
              <a:latin typeface="Segoe UI Light" panose="020B0502040204020203" pitchFamily="34" charset="0"/>
              <a:ea typeface="Segoe UI" pitchFamily="34" charset="0"/>
              <a:cs typeface="Segoe UI Light" panose="020B0502040204020203" pitchFamily="34" charset="0"/>
            </a:endParaRPr>
          </a:p>
          <a:p>
            <a:pPr marL="252109" indent="-168073" defTabSz="685577" fontAlgn="base">
              <a:buFont typeface="Arial" panose="020B0604020202020204" pitchFamily="34" charset="0"/>
              <a:buChar char="•"/>
            </a:pPr>
            <a:r>
              <a:rPr lang="en-IN" sz="1500" dirty="0">
                <a:solidFill>
                  <a:srgbClr val="505050"/>
                </a:solidFill>
                <a:latin typeface="Segoe UI Light" panose="020B0502040204020203" pitchFamily="34" charset="0"/>
                <a:ea typeface="Segoe UI" pitchFamily="34" charset="0"/>
                <a:cs typeface="Segoe UI Light" panose="020B0502040204020203" pitchFamily="34" charset="0"/>
              </a:rPr>
              <a:t>Windows SA </a:t>
            </a:r>
            <a:r>
              <a:rPr lang="en-IN" sz="1500" dirty="0" smtClean="0">
                <a:solidFill>
                  <a:srgbClr val="505050"/>
                </a:solidFill>
                <a:latin typeface="Segoe UI Light" panose="020B0502040204020203" pitchFamily="34" charset="0"/>
                <a:ea typeface="Segoe UI" pitchFamily="34" charset="0"/>
                <a:cs typeface="Segoe UI Light" panose="020B0502040204020203" pitchFamily="34" charset="0"/>
              </a:rPr>
              <a:t>per user</a:t>
            </a:r>
            <a:endParaRPr lang="en-IN" sz="1500" dirty="0">
              <a:solidFill>
                <a:srgbClr val="505050"/>
              </a:solidFill>
              <a:latin typeface="Segoe UI Light" panose="020B0502040204020203" pitchFamily="34" charset="0"/>
              <a:ea typeface="Segoe UI" pitchFamily="34" charset="0"/>
              <a:cs typeface="Segoe UI Light" panose="020B0502040204020203" pitchFamily="34" charset="0"/>
            </a:endParaRPr>
          </a:p>
          <a:p>
            <a:pPr marL="252109" indent="-168073" defTabSz="685577" fontAlgn="base">
              <a:spcBef>
                <a:spcPts val="221"/>
              </a:spcBef>
              <a:buFont typeface="Arial" panose="020B0604020202020204" pitchFamily="34" charset="0"/>
              <a:buChar char="•"/>
            </a:pPr>
            <a:r>
              <a:rPr lang="en-IN" sz="1500" dirty="0">
                <a:solidFill>
                  <a:srgbClr val="505050"/>
                </a:solidFill>
                <a:latin typeface="Segoe UI Light" panose="020B0502040204020203" pitchFamily="34" charset="0"/>
                <a:ea typeface="Segoe UI" pitchFamily="34" charset="0"/>
                <a:cs typeface="Segoe UI Light" panose="020B0502040204020203" pitchFamily="34" charset="0"/>
              </a:rPr>
              <a:t>Windows VDA </a:t>
            </a:r>
            <a:r>
              <a:rPr lang="en-IN" sz="1500" dirty="0" smtClean="0">
                <a:solidFill>
                  <a:srgbClr val="505050"/>
                </a:solidFill>
                <a:latin typeface="Segoe UI Light" panose="020B0502040204020203" pitchFamily="34" charset="0"/>
                <a:ea typeface="Segoe UI" pitchFamily="34" charset="0"/>
                <a:cs typeface="Segoe UI Light" panose="020B0502040204020203" pitchFamily="34" charset="0"/>
              </a:rPr>
              <a:t>per user </a:t>
            </a:r>
            <a:endParaRPr lang="en-IN" sz="1500" dirty="0">
              <a:solidFill>
                <a:srgbClr val="505050"/>
              </a:solidFill>
              <a:latin typeface="Segoe UI Light" panose="020B0502040204020203" pitchFamily="34" charset="0"/>
              <a:ea typeface="Segoe UI" pitchFamily="34" charset="0"/>
              <a:cs typeface="Segoe UI Light" panose="020B0502040204020203" pitchFamily="34" charset="0"/>
            </a:endParaRPr>
          </a:p>
          <a:p>
            <a:pPr marL="252109" indent="-168073" defTabSz="685577" fontAlgn="base">
              <a:spcBef>
                <a:spcPts val="221"/>
              </a:spcBef>
              <a:buFont typeface="Arial" panose="020B0604020202020204" pitchFamily="34" charset="0"/>
              <a:buChar char="•"/>
            </a:pPr>
            <a:r>
              <a:rPr lang="en-IN" sz="1500" dirty="0">
                <a:solidFill>
                  <a:srgbClr val="505050"/>
                </a:solidFill>
                <a:latin typeface="Segoe UI Light" panose="020B0502040204020203" pitchFamily="34" charset="0"/>
                <a:ea typeface="Segoe UI" pitchFamily="34" charset="0"/>
                <a:cs typeface="Segoe UI Light" panose="020B0502040204020203" pitchFamily="34" charset="0"/>
              </a:rPr>
              <a:t>Windows </a:t>
            </a:r>
            <a:r>
              <a:rPr lang="en-IN" sz="1500" dirty="0" smtClean="0">
                <a:solidFill>
                  <a:srgbClr val="505050"/>
                </a:solidFill>
                <a:latin typeface="Segoe UI Light" panose="020B0502040204020203" pitchFamily="34" charset="0"/>
                <a:ea typeface="Segoe UI" pitchFamily="34" charset="0"/>
                <a:cs typeface="Segoe UI Light" panose="020B0502040204020203" pitchFamily="34" charset="0"/>
              </a:rPr>
              <a:t>SA per user</a:t>
            </a:r>
            <a:r>
              <a:rPr lang="zh-TW" altLang="en-US" sz="1500" dirty="0" smtClean="0">
                <a:solidFill>
                  <a:srgbClr val="505050"/>
                </a:solidFill>
                <a:latin typeface="Segoe UI Light" panose="020B0502040204020203" pitchFamily="34" charset="0"/>
                <a:ea typeface="Segoe UI" pitchFamily="34" charset="0"/>
                <a:cs typeface="Segoe UI Light" panose="020B0502040204020203" pitchFamily="34" charset="0"/>
              </a:rPr>
              <a:t> </a:t>
            </a:r>
            <a:r>
              <a:rPr lang="en-US" altLang="zh-TW" sz="1500" dirty="0">
                <a:solidFill>
                  <a:srgbClr val="505050"/>
                </a:solidFill>
                <a:latin typeface="Segoe UI Light" panose="020B0502040204020203" pitchFamily="34" charset="0"/>
                <a:ea typeface="Segoe UI" pitchFamily="34" charset="0"/>
                <a:cs typeface="Segoe UI Light" panose="020B0502040204020203" pitchFamily="34" charset="0"/>
              </a:rPr>
              <a:t>Add-on</a:t>
            </a:r>
            <a:endParaRPr lang="en-IN" sz="1500" dirty="0">
              <a:solidFill>
                <a:srgbClr val="505050"/>
              </a:solidFill>
              <a:latin typeface="Segoe UI Light" panose="020B0502040204020203" pitchFamily="34" charset="0"/>
              <a:ea typeface="Segoe UI" pitchFamily="34" charset="0"/>
              <a:cs typeface="Segoe UI Light" panose="020B0502040204020203" pitchFamily="34" charset="0"/>
            </a:endParaRPr>
          </a:p>
        </p:txBody>
      </p:sp>
      <p:sp>
        <p:nvSpPr>
          <p:cNvPr id="30" name="Freeform 29"/>
          <p:cNvSpPr/>
          <p:nvPr/>
        </p:nvSpPr>
        <p:spPr>
          <a:xfrm>
            <a:off x="526358" y="4571766"/>
            <a:ext cx="507780" cy="507780"/>
          </a:xfrm>
          <a:custGeom>
            <a:avLst/>
            <a:gdLst>
              <a:gd name="connsiteX0" fmla="*/ 757757 w 919880"/>
              <a:gd name="connsiteY0" fmla="*/ 487602 h 919880"/>
              <a:gd name="connsiteX1" fmla="*/ 808223 w 919880"/>
              <a:gd name="connsiteY1" fmla="*/ 538069 h 919880"/>
              <a:gd name="connsiteX2" fmla="*/ 586178 w 919880"/>
              <a:gd name="connsiteY2" fmla="*/ 760113 h 919880"/>
              <a:gd name="connsiteX3" fmla="*/ 447701 w 919880"/>
              <a:gd name="connsiteY3" fmla="*/ 621635 h 919880"/>
              <a:gd name="connsiteX4" fmla="*/ 496995 w 919880"/>
              <a:gd name="connsiteY4" fmla="*/ 572342 h 919880"/>
              <a:gd name="connsiteX5" fmla="*/ 585006 w 919880"/>
              <a:gd name="connsiteY5" fmla="*/ 660353 h 919880"/>
              <a:gd name="connsiteX6" fmla="*/ 589840 w 919880"/>
              <a:gd name="connsiteY6" fmla="*/ 227342 h 919880"/>
              <a:gd name="connsiteX7" fmla="*/ 632127 w 919880"/>
              <a:gd name="connsiteY7" fmla="*/ 243074 h 919880"/>
              <a:gd name="connsiteX8" fmla="*/ 631691 w 919880"/>
              <a:gd name="connsiteY8" fmla="*/ 349343 h 919880"/>
              <a:gd name="connsiteX9" fmla="*/ 620942 w 919880"/>
              <a:gd name="connsiteY9" fmla="*/ 374228 h 919880"/>
              <a:gd name="connsiteX10" fmla="*/ 639641 w 919880"/>
              <a:gd name="connsiteY10" fmla="*/ 394781 h 919880"/>
              <a:gd name="connsiteX11" fmla="*/ 701265 w 919880"/>
              <a:gd name="connsiteY11" fmla="*/ 453879 h 919880"/>
              <a:gd name="connsiteX12" fmla="*/ 707536 w 919880"/>
              <a:gd name="connsiteY12" fmla="*/ 494650 h 919880"/>
              <a:gd name="connsiteX13" fmla="*/ 693263 w 919880"/>
              <a:gd name="connsiteY13" fmla="*/ 512158 h 919880"/>
              <a:gd name="connsiteX14" fmla="*/ 609852 w 919880"/>
              <a:gd name="connsiteY14" fmla="*/ 545146 h 919880"/>
              <a:gd name="connsiteX15" fmla="*/ 486453 w 919880"/>
              <a:gd name="connsiteY15" fmla="*/ 440519 h 919880"/>
              <a:gd name="connsiteX16" fmla="*/ 540040 w 919880"/>
              <a:gd name="connsiteY16" fmla="*/ 394781 h 919880"/>
              <a:gd name="connsiteX17" fmla="*/ 558739 w 919880"/>
              <a:gd name="connsiteY17" fmla="*/ 374228 h 919880"/>
              <a:gd name="connsiteX18" fmla="*/ 547989 w 919880"/>
              <a:gd name="connsiteY18" fmla="*/ 349343 h 919880"/>
              <a:gd name="connsiteX19" fmla="*/ 547553 w 919880"/>
              <a:gd name="connsiteY19" fmla="*/ 243074 h 919880"/>
              <a:gd name="connsiteX20" fmla="*/ 589840 w 919880"/>
              <a:gd name="connsiteY20" fmla="*/ 227342 h 919880"/>
              <a:gd name="connsiteX21" fmla="*/ 229565 w 919880"/>
              <a:gd name="connsiteY21" fmla="*/ 227342 h 919880"/>
              <a:gd name="connsiteX22" fmla="*/ 271852 w 919880"/>
              <a:gd name="connsiteY22" fmla="*/ 243074 h 919880"/>
              <a:gd name="connsiteX23" fmla="*/ 271417 w 919880"/>
              <a:gd name="connsiteY23" fmla="*/ 349343 h 919880"/>
              <a:gd name="connsiteX24" fmla="*/ 260667 w 919880"/>
              <a:gd name="connsiteY24" fmla="*/ 374228 h 919880"/>
              <a:gd name="connsiteX25" fmla="*/ 279366 w 919880"/>
              <a:gd name="connsiteY25" fmla="*/ 394781 h 919880"/>
              <a:gd name="connsiteX26" fmla="*/ 332953 w 919880"/>
              <a:gd name="connsiteY26" fmla="*/ 440519 h 919880"/>
              <a:gd name="connsiteX27" fmla="*/ 209554 w 919880"/>
              <a:gd name="connsiteY27" fmla="*/ 545146 h 919880"/>
              <a:gd name="connsiteX28" fmla="*/ 126143 w 919880"/>
              <a:gd name="connsiteY28" fmla="*/ 512158 h 919880"/>
              <a:gd name="connsiteX29" fmla="*/ 111869 w 919880"/>
              <a:gd name="connsiteY29" fmla="*/ 494650 h 919880"/>
              <a:gd name="connsiteX30" fmla="*/ 118140 w 919880"/>
              <a:gd name="connsiteY30" fmla="*/ 453879 h 919880"/>
              <a:gd name="connsiteX31" fmla="*/ 179765 w 919880"/>
              <a:gd name="connsiteY31" fmla="*/ 394781 h 919880"/>
              <a:gd name="connsiteX32" fmla="*/ 198463 w 919880"/>
              <a:gd name="connsiteY32" fmla="*/ 374228 h 919880"/>
              <a:gd name="connsiteX33" fmla="*/ 187714 w 919880"/>
              <a:gd name="connsiteY33" fmla="*/ 349343 h 919880"/>
              <a:gd name="connsiteX34" fmla="*/ 187279 w 919880"/>
              <a:gd name="connsiteY34" fmla="*/ 243074 h 919880"/>
              <a:gd name="connsiteX35" fmla="*/ 229565 w 919880"/>
              <a:gd name="connsiteY35" fmla="*/ 227342 h 919880"/>
              <a:gd name="connsiteX36" fmla="*/ 409769 w 919880"/>
              <a:gd name="connsiteY36" fmla="*/ 159834 h 919880"/>
              <a:gd name="connsiteX37" fmla="*/ 483308 w 919880"/>
              <a:gd name="connsiteY37" fmla="*/ 187192 h 919880"/>
              <a:gd name="connsiteX38" fmla="*/ 482550 w 919880"/>
              <a:gd name="connsiteY38" fmla="*/ 371999 h 919880"/>
              <a:gd name="connsiteX39" fmla="*/ 463856 w 919880"/>
              <a:gd name="connsiteY39" fmla="*/ 415275 h 919880"/>
              <a:gd name="connsiteX40" fmla="*/ 496374 w 919880"/>
              <a:gd name="connsiteY40" fmla="*/ 451019 h 919880"/>
              <a:gd name="connsiteX41" fmla="*/ 603542 w 919880"/>
              <a:gd name="connsiteY41" fmla="*/ 553791 h 919880"/>
              <a:gd name="connsiteX42" fmla="*/ 612806 w 919880"/>
              <a:gd name="connsiteY42" fmla="*/ 586412 h 919880"/>
              <a:gd name="connsiteX43" fmla="*/ 613527 w 919880"/>
              <a:gd name="connsiteY43" fmla="*/ 603224 h 919880"/>
              <a:gd name="connsiteX44" fmla="*/ 584688 w 919880"/>
              <a:gd name="connsiteY44" fmla="*/ 632062 h 919880"/>
              <a:gd name="connsiteX45" fmla="*/ 498412 w 919880"/>
              <a:gd name="connsiteY45" fmla="*/ 545787 h 919880"/>
              <a:gd name="connsiteX46" fmla="*/ 436356 w 919880"/>
              <a:gd name="connsiteY46" fmla="*/ 607843 h 919880"/>
              <a:gd name="connsiteX47" fmla="*/ 418838 w 919880"/>
              <a:gd name="connsiteY47" fmla="*/ 495304 h 919880"/>
              <a:gd name="connsiteX48" fmla="*/ 443800 w 919880"/>
              <a:gd name="connsiteY48" fmla="*/ 465298 h 919880"/>
              <a:gd name="connsiteX49" fmla="*/ 375737 w 919880"/>
              <a:gd name="connsiteY49" fmla="*/ 465298 h 919880"/>
              <a:gd name="connsiteX50" fmla="*/ 399469 w 919880"/>
              <a:gd name="connsiteY50" fmla="*/ 493825 h 919880"/>
              <a:gd name="connsiteX51" fmla="*/ 378460 w 919880"/>
              <a:gd name="connsiteY51" fmla="*/ 638175 h 919880"/>
              <a:gd name="connsiteX52" fmla="*/ 408408 w 919880"/>
              <a:gd name="connsiteY52" fmla="*/ 660635 h 919880"/>
              <a:gd name="connsiteX53" fmla="*/ 441077 w 919880"/>
              <a:gd name="connsiteY53" fmla="*/ 638175 h 919880"/>
              <a:gd name="connsiteX54" fmla="*/ 440726 w 919880"/>
              <a:gd name="connsiteY54" fmla="*/ 635915 h 919880"/>
              <a:gd name="connsiteX55" fmla="*/ 504404 w 919880"/>
              <a:gd name="connsiteY55" fmla="*/ 699593 h 919880"/>
              <a:gd name="connsiteX56" fmla="*/ 499208 w 919880"/>
              <a:gd name="connsiteY56" fmla="*/ 701728 h 919880"/>
              <a:gd name="connsiteX57" fmla="*/ 409769 w 919880"/>
              <a:gd name="connsiteY57" fmla="*/ 714584 h 919880"/>
              <a:gd name="connsiteX58" fmla="*/ 229912 w 919880"/>
              <a:gd name="connsiteY58" fmla="*/ 655141 h 919880"/>
              <a:gd name="connsiteX59" fmla="*/ 205089 w 919880"/>
              <a:gd name="connsiteY59" fmla="*/ 624695 h 919880"/>
              <a:gd name="connsiteX60" fmla="*/ 215996 w 919880"/>
              <a:gd name="connsiteY60" fmla="*/ 553791 h 919880"/>
              <a:gd name="connsiteX61" fmla="*/ 323163 w 919880"/>
              <a:gd name="connsiteY61" fmla="*/ 451019 h 919880"/>
              <a:gd name="connsiteX62" fmla="*/ 355682 w 919880"/>
              <a:gd name="connsiteY62" fmla="*/ 415275 h 919880"/>
              <a:gd name="connsiteX63" fmla="*/ 336987 w 919880"/>
              <a:gd name="connsiteY63" fmla="*/ 371999 h 919880"/>
              <a:gd name="connsiteX64" fmla="*/ 336230 w 919880"/>
              <a:gd name="connsiteY64" fmla="*/ 187192 h 919880"/>
              <a:gd name="connsiteX65" fmla="*/ 409769 w 919880"/>
              <a:gd name="connsiteY65" fmla="*/ 159834 h 919880"/>
              <a:gd name="connsiteX66" fmla="*/ 459940 w 919880"/>
              <a:gd name="connsiteY66" fmla="*/ 31708 h 919880"/>
              <a:gd name="connsiteX67" fmla="*/ 31708 w 919880"/>
              <a:gd name="connsiteY67" fmla="*/ 459940 h 919880"/>
              <a:gd name="connsiteX68" fmla="*/ 459940 w 919880"/>
              <a:gd name="connsiteY68" fmla="*/ 888172 h 919880"/>
              <a:gd name="connsiteX69" fmla="*/ 888172 w 919880"/>
              <a:gd name="connsiteY69" fmla="*/ 459940 h 919880"/>
              <a:gd name="connsiteX70" fmla="*/ 459940 w 919880"/>
              <a:gd name="connsiteY70" fmla="*/ 31708 h 919880"/>
              <a:gd name="connsiteX71" fmla="*/ 459940 w 919880"/>
              <a:gd name="connsiteY71" fmla="*/ 0 h 919880"/>
              <a:gd name="connsiteX72" fmla="*/ 919880 w 919880"/>
              <a:gd name="connsiteY72" fmla="*/ 459940 h 919880"/>
              <a:gd name="connsiteX73" fmla="*/ 459940 w 919880"/>
              <a:gd name="connsiteY73" fmla="*/ 919880 h 919880"/>
              <a:gd name="connsiteX74" fmla="*/ 0 w 919880"/>
              <a:gd name="connsiteY74" fmla="*/ 459940 h 919880"/>
              <a:gd name="connsiteX75" fmla="*/ 459940 w 919880"/>
              <a:gd name="connsiteY75" fmla="*/ 0 h 919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919880" h="919880">
                <a:moveTo>
                  <a:pt x="757757" y="487602"/>
                </a:moveTo>
                <a:lnTo>
                  <a:pt x="808223" y="538069"/>
                </a:lnTo>
                <a:lnTo>
                  <a:pt x="586178" y="760113"/>
                </a:lnTo>
                <a:lnTo>
                  <a:pt x="447701" y="621635"/>
                </a:lnTo>
                <a:lnTo>
                  <a:pt x="496995" y="572342"/>
                </a:lnTo>
                <a:lnTo>
                  <a:pt x="585006" y="660353"/>
                </a:lnTo>
                <a:close/>
                <a:moveTo>
                  <a:pt x="589840" y="227342"/>
                </a:moveTo>
                <a:cubicBezTo>
                  <a:pt x="606133" y="226835"/>
                  <a:pt x="622898" y="231422"/>
                  <a:pt x="632127" y="243074"/>
                </a:cubicBezTo>
                <a:cubicBezTo>
                  <a:pt x="650881" y="266749"/>
                  <a:pt x="653677" y="316101"/>
                  <a:pt x="631691" y="349343"/>
                </a:cubicBezTo>
                <a:cubicBezTo>
                  <a:pt x="626728" y="357804"/>
                  <a:pt x="621055" y="362713"/>
                  <a:pt x="620942" y="374228"/>
                </a:cubicBezTo>
                <a:cubicBezTo>
                  <a:pt x="621979" y="384553"/>
                  <a:pt x="629612" y="392814"/>
                  <a:pt x="639641" y="394781"/>
                </a:cubicBezTo>
                <a:cubicBezTo>
                  <a:pt x="678150" y="410879"/>
                  <a:pt x="694116" y="430259"/>
                  <a:pt x="701265" y="453879"/>
                </a:cubicBezTo>
                <a:cubicBezTo>
                  <a:pt x="706148" y="465324"/>
                  <a:pt x="708498" y="478865"/>
                  <a:pt x="707536" y="494650"/>
                </a:cubicBezTo>
                <a:cubicBezTo>
                  <a:pt x="706301" y="501269"/>
                  <a:pt x="705065" y="502799"/>
                  <a:pt x="693263" y="512158"/>
                </a:cubicBezTo>
                <a:cubicBezTo>
                  <a:pt x="665761" y="532392"/>
                  <a:pt x="637357" y="542590"/>
                  <a:pt x="609852" y="545146"/>
                </a:cubicBezTo>
                <a:cubicBezTo>
                  <a:pt x="589061" y="489772"/>
                  <a:pt x="547045" y="456016"/>
                  <a:pt x="486453" y="440519"/>
                </a:cubicBezTo>
                <a:cubicBezTo>
                  <a:pt x="494940" y="422318"/>
                  <a:pt x="508630" y="407911"/>
                  <a:pt x="540040" y="394781"/>
                </a:cubicBezTo>
                <a:cubicBezTo>
                  <a:pt x="550068" y="392814"/>
                  <a:pt x="557700" y="384553"/>
                  <a:pt x="558739" y="374228"/>
                </a:cubicBezTo>
                <a:cubicBezTo>
                  <a:pt x="558625" y="362713"/>
                  <a:pt x="552952" y="357804"/>
                  <a:pt x="547989" y="349343"/>
                </a:cubicBezTo>
                <a:cubicBezTo>
                  <a:pt x="526004" y="316101"/>
                  <a:pt x="528799" y="266749"/>
                  <a:pt x="547553" y="243074"/>
                </a:cubicBezTo>
                <a:cubicBezTo>
                  <a:pt x="556783" y="231422"/>
                  <a:pt x="573548" y="226835"/>
                  <a:pt x="589840" y="227342"/>
                </a:cubicBezTo>
                <a:close/>
                <a:moveTo>
                  <a:pt x="229565" y="227342"/>
                </a:moveTo>
                <a:cubicBezTo>
                  <a:pt x="245858" y="226835"/>
                  <a:pt x="262623" y="231422"/>
                  <a:pt x="271852" y="243074"/>
                </a:cubicBezTo>
                <a:cubicBezTo>
                  <a:pt x="290606" y="266749"/>
                  <a:pt x="293402" y="316101"/>
                  <a:pt x="271417" y="349343"/>
                </a:cubicBezTo>
                <a:cubicBezTo>
                  <a:pt x="266454" y="357804"/>
                  <a:pt x="260780" y="362713"/>
                  <a:pt x="260667" y="374228"/>
                </a:cubicBezTo>
                <a:cubicBezTo>
                  <a:pt x="261705" y="384553"/>
                  <a:pt x="269337" y="392814"/>
                  <a:pt x="279366" y="394781"/>
                </a:cubicBezTo>
                <a:cubicBezTo>
                  <a:pt x="310775" y="407911"/>
                  <a:pt x="324466" y="422318"/>
                  <a:pt x="332953" y="440519"/>
                </a:cubicBezTo>
                <a:cubicBezTo>
                  <a:pt x="272360" y="456016"/>
                  <a:pt x="230344" y="489772"/>
                  <a:pt x="209554" y="545146"/>
                </a:cubicBezTo>
                <a:cubicBezTo>
                  <a:pt x="182049" y="542590"/>
                  <a:pt x="153644" y="532392"/>
                  <a:pt x="126143" y="512158"/>
                </a:cubicBezTo>
                <a:cubicBezTo>
                  <a:pt x="114340" y="502799"/>
                  <a:pt x="113105" y="501269"/>
                  <a:pt x="111869" y="494650"/>
                </a:cubicBezTo>
                <a:cubicBezTo>
                  <a:pt x="110907" y="478865"/>
                  <a:pt x="113257" y="465324"/>
                  <a:pt x="118140" y="453879"/>
                </a:cubicBezTo>
                <a:cubicBezTo>
                  <a:pt x="125289" y="430259"/>
                  <a:pt x="141256" y="410879"/>
                  <a:pt x="179765" y="394781"/>
                </a:cubicBezTo>
                <a:cubicBezTo>
                  <a:pt x="189794" y="392814"/>
                  <a:pt x="197426" y="384553"/>
                  <a:pt x="198463" y="374228"/>
                </a:cubicBezTo>
                <a:cubicBezTo>
                  <a:pt x="198351" y="362713"/>
                  <a:pt x="192677" y="357804"/>
                  <a:pt x="187714" y="349343"/>
                </a:cubicBezTo>
                <a:cubicBezTo>
                  <a:pt x="165729" y="316101"/>
                  <a:pt x="168525" y="266749"/>
                  <a:pt x="187279" y="243074"/>
                </a:cubicBezTo>
                <a:cubicBezTo>
                  <a:pt x="196508" y="231422"/>
                  <a:pt x="213272" y="226835"/>
                  <a:pt x="229565" y="227342"/>
                </a:cubicBezTo>
                <a:close/>
                <a:moveTo>
                  <a:pt x="409769" y="159834"/>
                </a:moveTo>
                <a:cubicBezTo>
                  <a:pt x="438103" y="158953"/>
                  <a:pt x="467258" y="166930"/>
                  <a:pt x="483308" y="187192"/>
                </a:cubicBezTo>
                <a:cubicBezTo>
                  <a:pt x="515922" y="228365"/>
                  <a:pt x="520783" y="314190"/>
                  <a:pt x="482550" y="371999"/>
                </a:cubicBezTo>
                <a:cubicBezTo>
                  <a:pt x="473919" y="386713"/>
                  <a:pt x="464053" y="395251"/>
                  <a:pt x="463856" y="415275"/>
                </a:cubicBezTo>
                <a:cubicBezTo>
                  <a:pt x="465660" y="433230"/>
                  <a:pt x="478934" y="447598"/>
                  <a:pt x="496374" y="451019"/>
                </a:cubicBezTo>
                <a:cubicBezTo>
                  <a:pt x="563343" y="479012"/>
                  <a:pt x="591110" y="512717"/>
                  <a:pt x="603542" y="553791"/>
                </a:cubicBezTo>
                <a:cubicBezTo>
                  <a:pt x="607788" y="563743"/>
                  <a:pt x="610932" y="574606"/>
                  <a:pt x="612806" y="586412"/>
                </a:cubicBezTo>
                <a:lnTo>
                  <a:pt x="613527" y="603224"/>
                </a:lnTo>
                <a:lnTo>
                  <a:pt x="584688" y="632062"/>
                </a:lnTo>
                <a:lnTo>
                  <a:pt x="498412" y="545787"/>
                </a:lnTo>
                <a:lnTo>
                  <a:pt x="436356" y="607843"/>
                </a:lnTo>
                <a:lnTo>
                  <a:pt x="418838" y="495304"/>
                </a:lnTo>
                <a:lnTo>
                  <a:pt x="443800" y="465298"/>
                </a:lnTo>
                <a:lnTo>
                  <a:pt x="375737" y="465298"/>
                </a:lnTo>
                <a:lnTo>
                  <a:pt x="399469" y="493825"/>
                </a:lnTo>
                <a:lnTo>
                  <a:pt x="378460" y="638175"/>
                </a:lnTo>
                <a:lnTo>
                  <a:pt x="408408" y="660635"/>
                </a:lnTo>
                <a:lnTo>
                  <a:pt x="441077" y="638175"/>
                </a:lnTo>
                <a:lnTo>
                  <a:pt x="440726" y="635915"/>
                </a:lnTo>
                <a:lnTo>
                  <a:pt x="504404" y="699593"/>
                </a:lnTo>
                <a:lnTo>
                  <a:pt x="499208" y="701728"/>
                </a:lnTo>
                <a:cubicBezTo>
                  <a:pt x="468974" y="711252"/>
                  <a:pt x="438903" y="715155"/>
                  <a:pt x="409769" y="714584"/>
                </a:cubicBezTo>
                <a:cubicBezTo>
                  <a:pt x="351499" y="715726"/>
                  <a:pt x="289487" y="698974"/>
                  <a:pt x="229912" y="655141"/>
                </a:cubicBezTo>
                <a:cubicBezTo>
                  <a:pt x="209387" y="638866"/>
                  <a:pt x="207238" y="636205"/>
                  <a:pt x="205089" y="624695"/>
                </a:cubicBezTo>
                <a:cubicBezTo>
                  <a:pt x="203419" y="597244"/>
                  <a:pt x="207503" y="573694"/>
                  <a:pt x="215996" y="553791"/>
                </a:cubicBezTo>
                <a:cubicBezTo>
                  <a:pt x="228427" y="512717"/>
                  <a:pt x="256195" y="479012"/>
                  <a:pt x="323163" y="451019"/>
                </a:cubicBezTo>
                <a:cubicBezTo>
                  <a:pt x="340604" y="447598"/>
                  <a:pt x="353877" y="433230"/>
                  <a:pt x="355682" y="415275"/>
                </a:cubicBezTo>
                <a:cubicBezTo>
                  <a:pt x="355485" y="395251"/>
                  <a:pt x="345619" y="386713"/>
                  <a:pt x="336987" y="371999"/>
                </a:cubicBezTo>
                <a:cubicBezTo>
                  <a:pt x="298755" y="314190"/>
                  <a:pt x="303616" y="228365"/>
                  <a:pt x="336230" y="187192"/>
                </a:cubicBezTo>
                <a:cubicBezTo>
                  <a:pt x="352280" y="166930"/>
                  <a:pt x="381435" y="158953"/>
                  <a:pt x="409769" y="159834"/>
                </a:cubicBezTo>
                <a:close/>
                <a:moveTo>
                  <a:pt x="459940" y="31708"/>
                </a:moveTo>
                <a:cubicBezTo>
                  <a:pt x="223434" y="31708"/>
                  <a:pt x="31708" y="223434"/>
                  <a:pt x="31708" y="459940"/>
                </a:cubicBezTo>
                <a:cubicBezTo>
                  <a:pt x="31708" y="696446"/>
                  <a:pt x="223434" y="888172"/>
                  <a:pt x="459940" y="888172"/>
                </a:cubicBezTo>
                <a:cubicBezTo>
                  <a:pt x="696446" y="888172"/>
                  <a:pt x="888172" y="696446"/>
                  <a:pt x="888172" y="459940"/>
                </a:cubicBezTo>
                <a:cubicBezTo>
                  <a:pt x="888172" y="223434"/>
                  <a:pt x="696446" y="31708"/>
                  <a:pt x="459940" y="31708"/>
                </a:cubicBezTo>
                <a:close/>
                <a:moveTo>
                  <a:pt x="459940" y="0"/>
                </a:moveTo>
                <a:cubicBezTo>
                  <a:pt x="713958" y="0"/>
                  <a:pt x="919880" y="205922"/>
                  <a:pt x="919880" y="459940"/>
                </a:cubicBezTo>
                <a:cubicBezTo>
                  <a:pt x="919880" y="713958"/>
                  <a:pt x="713958" y="919880"/>
                  <a:pt x="459940" y="919880"/>
                </a:cubicBezTo>
                <a:cubicBezTo>
                  <a:pt x="205922" y="919880"/>
                  <a:pt x="0" y="713958"/>
                  <a:pt x="0" y="459940"/>
                </a:cubicBezTo>
                <a:cubicBezTo>
                  <a:pt x="0" y="205922"/>
                  <a:pt x="205922" y="0"/>
                  <a:pt x="45994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32" tIns="67232" rIns="67232" bIns="67232" numCol="1" spcCol="0" rtlCol="0" fromWordArt="0" anchor="b" anchorCtr="0" forceAA="0" compatLnSpc="1">
            <a:prstTxWarp prst="textNoShape">
              <a:avLst/>
            </a:prstTxWarp>
            <a:noAutofit/>
          </a:bodyPr>
          <a:lstStyle/>
          <a:p>
            <a:pPr algn="r" defTabSz="685800"/>
            <a:endParaRPr lang="en-US" sz="882" dirty="0">
              <a:solidFill>
                <a:srgbClr val="FFFFFF"/>
              </a:solidFill>
            </a:endParaRPr>
          </a:p>
        </p:txBody>
      </p:sp>
      <p:sp>
        <p:nvSpPr>
          <p:cNvPr id="67" name="Rectangle 66"/>
          <p:cNvSpPr/>
          <p:nvPr/>
        </p:nvSpPr>
        <p:spPr bwMode="auto">
          <a:xfrm>
            <a:off x="1175878" y="3315508"/>
            <a:ext cx="7428626" cy="791741"/>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78" tIns="33616" rIns="67232" bIns="33616" numCol="1" spcCol="0" rtlCol="0" fromWordArt="0" anchor="ctr" anchorCtr="0" forceAA="0" compatLnSpc="1">
            <a:prstTxWarp prst="textNoShape">
              <a:avLst/>
            </a:prstTxWarp>
            <a:noAutofit/>
          </a:bodyPr>
          <a:lstStyle/>
          <a:p>
            <a:pPr defTabSz="685577" fontAlgn="base">
              <a:spcBef>
                <a:spcPct val="0"/>
              </a:spcBef>
              <a:spcAft>
                <a:spcPct val="0"/>
              </a:spcAft>
            </a:pPr>
            <a:r>
              <a:rPr lang="zh-TW" altLang="en-US" dirty="0">
                <a:solidFill>
                  <a:srgbClr val="505050"/>
                </a:solidFill>
                <a:latin typeface="Segoe UI Light" panose="020B0502040204020203" pitchFamily="34" charset="0"/>
                <a:ea typeface="Segoe UI" pitchFamily="34" charset="0"/>
                <a:cs typeface="Segoe UI Light" panose="020B0502040204020203" pitchFamily="34" charset="0"/>
              </a:rPr>
              <a:t>彈性佈署 </a:t>
            </a:r>
            <a:r>
              <a:rPr lang="en-US" altLang="zh-TW" dirty="0">
                <a:solidFill>
                  <a:srgbClr val="505050"/>
                </a:solidFill>
                <a:latin typeface="Segoe UI Light" panose="020B0502040204020203" pitchFamily="34" charset="0"/>
                <a:ea typeface="Segoe UI" pitchFamily="34" charset="0"/>
                <a:cs typeface="Segoe UI Light" panose="020B0502040204020203" pitchFamily="34" charset="0"/>
              </a:rPr>
              <a:t>Windows</a:t>
            </a:r>
            <a:endParaRPr lang="en-IN" dirty="0">
              <a:solidFill>
                <a:srgbClr val="505050"/>
              </a:solidFill>
              <a:latin typeface="Segoe UI Light" panose="020B0502040204020203" pitchFamily="34" charset="0"/>
              <a:ea typeface="Segoe UI" pitchFamily="34" charset="0"/>
              <a:cs typeface="Segoe UI Light" panose="020B0502040204020203" pitchFamily="34" charset="0"/>
            </a:endParaRPr>
          </a:p>
        </p:txBody>
      </p:sp>
      <p:sp>
        <p:nvSpPr>
          <p:cNvPr id="34" name="Freeform 33"/>
          <p:cNvSpPr/>
          <p:nvPr/>
        </p:nvSpPr>
        <p:spPr bwMode="auto">
          <a:xfrm>
            <a:off x="524767" y="3455896"/>
            <a:ext cx="510962" cy="510962"/>
          </a:xfrm>
          <a:custGeom>
            <a:avLst/>
            <a:gdLst>
              <a:gd name="connsiteX0" fmla="*/ 479207 w 919880"/>
              <a:gd name="connsiteY0" fmla="*/ 108076 h 919879"/>
              <a:gd name="connsiteX1" fmla="*/ 576247 w 919880"/>
              <a:gd name="connsiteY1" fmla="*/ 257429 h 919879"/>
              <a:gd name="connsiteX2" fmla="*/ 527727 w 919880"/>
              <a:gd name="connsiteY2" fmla="*/ 257429 h 919879"/>
              <a:gd name="connsiteX3" fmla="*/ 527727 w 919880"/>
              <a:gd name="connsiteY3" fmla="*/ 418898 h 919879"/>
              <a:gd name="connsiteX4" fmla="*/ 528171 w 919880"/>
              <a:gd name="connsiteY4" fmla="*/ 418515 h 919879"/>
              <a:gd name="connsiteX5" fmla="*/ 585153 w 919880"/>
              <a:gd name="connsiteY5" fmla="*/ 384589 h 919879"/>
              <a:gd name="connsiteX6" fmla="*/ 558394 w 919880"/>
              <a:gd name="connsiteY6" fmla="*/ 344115 h 919879"/>
              <a:gd name="connsiteX7" fmla="*/ 736497 w 919880"/>
              <a:gd name="connsiteY7" fmla="*/ 342696 h 919879"/>
              <a:gd name="connsiteX8" fmla="*/ 665428 w 919880"/>
              <a:gd name="connsiteY8" fmla="*/ 506012 h 919879"/>
              <a:gd name="connsiteX9" fmla="*/ 631040 w 919880"/>
              <a:gd name="connsiteY9" fmla="*/ 452824 h 919879"/>
              <a:gd name="connsiteX10" fmla="*/ 527739 w 919880"/>
              <a:gd name="connsiteY10" fmla="*/ 586371 h 919879"/>
              <a:gd name="connsiteX11" fmla="*/ 527726 w 919880"/>
              <a:gd name="connsiteY11" fmla="*/ 586989 h 919879"/>
              <a:gd name="connsiteX12" fmla="*/ 527727 w 919880"/>
              <a:gd name="connsiteY12" fmla="*/ 809128 h 919879"/>
              <a:gd name="connsiteX13" fmla="*/ 430686 w 919880"/>
              <a:gd name="connsiteY13" fmla="*/ 809128 h 919879"/>
              <a:gd name="connsiteX14" fmla="*/ 430686 w 919880"/>
              <a:gd name="connsiteY14" fmla="*/ 599858 h 919879"/>
              <a:gd name="connsiteX15" fmla="*/ 408614 w 919880"/>
              <a:gd name="connsiteY15" fmla="*/ 586688 h 919879"/>
              <a:gd name="connsiteX16" fmla="*/ 336215 w 919880"/>
              <a:gd name="connsiteY16" fmla="*/ 581355 h 919879"/>
              <a:gd name="connsiteX17" fmla="*/ 320449 w 919880"/>
              <a:gd name="connsiteY17" fmla="*/ 642698 h 919879"/>
              <a:gd name="connsiteX18" fmla="*/ 201302 w 919880"/>
              <a:gd name="connsiteY18" fmla="*/ 510310 h 919879"/>
              <a:gd name="connsiteX19" fmla="*/ 370681 w 919880"/>
              <a:gd name="connsiteY19" fmla="*/ 455232 h 919879"/>
              <a:gd name="connsiteX20" fmla="*/ 358123 w 919880"/>
              <a:gd name="connsiteY20" fmla="*/ 502099 h 919879"/>
              <a:gd name="connsiteX21" fmla="*/ 417462 w 919880"/>
              <a:gd name="connsiteY21" fmla="*/ 516577 h 919879"/>
              <a:gd name="connsiteX22" fmla="*/ 430686 w 919880"/>
              <a:gd name="connsiteY22" fmla="*/ 524020 h 919879"/>
              <a:gd name="connsiteX23" fmla="*/ 430687 w 919880"/>
              <a:gd name="connsiteY23" fmla="*/ 257428 h 919879"/>
              <a:gd name="connsiteX24" fmla="*/ 382166 w 919880"/>
              <a:gd name="connsiteY24" fmla="*/ 257428 h 919879"/>
              <a:gd name="connsiteX25" fmla="*/ 459941 w 919880"/>
              <a:gd name="connsiteY25" fmla="*/ 31707 h 919879"/>
              <a:gd name="connsiteX26" fmla="*/ 31708 w 919880"/>
              <a:gd name="connsiteY26" fmla="*/ 459940 h 919879"/>
              <a:gd name="connsiteX27" fmla="*/ 459941 w 919880"/>
              <a:gd name="connsiteY27" fmla="*/ 888172 h 919879"/>
              <a:gd name="connsiteX28" fmla="*/ 888173 w 919880"/>
              <a:gd name="connsiteY28" fmla="*/ 459940 h 919879"/>
              <a:gd name="connsiteX29" fmla="*/ 459941 w 919880"/>
              <a:gd name="connsiteY29" fmla="*/ 31707 h 919879"/>
              <a:gd name="connsiteX30" fmla="*/ 459940 w 919880"/>
              <a:gd name="connsiteY30" fmla="*/ 0 h 919879"/>
              <a:gd name="connsiteX31" fmla="*/ 919880 w 919880"/>
              <a:gd name="connsiteY31" fmla="*/ 459939 h 919879"/>
              <a:gd name="connsiteX32" fmla="*/ 459941 w 919880"/>
              <a:gd name="connsiteY32" fmla="*/ 919879 h 919879"/>
              <a:gd name="connsiteX33" fmla="*/ 0 w 919880"/>
              <a:gd name="connsiteY33" fmla="*/ 459940 h 919879"/>
              <a:gd name="connsiteX34" fmla="*/ 459940 w 919880"/>
              <a:gd name="connsiteY34" fmla="*/ 0 h 919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19880" h="919879">
                <a:moveTo>
                  <a:pt x="479207" y="108076"/>
                </a:moveTo>
                <a:lnTo>
                  <a:pt x="576247" y="257429"/>
                </a:lnTo>
                <a:lnTo>
                  <a:pt x="527727" y="257429"/>
                </a:lnTo>
                <a:lnTo>
                  <a:pt x="527727" y="418898"/>
                </a:lnTo>
                <a:lnTo>
                  <a:pt x="528171" y="418515"/>
                </a:lnTo>
                <a:cubicBezTo>
                  <a:pt x="543330" y="407111"/>
                  <a:pt x="562007" y="396080"/>
                  <a:pt x="585153" y="384589"/>
                </a:cubicBezTo>
                <a:lnTo>
                  <a:pt x="558394" y="344115"/>
                </a:lnTo>
                <a:lnTo>
                  <a:pt x="736497" y="342696"/>
                </a:lnTo>
                <a:lnTo>
                  <a:pt x="665428" y="506012"/>
                </a:lnTo>
                <a:lnTo>
                  <a:pt x="631040" y="452824"/>
                </a:lnTo>
                <a:cubicBezTo>
                  <a:pt x="539808" y="469698"/>
                  <a:pt x="529312" y="522786"/>
                  <a:pt x="527739" y="586371"/>
                </a:cubicBezTo>
                <a:lnTo>
                  <a:pt x="527726" y="586989"/>
                </a:lnTo>
                <a:lnTo>
                  <a:pt x="527727" y="809128"/>
                </a:lnTo>
                <a:lnTo>
                  <a:pt x="430686" y="809128"/>
                </a:lnTo>
                <a:lnTo>
                  <a:pt x="430686" y="599858"/>
                </a:lnTo>
                <a:lnTo>
                  <a:pt x="408614" y="586688"/>
                </a:lnTo>
                <a:cubicBezTo>
                  <a:pt x="390235" y="579416"/>
                  <a:pt x="366842" y="577056"/>
                  <a:pt x="336215" y="581355"/>
                </a:cubicBezTo>
                <a:lnTo>
                  <a:pt x="320449" y="642698"/>
                </a:lnTo>
                <a:lnTo>
                  <a:pt x="201302" y="510310"/>
                </a:lnTo>
                <a:lnTo>
                  <a:pt x="370681" y="455232"/>
                </a:lnTo>
                <a:lnTo>
                  <a:pt x="358123" y="502099"/>
                </a:lnTo>
                <a:cubicBezTo>
                  <a:pt x="383716" y="505665"/>
                  <a:pt x="402849" y="510344"/>
                  <a:pt x="417462" y="516577"/>
                </a:cubicBezTo>
                <a:lnTo>
                  <a:pt x="430686" y="524020"/>
                </a:lnTo>
                <a:lnTo>
                  <a:pt x="430687" y="257428"/>
                </a:lnTo>
                <a:lnTo>
                  <a:pt x="382166" y="257428"/>
                </a:lnTo>
                <a:close/>
                <a:moveTo>
                  <a:pt x="459941" y="31707"/>
                </a:moveTo>
                <a:cubicBezTo>
                  <a:pt x="223435" y="31707"/>
                  <a:pt x="31708" y="223434"/>
                  <a:pt x="31708" y="459940"/>
                </a:cubicBezTo>
                <a:cubicBezTo>
                  <a:pt x="31708" y="696445"/>
                  <a:pt x="223434" y="888172"/>
                  <a:pt x="459941" y="888172"/>
                </a:cubicBezTo>
                <a:cubicBezTo>
                  <a:pt x="696446" y="888172"/>
                  <a:pt x="888173" y="696446"/>
                  <a:pt x="888173" y="459940"/>
                </a:cubicBezTo>
                <a:cubicBezTo>
                  <a:pt x="888172" y="223434"/>
                  <a:pt x="696447" y="31707"/>
                  <a:pt x="459941" y="31707"/>
                </a:cubicBezTo>
                <a:close/>
                <a:moveTo>
                  <a:pt x="459940" y="0"/>
                </a:moveTo>
                <a:cubicBezTo>
                  <a:pt x="713959" y="0"/>
                  <a:pt x="919881" y="205922"/>
                  <a:pt x="919880" y="459939"/>
                </a:cubicBezTo>
                <a:cubicBezTo>
                  <a:pt x="919881" y="713958"/>
                  <a:pt x="713958" y="919880"/>
                  <a:pt x="459941" y="919879"/>
                </a:cubicBezTo>
                <a:cubicBezTo>
                  <a:pt x="205922" y="919880"/>
                  <a:pt x="0" y="713957"/>
                  <a:pt x="0" y="459940"/>
                </a:cubicBezTo>
                <a:cubicBezTo>
                  <a:pt x="0" y="205921"/>
                  <a:pt x="205923" y="-1"/>
                  <a:pt x="45994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60" name="Rectangle 59"/>
          <p:cNvSpPr/>
          <p:nvPr/>
        </p:nvSpPr>
        <p:spPr bwMode="auto">
          <a:xfrm>
            <a:off x="1175878" y="2439908"/>
            <a:ext cx="7428626" cy="791741"/>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78" tIns="33616" rIns="67232" bIns="33616" numCol="1" spcCol="0" rtlCol="0" fromWordArt="0" anchor="ctr" anchorCtr="0" forceAA="0" compatLnSpc="1">
            <a:prstTxWarp prst="textNoShape">
              <a:avLst/>
            </a:prstTxWarp>
            <a:noAutofit/>
          </a:bodyPr>
          <a:lstStyle/>
          <a:p>
            <a:pPr defTabSz="685577" fontAlgn="base">
              <a:spcBef>
                <a:spcPct val="0"/>
              </a:spcBef>
              <a:spcAft>
                <a:spcPct val="0"/>
              </a:spcAft>
            </a:pPr>
            <a:r>
              <a:rPr lang="en-IN" dirty="0">
                <a:solidFill>
                  <a:srgbClr val="505050"/>
                </a:solidFill>
                <a:latin typeface="Segoe UI Light" panose="020B0502040204020203" pitchFamily="34" charset="0"/>
                <a:ea typeface="Segoe UI" pitchFamily="34" charset="0"/>
                <a:cs typeface="Segoe UI Light" panose="020B0502040204020203" pitchFamily="34" charset="0"/>
              </a:rPr>
              <a:t>Windows </a:t>
            </a:r>
            <a:r>
              <a:rPr lang="zh-TW" altLang="en-US" dirty="0">
                <a:solidFill>
                  <a:srgbClr val="505050"/>
                </a:solidFill>
                <a:latin typeface="Segoe UI Light" panose="020B0502040204020203" pitchFamily="34" charset="0"/>
                <a:ea typeface="Segoe UI" pitchFamily="34" charset="0"/>
                <a:cs typeface="Segoe UI Light" panose="020B0502040204020203" pitchFamily="34" charset="0"/>
              </a:rPr>
              <a:t>企業版可跨裝置</a:t>
            </a:r>
            <a:endParaRPr lang="en-IN" dirty="0">
              <a:solidFill>
                <a:srgbClr val="505050"/>
              </a:solidFill>
              <a:latin typeface="Segoe UI Light" panose="020B0502040204020203" pitchFamily="34" charset="0"/>
              <a:ea typeface="Segoe UI" pitchFamily="34" charset="0"/>
              <a:cs typeface="Segoe UI Light" panose="020B0502040204020203" pitchFamily="34" charset="0"/>
            </a:endParaRPr>
          </a:p>
        </p:txBody>
      </p:sp>
      <p:grpSp>
        <p:nvGrpSpPr>
          <p:cNvPr id="3" name="Group 2"/>
          <p:cNvGrpSpPr/>
          <p:nvPr/>
        </p:nvGrpSpPr>
        <p:grpSpPr>
          <a:xfrm>
            <a:off x="551617" y="2619195"/>
            <a:ext cx="498682" cy="498682"/>
            <a:chOff x="4401528" y="2111790"/>
            <a:chExt cx="664909" cy="664909"/>
          </a:xfrm>
        </p:grpSpPr>
        <p:grpSp>
          <p:nvGrpSpPr>
            <p:cNvPr id="17" name="Group 16"/>
            <p:cNvGrpSpPr>
              <a:grpSpLocks noChangeAspect="1"/>
            </p:cNvGrpSpPr>
            <p:nvPr/>
          </p:nvGrpSpPr>
          <p:grpSpPr>
            <a:xfrm>
              <a:off x="4521316" y="2270049"/>
              <a:ext cx="426407" cy="304111"/>
              <a:chOff x="1919150" y="3044496"/>
              <a:chExt cx="666391" cy="475141"/>
            </a:xfrm>
          </p:grpSpPr>
          <p:sp>
            <p:nvSpPr>
              <p:cNvPr id="18" name="Round Same Side Corner Rectangle 11"/>
              <p:cNvSpPr/>
              <p:nvPr/>
            </p:nvSpPr>
            <p:spPr>
              <a:xfrm>
                <a:off x="1970085" y="3044496"/>
                <a:ext cx="564520" cy="361776"/>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685800">
                  <a:defRPr/>
                </a:pPr>
                <a:endParaRPr lang="en-US" sz="1350" kern="0" dirty="0">
                  <a:solidFill>
                    <a:sysClr val="window" lastClr="FFFFFF"/>
                  </a:solidFill>
                  <a:latin typeface="Segoe"/>
                </a:endParaRPr>
              </a:p>
            </p:txBody>
          </p:sp>
          <p:sp>
            <p:nvSpPr>
              <p:cNvPr id="19" name="Trapezoid 12"/>
              <p:cNvSpPr/>
              <p:nvPr/>
            </p:nvSpPr>
            <p:spPr>
              <a:xfrm>
                <a:off x="1919150" y="3408078"/>
                <a:ext cx="666391" cy="84127"/>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685800">
                  <a:defRPr/>
                </a:pPr>
                <a:endParaRPr lang="en-US" sz="1350" kern="0" dirty="0">
                  <a:solidFill>
                    <a:sysClr val="window" lastClr="FFFFFF"/>
                  </a:solidFill>
                  <a:latin typeface="Segoe"/>
                </a:endParaRPr>
              </a:p>
            </p:txBody>
          </p:sp>
          <p:sp>
            <p:nvSpPr>
              <p:cNvPr id="20" name="Rectangle 19"/>
              <p:cNvSpPr/>
              <p:nvPr/>
            </p:nvSpPr>
            <p:spPr>
              <a:xfrm>
                <a:off x="1919446" y="3492205"/>
                <a:ext cx="665798" cy="27432"/>
              </a:xfrm>
              <a:prstGeom prst="rect">
                <a:avLst/>
              </a:prstGeom>
              <a:solidFill>
                <a:srgbClr val="FFFFFF"/>
              </a:solidFill>
              <a:ln w="25400" cap="flat" cmpd="sng" algn="ctr">
                <a:noFill/>
                <a:prstDash val="solid"/>
              </a:ln>
              <a:effectLst/>
            </p:spPr>
            <p:txBody>
              <a:bodyPr rtlCol="0" anchor="ctr"/>
              <a:lstStyle/>
              <a:p>
                <a:pPr algn="ctr" defTabSz="685800">
                  <a:defRPr/>
                </a:pPr>
                <a:endParaRPr lang="en-US" sz="1350" kern="0" dirty="0">
                  <a:solidFill>
                    <a:sysClr val="window" lastClr="FFFFFF"/>
                  </a:solidFill>
                  <a:latin typeface="Segoe"/>
                </a:endParaRPr>
              </a:p>
            </p:txBody>
          </p:sp>
        </p:grpSp>
        <p:sp>
          <p:nvSpPr>
            <p:cNvPr id="21" name="Oval 20"/>
            <p:cNvSpPr/>
            <p:nvPr/>
          </p:nvSpPr>
          <p:spPr bwMode="auto">
            <a:xfrm>
              <a:off x="4401528" y="2111790"/>
              <a:ext cx="664909" cy="664909"/>
            </a:xfrm>
            <a:prstGeom prst="ellipse">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34290" bIns="68580" numCol="1" spcCol="0" rtlCol="0" fromWordArt="0" anchor="b" anchorCtr="0" forceAA="0" compatLnSpc="1">
              <a:prstTxWarp prst="textNoShape">
                <a:avLst/>
              </a:prstTxWarp>
              <a:noAutofit/>
            </a:bodyPr>
            <a:lstStyle/>
            <a:p>
              <a:pPr algn="ctr" defTabSz="685574" fontAlgn="base">
                <a:spcBef>
                  <a:spcPct val="0"/>
                </a:spcBef>
                <a:spcAft>
                  <a:spcPct val="0"/>
                </a:spcAft>
              </a:pPr>
              <a:endParaRPr lang="en-US" sz="1350" spc="-38" dirty="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bwMode="auto">
            <a:xfrm>
              <a:off x="4585958" y="2296940"/>
              <a:ext cx="64008" cy="640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34290" bIns="68580" numCol="1" spcCol="0" rtlCol="0" fromWordArt="0" anchor="b" anchorCtr="0" forceAA="0" compatLnSpc="1">
              <a:prstTxWarp prst="textNoShape">
                <a:avLst/>
              </a:prstTxWarp>
              <a:noAutofit/>
            </a:bodyPr>
            <a:lstStyle/>
            <a:p>
              <a:pPr algn="ctr" defTabSz="685574" fontAlgn="base">
                <a:spcBef>
                  <a:spcPct val="0"/>
                </a:spcBef>
                <a:spcAft>
                  <a:spcPct val="0"/>
                </a:spcAft>
              </a:pPr>
              <a:endParaRPr lang="en-US" sz="1350" spc="-38" dirty="0">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p:cNvSpPr/>
            <p:nvPr/>
          </p:nvSpPr>
          <p:spPr bwMode="auto">
            <a:xfrm>
              <a:off x="4586691" y="2391169"/>
              <a:ext cx="64008" cy="640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34290" bIns="68580" numCol="1" spcCol="0" rtlCol="0" fromWordArt="0" anchor="b" anchorCtr="0" forceAA="0" compatLnSpc="1">
              <a:prstTxWarp prst="textNoShape">
                <a:avLst/>
              </a:prstTxWarp>
              <a:noAutofit/>
            </a:bodyPr>
            <a:lstStyle/>
            <a:p>
              <a:pPr algn="ctr" defTabSz="685574" fontAlgn="base">
                <a:spcBef>
                  <a:spcPct val="0"/>
                </a:spcBef>
                <a:spcAft>
                  <a:spcPct val="0"/>
                </a:spcAft>
              </a:pPr>
              <a:endParaRPr lang="en-US" sz="1350" spc="-38" dirty="0">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p:cNvSpPr/>
            <p:nvPr/>
          </p:nvSpPr>
          <p:spPr bwMode="auto">
            <a:xfrm>
              <a:off x="4678711" y="2296940"/>
              <a:ext cx="64008" cy="640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34290" bIns="68580" numCol="1" spcCol="0" rtlCol="0" fromWordArt="0" anchor="b" anchorCtr="0" forceAA="0" compatLnSpc="1">
              <a:prstTxWarp prst="textNoShape">
                <a:avLst/>
              </a:prstTxWarp>
              <a:noAutofit/>
            </a:bodyPr>
            <a:lstStyle/>
            <a:p>
              <a:pPr algn="ctr" defTabSz="685574" fontAlgn="base">
                <a:spcBef>
                  <a:spcPct val="0"/>
                </a:spcBef>
                <a:spcAft>
                  <a:spcPct val="0"/>
                </a:spcAft>
              </a:pPr>
              <a:endParaRPr lang="en-US" sz="1350" spc="-38" dirty="0">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p:cNvSpPr/>
            <p:nvPr/>
          </p:nvSpPr>
          <p:spPr bwMode="auto">
            <a:xfrm>
              <a:off x="4771465" y="2296940"/>
              <a:ext cx="91440" cy="640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34290" bIns="68580" numCol="1" spcCol="0" rtlCol="0" fromWordArt="0" anchor="b" anchorCtr="0" forceAA="0" compatLnSpc="1">
              <a:prstTxWarp prst="textNoShape">
                <a:avLst/>
              </a:prstTxWarp>
              <a:noAutofit/>
            </a:bodyPr>
            <a:lstStyle/>
            <a:p>
              <a:pPr algn="ctr" defTabSz="685574" fontAlgn="base">
                <a:spcBef>
                  <a:spcPct val="0"/>
                </a:spcBef>
                <a:spcAft>
                  <a:spcPct val="0"/>
                </a:spcAft>
              </a:pPr>
              <a:endParaRPr lang="en-US" sz="1350" spc="-38"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p:nvSpPr>
          <p:spPr bwMode="auto">
            <a:xfrm>
              <a:off x="4769950" y="2392669"/>
              <a:ext cx="91440" cy="640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34290" bIns="68580" numCol="1" spcCol="0" rtlCol="0" fromWordArt="0" anchor="b" anchorCtr="0" forceAA="0" compatLnSpc="1">
              <a:prstTxWarp prst="textNoShape">
                <a:avLst/>
              </a:prstTxWarp>
              <a:noAutofit/>
            </a:bodyPr>
            <a:lstStyle/>
            <a:p>
              <a:pPr algn="ctr" defTabSz="685574" fontAlgn="base">
                <a:spcBef>
                  <a:spcPct val="0"/>
                </a:spcBef>
                <a:spcAft>
                  <a:spcPct val="0"/>
                </a:spcAft>
              </a:pPr>
              <a:endParaRPr lang="en-US" sz="1350" spc="-38" dirty="0">
                <a:gradFill>
                  <a:gsLst>
                    <a:gs pos="0">
                      <a:srgbClr val="FFFFFF"/>
                    </a:gs>
                    <a:gs pos="100000">
                      <a:srgbClr val="FFFFFF"/>
                    </a:gs>
                  </a:gsLst>
                  <a:lin ang="5400000" scaled="0"/>
                </a:gradFill>
                <a:ea typeface="Segoe UI" pitchFamily="34" charset="0"/>
                <a:cs typeface="Segoe UI" pitchFamily="34" charset="0"/>
              </a:endParaRPr>
            </a:p>
          </p:txBody>
        </p:sp>
      </p:grpSp>
      <p:sp>
        <p:nvSpPr>
          <p:cNvPr id="27" name="Rectangle 26"/>
          <p:cNvSpPr/>
          <p:nvPr/>
        </p:nvSpPr>
        <p:spPr>
          <a:xfrm>
            <a:off x="1" y="857616"/>
            <a:ext cx="3899448" cy="14791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471" dirty="0">
              <a:solidFill>
                <a:srgbClr val="FFFFFF"/>
              </a:solidFill>
            </a:endParaRPr>
          </a:p>
        </p:txBody>
      </p:sp>
      <p:sp>
        <p:nvSpPr>
          <p:cNvPr id="28" name="Text Placeholder 5"/>
          <p:cNvSpPr txBox="1">
            <a:spLocks/>
          </p:cNvSpPr>
          <p:nvPr/>
        </p:nvSpPr>
        <p:spPr>
          <a:xfrm>
            <a:off x="-106273" y="858194"/>
            <a:ext cx="3899448" cy="1516579"/>
          </a:xfrm>
          <a:prstGeom prst="rect">
            <a:avLst/>
          </a:prstGeom>
        </p:spPr>
        <p:txBody>
          <a:bodyPr vert="horz" wrap="square" lIns="111920" tIns="69950" rIns="111920" bIns="69950" rtlCol="0" anchor="t" anchorCtr="0">
            <a:spAutoFit/>
          </a:bodyPr>
          <a:lstStyle>
            <a:lvl1pPr marL="0" indent="0" algn="l" defTabSz="1218784" rtl="0" eaLnBrk="1" fontAlgn="base" latinLnBrk="0" hangingPunct="1">
              <a:lnSpc>
                <a:spcPct val="80000"/>
              </a:lnSpc>
              <a:spcBef>
                <a:spcPts val="0"/>
              </a:spcBef>
              <a:spcAft>
                <a:spcPts val="0"/>
              </a:spcAft>
              <a:buClr>
                <a:schemeClr val="accent1"/>
              </a:buClr>
              <a:buSzPct val="110000"/>
              <a:buFont typeface="Avenir LT Pro 45 Book" charset="0"/>
              <a:buNone/>
              <a:defRPr lang="en-US" sz="4706" b="0" kern="1200" cap="none" spc="-100" baseline="0" dirty="0" smtClean="0">
                <a:solidFill>
                  <a:schemeClr val="tx1">
                    <a:lumMod val="65000"/>
                    <a:lumOff val="35000"/>
                  </a:schemeClr>
                </a:solidFill>
                <a:latin typeface="Segoe UI Light" pitchFamily="34" charset="0"/>
                <a:ea typeface="+mj-ea"/>
                <a:cs typeface="+mj-cs"/>
              </a:defRPr>
            </a:lvl1pPr>
            <a:lvl2pPr marL="300462" indent="-300462" algn="l" defTabSz="1218784" rtl="0" eaLnBrk="1" latinLnBrk="0" hangingPunct="1">
              <a:lnSpc>
                <a:spcPct val="95000"/>
              </a:lnSpc>
              <a:spcBef>
                <a:spcPts val="0"/>
              </a:spcBef>
              <a:spcAft>
                <a:spcPts val="1600"/>
              </a:spcAft>
              <a:buClrTx/>
              <a:buFont typeface="Arial" pitchFamily="34" charset="0"/>
              <a:buChar char="•"/>
              <a:defRPr lang="en-US" sz="1863" b="0" kern="1200" dirty="0" smtClean="0">
                <a:solidFill>
                  <a:schemeClr val="bg1"/>
                </a:solidFill>
                <a:latin typeface="+mn-lt"/>
                <a:ea typeface="+mn-ea"/>
                <a:cs typeface="+mn-cs"/>
              </a:defRPr>
            </a:lvl2pPr>
            <a:lvl3pPr marL="609392" indent="-304698" algn="l" defTabSz="1218784" rtl="0" eaLnBrk="1" latinLnBrk="0" hangingPunct="1">
              <a:lnSpc>
                <a:spcPct val="95000"/>
              </a:lnSpc>
              <a:spcBef>
                <a:spcPts val="0"/>
              </a:spcBef>
              <a:spcAft>
                <a:spcPts val="1600"/>
              </a:spcAft>
              <a:buFont typeface="Lucida Grande"/>
              <a:buChar char="-"/>
              <a:defRPr lang="en-US" sz="1863" b="0" kern="1200" dirty="0" smtClean="0">
                <a:solidFill>
                  <a:schemeClr val="bg1"/>
                </a:solidFill>
                <a:latin typeface="+mn-lt"/>
                <a:ea typeface="+mn-ea"/>
                <a:cs typeface="+mn-cs"/>
              </a:defRPr>
            </a:lvl3pPr>
            <a:lvl4pPr marL="835799" indent="-226406" algn="l" defTabSz="1218784" rtl="0" eaLnBrk="1" latinLnBrk="0" hangingPunct="1">
              <a:lnSpc>
                <a:spcPct val="95000"/>
              </a:lnSpc>
              <a:spcBef>
                <a:spcPts val="0"/>
              </a:spcBef>
              <a:spcAft>
                <a:spcPts val="1600"/>
              </a:spcAft>
              <a:buFont typeface="Arial" pitchFamily="34" charset="0"/>
              <a:buChar char="•"/>
              <a:defRPr lang="en-US" sz="1863" b="0" kern="1200" dirty="0" smtClean="0">
                <a:solidFill>
                  <a:schemeClr val="bg1"/>
                </a:solidFill>
                <a:latin typeface="+mn-lt"/>
                <a:ea typeface="+mn-ea"/>
                <a:cs typeface="+mn-cs"/>
              </a:defRPr>
            </a:lvl4pPr>
            <a:lvl5pPr marL="1218784" indent="-304698" algn="l" defTabSz="1218784" rtl="0" eaLnBrk="1" latinLnBrk="0" hangingPunct="1">
              <a:lnSpc>
                <a:spcPct val="95000"/>
              </a:lnSpc>
              <a:spcBef>
                <a:spcPts val="0"/>
              </a:spcBef>
              <a:spcAft>
                <a:spcPts val="1600"/>
              </a:spcAft>
              <a:buFont typeface="Lucida Grande"/>
              <a:buChar char="-"/>
              <a:defRPr lang="en-US" sz="1863" b="0" kern="1200" dirty="0">
                <a:solidFill>
                  <a:schemeClr val="bg1"/>
                </a:solidFill>
                <a:latin typeface="+mn-lt"/>
                <a:ea typeface="+mn-ea"/>
                <a:cs typeface="+mn-cs"/>
              </a:defRPr>
            </a:lvl5pPr>
            <a:lvl6pPr marL="3351652" indent="-304698" algn="l" defTabSz="1218784" rtl="0" eaLnBrk="1" latinLnBrk="0" hangingPunct="1">
              <a:spcBef>
                <a:spcPct val="20000"/>
              </a:spcBef>
              <a:buFont typeface="Arial" pitchFamily="34" charset="0"/>
              <a:buChar char="•"/>
              <a:defRPr sz="2843" kern="1200">
                <a:solidFill>
                  <a:schemeClr val="tx1"/>
                </a:solidFill>
                <a:latin typeface="+mn-lt"/>
                <a:ea typeface="+mn-ea"/>
                <a:cs typeface="+mn-cs"/>
              </a:defRPr>
            </a:lvl6pPr>
            <a:lvl7pPr marL="3961044" indent="-304698" algn="l" defTabSz="1218784" rtl="0" eaLnBrk="1" latinLnBrk="0" hangingPunct="1">
              <a:spcBef>
                <a:spcPct val="20000"/>
              </a:spcBef>
              <a:buFont typeface="Arial" pitchFamily="34" charset="0"/>
              <a:buChar char="•"/>
              <a:defRPr sz="2843" kern="1200">
                <a:solidFill>
                  <a:schemeClr val="tx1"/>
                </a:solidFill>
                <a:latin typeface="+mn-lt"/>
                <a:ea typeface="+mn-ea"/>
                <a:cs typeface="+mn-cs"/>
              </a:defRPr>
            </a:lvl7pPr>
            <a:lvl8pPr marL="4570436" indent="-304698" algn="l" defTabSz="1218784" rtl="0" eaLnBrk="1" latinLnBrk="0" hangingPunct="1">
              <a:spcBef>
                <a:spcPct val="20000"/>
              </a:spcBef>
              <a:buFont typeface="Arial" pitchFamily="34" charset="0"/>
              <a:buChar char="•"/>
              <a:defRPr sz="2843" kern="1200">
                <a:solidFill>
                  <a:schemeClr val="tx1"/>
                </a:solidFill>
                <a:latin typeface="+mn-lt"/>
                <a:ea typeface="+mn-ea"/>
                <a:cs typeface="+mn-cs"/>
              </a:defRPr>
            </a:lvl8pPr>
            <a:lvl9pPr marL="5179827" indent="-304698" algn="l" defTabSz="1218784" rtl="0" eaLnBrk="1" latinLnBrk="0" hangingPunct="1">
              <a:spcBef>
                <a:spcPct val="20000"/>
              </a:spcBef>
              <a:buFont typeface="Arial" pitchFamily="34" charset="0"/>
              <a:buChar char="•"/>
              <a:defRPr sz="2843" kern="1200">
                <a:solidFill>
                  <a:schemeClr val="tx1"/>
                </a:solidFill>
                <a:latin typeface="+mn-lt"/>
                <a:ea typeface="+mn-ea"/>
                <a:cs typeface="+mn-cs"/>
              </a:defRPr>
            </a:lvl9pPr>
          </a:lstStyle>
          <a:p>
            <a:pPr algn="ctr">
              <a:lnSpc>
                <a:spcPct val="90000"/>
              </a:lnSpc>
              <a:buClr>
                <a:srgbClr val="00BCF2"/>
              </a:buClr>
            </a:pPr>
            <a:r>
              <a:rPr lang="en-US" altLang="zh-TW" sz="3530" b="1" dirty="0" smtClean="0">
                <a:solidFill>
                  <a:srgbClr val="FFFFFF"/>
                </a:solidFill>
                <a:latin typeface="微軟正黑體" panose="020B0604030504040204" pitchFamily="34" charset="-120"/>
                <a:ea typeface="微軟正黑體" panose="020B0604030504040204" pitchFamily="34" charset="-120"/>
              </a:rPr>
              <a:t>Windows</a:t>
            </a:r>
          </a:p>
          <a:p>
            <a:pPr algn="ctr">
              <a:lnSpc>
                <a:spcPct val="90000"/>
              </a:lnSpc>
              <a:buClr>
                <a:srgbClr val="00BCF2"/>
              </a:buClr>
            </a:pPr>
            <a:r>
              <a:rPr lang="zh-TW" altLang="en-US" sz="3200" b="1" dirty="0" smtClean="0">
                <a:solidFill>
                  <a:srgbClr val="FFFFFF"/>
                </a:solidFill>
                <a:latin typeface="微軟正黑體" panose="020B0604030504040204" pitchFamily="34" charset="-120"/>
                <a:ea typeface="微軟正黑體" panose="020B0604030504040204" pitchFamily="34" charset="-120"/>
              </a:rPr>
              <a:t>每一</a:t>
            </a:r>
            <a:r>
              <a:rPr lang="zh-TW" altLang="en-US" sz="3200" b="1" dirty="0">
                <a:solidFill>
                  <a:srgbClr val="FFFFFF"/>
                </a:solidFill>
                <a:latin typeface="微軟正黑體" panose="020B0604030504040204" pitchFamily="34" charset="-120"/>
                <a:ea typeface="微軟正黑體" panose="020B0604030504040204" pitchFamily="34" charset="-120"/>
              </a:rPr>
              <a:t>使用者授權</a:t>
            </a:r>
            <a:endParaRPr altLang="zh-TW" sz="3200" b="1" dirty="0">
              <a:solidFill>
                <a:srgbClr val="FFFFFF"/>
              </a:solidFill>
              <a:latin typeface="微軟正黑體" panose="020B0604030504040204" pitchFamily="34" charset="-120"/>
              <a:ea typeface="微軟正黑體" panose="020B0604030504040204" pitchFamily="34" charset="-120"/>
            </a:endParaRPr>
          </a:p>
          <a:p>
            <a:pPr algn="ctr">
              <a:lnSpc>
                <a:spcPct val="90000"/>
              </a:lnSpc>
              <a:buClr>
                <a:srgbClr val="00BCF2"/>
              </a:buClr>
            </a:pPr>
            <a:r>
              <a:rPr lang="zh-TW" altLang="en-US" sz="3200" b="1" dirty="0">
                <a:solidFill>
                  <a:srgbClr val="FFFFFF"/>
                </a:solidFill>
                <a:latin typeface="微軟正黑體" panose="020B0604030504040204" pitchFamily="34" charset="-120"/>
                <a:ea typeface="微軟正黑體" panose="020B0604030504040204" pitchFamily="34" charset="-120"/>
              </a:rPr>
              <a:t>模式</a:t>
            </a:r>
            <a:endParaRPr sz="3200" b="1" dirty="0">
              <a:solidFill>
                <a:srgbClr val="FFFFFF"/>
              </a:solidFill>
              <a:latin typeface="微軟正黑體" panose="020B0604030504040204" pitchFamily="34" charset="-120"/>
              <a:ea typeface="微軟正黑體" panose="020B0604030504040204" pitchFamily="34" charset="-120"/>
            </a:endParaRPr>
          </a:p>
        </p:txBody>
      </p:sp>
      <p:sp>
        <p:nvSpPr>
          <p:cNvPr id="5" name="Rectangle 4"/>
          <p:cNvSpPr/>
          <p:nvPr/>
        </p:nvSpPr>
        <p:spPr>
          <a:xfrm>
            <a:off x="4114800" y="1018894"/>
            <a:ext cx="4489704" cy="1106432"/>
          </a:xfrm>
          <a:prstGeom prst="rect">
            <a:avLst/>
          </a:prstGeom>
        </p:spPr>
        <p:txBody>
          <a:bodyPr wrap="square" lIns="0" tIns="0" rIns="0" bIns="0" anchor="ctr">
            <a:noAutofit/>
          </a:bodyPr>
          <a:lstStyle/>
          <a:p>
            <a:pPr defTabSz="685800"/>
            <a:r>
              <a:rPr lang="zh-TW" altLang="en-US" dirty="0">
                <a:solidFill>
                  <a:srgbClr val="000000">
                    <a:lumMod val="50000"/>
                  </a:srgbClr>
                </a:solidFill>
                <a:latin typeface="Segoe UI Light" panose="020B0502040204020203" pitchFamily="34" charset="0"/>
                <a:cs typeface="Segoe UI Light" panose="020B0502040204020203" pitchFamily="34" charset="0"/>
              </a:rPr>
              <a:t>每一使用者的 </a:t>
            </a:r>
            <a:r>
              <a:rPr lang="en-US" dirty="0">
                <a:solidFill>
                  <a:srgbClr val="000000">
                    <a:lumMod val="50000"/>
                  </a:srgbClr>
                </a:solidFill>
                <a:latin typeface="Segoe UI Light" panose="020B0502040204020203" pitchFamily="34" charset="0"/>
                <a:cs typeface="Segoe UI Light" panose="020B0502040204020203" pitchFamily="34" charset="0"/>
              </a:rPr>
              <a:t>Windows SA </a:t>
            </a:r>
            <a:r>
              <a:rPr lang="zh-TW" altLang="en-US" dirty="0">
                <a:solidFill>
                  <a:srgbClr val="000000">
                    <a:lumMod val="50000"/>
                  </a:srgbClr>
                </a:solidFill>
                <a:latin typeface="Segoe UI Light" panose="020B0502040204020203" pitchFamily="34" charset="0"/>
                <a:cs typeface="Segoe UI Light" panose="020B0502040204020203" pitchFamily="34" charset="0"/>
              </a:rPr>
              <a:t>和虛擬桌面存取 </a:t>
            </a:r>
            <a:r>
              <a:rPr lang="en-US" altLang="zh-TW" dirty="0">
                <a:solidFill>
                  <a:srgbClr val="000000">
                    <a:lumMod val="50000"/>
                  </a:srgbClr>
                </a:solidFill>
                <a:latin typeface="Segoe UI Light" panose="020B0502040204020203" pitchFamily="34" charset="0"/>
                <a:cs typeface="Segoe UI Light" panose="020B0502040204020203" pitchFamily="34" charset="0"/>
              </a:rPr>
              <a:t>(</a:t>
            </a:r>
            <a:r>
              <a:rPr lang="en-US" dirty="0">
                <a:solidFill>
                  <a:srgbClr val="000000">
                    <a:lumMod val="50000"/>
                  </a:srgbClr>
                </a:solidFill>
                <a:latin typeface="Segoe UI Light" panose="020B0502040204020203" pitchFamily="34" charset="0"/>
                <a:cs typeface="Segoe UI Light" panose="020B0502040204020203" pitchFamily="34" charset="0"/>
              </a:rPr>
              <a:t>VDA) </a:t>
            </a:r>
            <a:r>
              <a:rPr lang="zh-TW" altLang="en-US" dirty="0">
                <a:solidFill>
                  <a:srgbClr val="000000">
                    <a:lumMod val="50000"/>
                  </a:srgbClr>
                </a:solidFill>
                <a:latin typeface="Segoe UI Light" panose="020B0502040204020203" pitchFamily="34" charset="0"/>
                <a:cs typeface="Segoe UI Light" panose="020B0502040204020203" pitchFamily="34" charset="0"/>
              </a:rPr>
              <a:t>使用權以主要裝置為中心</a:t>
            </a:r>
            <a:endParaRPr lang="en-US" dirty="0">
              <a:solidFill>
                <a:srgbClr val="000000">
                  <a:lumMod val="50000"/>
                </a:srgb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088326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199595" y="733521"/>
            <a:ext cx="8734363" cy="622960"/>
          </a:xfrm>
        </p:spPr>
        <p:txBody>
          <a:bodyPr/>
          <a:lstStyle/>
          <a:p>
            <a:pPr marL="0" indent="0">
              <a:buNone/>
            </a:pPr>
            <a:r>
              <a:rPr lang="en-US" altLang="zh-TW" sz="3400" b="1" dirty="0">
                <a:solidFill>
                  <a:schemeClr val="bg1"/>
                </a:solidFill>
                <a:latin typeface="+mj-lt"/>
              </a:rPr>
              <a:t>Windows </a:t>
            </a:r>
            <a:r>
              <a:rPr lang="en-US" altLang="zh-TW" sz="3400" b="1" dirty="0" smtClean="0">
                <a:solidFill>
                  <a:schemeClr val="bg1"/>
                </a:solidFill>
                <a:latin typeface="+mj-lt"/>
              </a:rPr>
              <a:t>10 </a:t>
            </a:r>
            <a:r>
              <a:rPr lang="zh-TW" altLang="en-US" sz="3400" dirty="0" smtClean="0">
                <a:solidFill>
                  <a:schemeClr val="bg1"/>
                </a:solidFill>
              </a:rPr>
              <a:t>總結</a:t>
            </a:r>
            <a:endParaRPr lang="zh-TW" altLang="en-US" sz="3400" dirty="0">
              <a:solidFill>
                <a:schemeClr val="bg1"/>
              </a:solidFill>
            </a:endParaRPr>
          </a:p>
        </p:txBody>
      </p:sp>
      <p:sp>
        <p:nvSpPr>
          <p:cNvPr id="3" name="Rectangle 2"/>
          <p:cNvSpPr/>
          <p:nvPr/>
        </p:nvSpPr>
        <p:spPr>
          <a:xfrm>
            <a:off x="528177" y="2175387"/>
            <a:ext cx="8077200" cy="4247317"/>
          </a:xfrm>
          <a:prstGeom prst="rect">
            <a:avLst/>
          </a:prstGeom>
        </p:spPr>
        <p:txBody>
          <a:bodyPr wrap="square">
            <a:spAutoFit/>
          </a:bodyPr>
          <a:lstStyle/>
          <a:p>
            <a:pPr marL="342900" indent="-342900">
              <a:spcBef>
                <a:spcPts val="600"/>
              </a:spcBef>
              <a:spcAft>
                <a:spcPts val="600"/>
              </a:spcAft>
              <a:buFont typeface="+mj-lt"/>
              <a:buAutoNum type="arabicPeriod"/>
            </a:pPr>
            <a:r>
              <a:rPr lang="zh-TW" altLang="en-US" sz="2400" dirty="0" smtClean="0">
                <a:solidFill>
                  <a:prstClr val="black"/>
                </a:solidFill>
                <a:ea typeface="微軟正黑體" panose="020B0604030504040204" pitchFamily="34" charset="-120"/>
              </a:rPr>
              <a:t> </a:t>
            </a:r>
            <a:r>
              <a:rPr lang="en-US" altLang="zh-TW" sz="2400" b="0" dirty="0">
                <a:solidFill>
                  <a:prstClr val="black"/>
                </a:solidFill>
                <a:ea typeface="微軟正黑體" panose="020B0604030504040204" pitchFamily="34" charset="-120"/>
              </a:rPr>
              <a:t>Windows 7 SP1 </a:t>
            </a:r>
            <a:r>
              <a:rPr lang="zh-TW" altLang="en-US" sz="2400" b="0" dirty="0">
                <a:solidFill>
                  <a:prstClr val="black"/>
                </a:solidFill>
                <a:ea typeface="微軟正黑體" panose="020B0604030504040204" pitchFamily="34" charset="-120"/>
              </a:rPr>
              <a:t>及 </a:t>
            </a:r>
            <a:r>
              <a:rPr lang="en-US" altLang="zh-TW" sz="2400" b="0" dirty="0">
                <a:solidFill>
                  <a:prstClr val="black"/>
                </a:solidFill>
                <a:ea typeface="微軟正黑體" panose="020B0604030504040204" pitchFamily="34" charset="-120"/>
              </a:rPr>
              <a:t>Windows 8.1 Update </a:t>
            </a:r>
            <a:r>
              <a:rPr lang="zh-TW" altLang="en-US" sz="2400" b="0" dirty="0">
                <a:solidFill>
                  <a:prstClr val="black"/>
                </a:solidFill>
                <a:ea typeface="微軟正黑體" panose="020B0604030504040204" pitchFamily="34" charset="-120"/>
              </a:rPr>
              <a:t>的消費者</a:t>
            </a:r>
            <a:r>
              <a:rPr lang="en-US" altLang="zh-TW" sz="2400" b="0" dirty="0">
                <a:solidFill>
                  <a:prstClr val="black"/>
                </a:solidFill>
                <a:ea typeface="微軟正黑體" panose="020B0604030504040204" pitchFamily="34" charset="-120"/>
              </a:rPr>
              <a:t>, </a:t>
            </a:r>
            <a:r>
              <a:rPr lang="zh-TW" altLang="en-US" sz="2400" b="0" dirty="0">
                <a:solidFill>
                  <a:prstClr val="black"/>
                </a:solidFill>
                <a:ea typeface="微軟正黑體" panose="020B0604030504040204" pitchFamily="34" charset="-120"/>
              </a:rPr>
              <a:t>只要硬體規格許可</a:t>
            </a:r>
            <a:r>
              <a:rPr lang="en-US" altLang="zh-TW" sz="2400" b="0" dirty="0">
                <a:solidFill>
                  <a:prstClr val="black"/>
                </a:solidFill>
                <a:ea typeface="微軟正黑體" panose="020B0604030504040204" pitchFamily="34" charset="-120"/>
              </a:rPr>
              <a:t>, </a:t>
            </a:r>
            <a:r>
              <a:rPr lang="zh-TW" altLang="en-US" sz="2400" b="0" dirty="0">
                <a:solidFill>
                  <a:prstClr val="black"/>
                </a:solidFill>
                <a:ea typeface="微軟正黑體" panose="020B0604030504040204" pitchFamily="34" charset="-120"/>
              </a:rPr>
              <a:t>同時啟動 </a:t>
            </a:r>
            <a:r>
              <a:rPr lang="en-US" altLang="zh-TW" sz="2400" b="0" dirty="0">
                <a:solidFill>
                  <a:prstClr val="black"/>
                </a:solidFill>
                <a:ea typeface="微軟正黑體" panose="020B0604030504040204" pitchFamily="34" charset="-120"/>
              </a:rPr>
              <a:t>Windows Upgrade, </a:t>
            </a:r>
            <a:r>
              <a:rPr lang="zh-TW" altLang="en-US" sz="2400" b="0" dirty="0">
                <a:solidFill>
                  <a:prstClr val="black"/>
                </a:solidFill>
                <a:ea typeface="微軟正黑體" panose="020B0604030504040204" pitchFamily="34" charset="-120"/>
              </a:rPr>
              <a:t>在 </a:t>
            </a:r>
            <a:r>
              <a:rPr lang="en-US" altLang="zh-TW" sz="2400" b="0" dirty="0">
                <a:solidFill>
                  <a:prstClr val="black"/>
                </a:solidFill>
                <a:ea typeface="微軟正黑體" panose="020B0604030504040204" pitchFamily="34" charset="-120"/>
              </a:rPr>
              <a:t>Windows 10 </a:t>
            </a:r>
            <a:r>
              <a:rPr lang="zh-TW" altLang="en-US" sz="2400" b="0" dirty="0">
                <a:solidFill>
                  <a:prstClr val="black"/>
                </a:solidFill>
                <a:ea typeface="微軟正黑體" panose="020B0604030504040204" pitchFamily="34" charset="-120"/>
              </a:rPr>
              <a:t>正式上市起的一年內</a:t>
            </a:r>
            <a:r>
              <a:rPr lang="en-US" altLang="zh-TW" sz="2400" b="0" dirty="0">
                <a:solidFill>
                  <a:prstClr val="black"/>
                </a:solidFill>
                <a:ea typeface="微軟正黑體" panose="020B0604030504040204" pitchFamily="34" charset="-120"/>
              </a:rPr>
              <a:t>, </a:t>
            </a:r>
            <a:r>
              <a:rPr lang="zh-TW" altLang="en-US" sz="2400" b="0" dirty="0">
                <a:solidFill>
                  <a:prstClr val="black"/>
                </a:solidFill>
                <a:ea typeface="微軟正黑體" panose="020B0604030504040204" pitchFamily="34" charset="-120"/>
              </a:rPr>
              <a:t>可以免費升級到 </a:t>
            </a:r>
            <a:r>
              <a:rPr lang="en-US" altLang="zh-TW" sz="2400" b="0" dirty="0">
                <a:solidFill>
                  <a:prstClr val="black"/>
                </a:solidFill>
                <a:ea typeface="微軟正黑體" panose="020B0604030504040204" pitchFamily="34" charset="-120"/>
              </a:rPr>
              <a:t>Windows 10.</a:t>
            </a:r>
          </a:p>
          <a:p>
            <a:pPr marL="342900" indent="-342900">
              <a:spcBef>
                <a:spcPts val="600"/>
              </a:spcBef>
              <a:spcAft>
                <a:spcPts val="600"/>
              </a:spcAft>
              <a:buFont typeface="+mj-lt"/>
              <a:buAutoNum type="arabicPeriod"/>
            </a:pPr>
            <a:r>
              <a:rPr lang="zh-TW" altLang="en-US" sz="2400" b="0" dirty="0" smtClean="0">
                <a:solidFill>
                  <a:prstClr val="black"/>
                </a:solidFill>
                <a:ea typeface="微軟正黑體" panose="020B0604030504040204" pitchFamily="34" charset="-120"/>
              </a:rPr>
              <a:t>升級</a:t>
            </a:r>
            <a:r>
              <a:rPr lang="zh-TW" altLang="en-US" sz="2400" b="0" dirty="0">
                <a:solidFill>
                  <a:prstClr val="black"/>
                </a:solidFill>
                <a:ea typeface="微軟正黑體" panose="020B0604030504040204" pitchFamily="34" charset="-120"/>
              </a:rPr>
              <a:t>至 </a:t>
            </a:r>
            <a:r>
              <a:rPr lang="en-US" altLang="zh-TW" sz="2400" b="0" dirty="0">
                <a:solidFill>
                  <a:prstClr val="black"/>
                </a:solidFill>
                <a:ea typeface="微軟正黑體" panose="020B0604030504040204" pitchFamily="34" charset="-120"/>
              </a:rPr>
              <a:t>Windows 10</a:t>
            </a:r>
            <a:r>
              <a:rPr lang="zh-TW" altLang="en-US" sz="2400" b="0" dirty="0">
                <a:solidFill>
                  <a:prstClr val="black"/>
                </a:solidFill>
                <a:ea typeface="微軟正黑體" panose="020B0604030504040204" pitchFamily="34" charset="-120"/>
              </a:rPr>
              <a:t>之後</a:t>
            </a:r>
            <a:r>
              <a:rPr lang="en-US" altLang="zh-TW" sz="2400" b="0" dirty="0">
                <a:solidFill>
                  <a:prstClr val="black"/>
                </a:solidFill>
                <a:ea typeface="微軟正黑體" panose="020B0604030504040204" pitchFamily="34" charset="-120"/>
              </a:rPr>
              <a:t>, </a:t>
            </a:r>
            <a:r>
              <a:rPr lang="zh-TW" altLang="en-US" sz="2400" b="0" dirty="0">
                <a:solidFill>
                  <a:prstClr val="black"/>
                </a:solidFill>
                <a:ea typeface="微軟正黑體" panose="020B0604030504040204" pitchFamily="34" charset="-120"/>
              </a:rPr>
              <a:t>微軟就會一直提供該裝置 </a:t>
            </a:r>
            <a:r>
              <a:rPr lang="en-US" altLang="zh-TW" sz="2400" b="0" dirty="0">
                <a:solidFill>
                  <a:prstClr val="black"/>
                </a:solidFill>
                <a:ea typeface="微軟正黑體" panose="020B0604030504040204" pitchFamily="34" charset="-120"/>
              </a:rPr>
              <a:t>(</a:t>
            </a:r>
            <a:r>
              <a:rPr lang="zh-TW" altLang="en-US" sz="2400" b="0" dirty="0">
                <a:solidFill>
                  <a:prstClr val="black"/>
                </a:solidFill>
                <a:ea typeface="微軟正黑體" panose="020B0604030504040204" pitchFamily="34" charset="-120"/>
              </a:rPr>
              <a:t>電腦</a:t>
            </a:r>
            <a:r>
              <a:rPr lang="en-US" altLang="zh-TW" sz="2400" b="0" dirty="0">
                <a:solidFill>
                  <a:prstClr val="black"/>
                </a:solidFill>
                <a:ea typeface="微軟正黑體" panose="020B0604030504040204" pitchFamily="34" charset="-120"/>
              </a:rPr>
              <a:t>) </a:t>
            </a:r>
            <a:r>
              <a:rPr lang="zh-TW" altLang="en-US" sz="2400" b="0" dirty="0">
                <a:solidFill>
                  <a:prstClr val="black"/>
                </a:solidFill>
                <a:ea typeface="微軟正黑體" panose="020B0604030504040204" pitchFamily="34" charset="-120"/>
              </a:rPr>
              <a:t>更新</a:t>
            </a:r>
            <a:r>
              <a:rPr lang="en-US" altLang="zh-TW" sz="2400" b="0" dirty="0">
                <a:solidFill>
                  <a:prstClr val="black"/>
                </a:solidFill>
                <a:ea typeface="微軟正黑體" panose="020B0604030504040204" pitchFamily="34" charset="-120"/>
              </a:rPr>
              <a:t>, </a:t>
            </a:r>
            <a:r>
              <a:rPr lang="zh-TW" altLang="en-US" sz="2400" b="0" dirty="0">
                <a:solidFill>
                  <a:prstClr val="black"/>
                </a:solidFill>
                <a:ea typeface="微軟正黑體" panose="020B0604030504040204" pitchFamily="34" charset="-120"/>
              </a:rPr>
              <a:t>包括安全性更新與新功能</a:t>
            </a:r>
            <a:r>
              <a:rPr lang="en-US" altLang="zh-TW" sz="2400" b="0" dirty="0">
                <a:solidFill>
                  <a:prstClr val="black"/>
                </a:solidFill>
                <a:ea typeface="微軟正黑體" panose="020B0604030504040204" pitchFamily="34" charset="-120"/>
              </a:rPr>
              <a:t>, </a:t>
            </a:r>
            <a:r>
              <a:rPr lang="zh-TW" altLang="en-US" sz="2400" b="0" dirty="0">
                <a:solidFill>
                  <a:prstClr val="black"/>
                </a:solidFill>
                <a:ea typeface="微軟正黑體" panose="020B0604030504040204" pitchFamily="34" charset="-120"/>
              </a:rPr>
              <a:t>就像現在的智慧型手機一樣 </a:t>
            </a:r>
            <a:endParaRPr lang="en-US" altLang="zh-TW" sz="2400" b="0" dirty="0" smtClean="0">
              <a:solidFill>
                <a:prstClr val="black"/>
              </a:solidFill>
              <a:ea typeface="微軟正黑體" panose="020B0604030504040204" pitchFamily="34" charset="-120"/>
            </a:endParaRPr>
          </a:p>
          <a:p>
            <a:pPr marL="342900" indent="-342900">
              <a:spcBef>
                <a:spcPts val="600"/>
              </a:spcBef>
              <a:spcAft>
                <a:spcPts val="600"/>
              </a:spcAft>
              <a:buFont typeface="+mj-lt"/>
              <a:buAutoNum type="arabicPeriod"/>
            </a:pPr>
            <a:r>
              <a:rPr lang="en-US" altLang="zh-TW" sz="2400" b="0" dirty="0">
                <a:solidFill>
                  <a:prstClr val="black"/>
                </a:solidFill>
                <a:ea typeface="微軟正黑體" panose="020B0604030504040204" pitchFamily="34" charset="-120"/>
              </a:rPr>
              <a:t>Windows 7 Enterprise, Windows 8/8.1 Enterprise </a:t>
            </a:r>
            <a:r>
              <a:rPr lang="zh-TW" altLang="en-US" sz="2400" b="0" dirty="0">
                <a:solidFill>
                  <a:prstClr val="black"/>
                </a:solidFill>
                <a:ea typeface="微軟正黑體" panose="020B0604030504040204" pitchFamily="34" charset="-120"/>
              </a:rPr>
              <a:t>並不適用免費升級方案，唯有擁有有效</a:t>
            </a:r>
            <a:r>
              <a:rPr lang="en-US" altLang="zh-TW" sz="2400" b="0" dirty="0">
                <a:solidFill>
                  <a:prstClr val="black"/>
                </a:solidFill>
                <a:ea typeface="微軟正黑體" panose="020B0604030504040204" pitchFamily="34" charset="-120"/>
              </a:rPr>
              <a:t>SA</a:t>
            </a:r>
            <a:r>
              <a:rPr lang="zh-TW" altLang="en-US" sz="2400" b="0" dirty="0">
                <a:solidFill>
                  <a:prstClr val="black"/>
                </a:solidFill>
                <a:ea typeface="微軟正黑體" panose="020B0604030504040204" pitchFamily="34" charset="-120"/>
              </a:rPr>
              <a:t>的企業客戶，才可以升級至 </a:t>
            </a:r>
            <a:r>
              <a:rPr lang="en-US" altLang="zh-TW" sz="2400" b="0" dirty="0">
                <a:solidFill>
                  <a:prstClr val="black"/>
                </a:solidFill>
                <a:ea typeface="微軟正黑體" panose="020B0604030504040204" pitchFamily="34" charset="-120"/>
              </a:rPr>
              <a:t>Windows 10 Enterprise </a:t>
            </a:r>
            <a:r>
              <a:rPr lang="zh-TW" altLang="en-US" sz="2400" b="0" dirty="0">
                <a:solidFill>
                  <a:prstClr val="black"/>
                </a:solidFill>
                <a:ea typeface="微軟正黑體" panose="020B0604030504040204" pitchFamily="34" charset="-120"/>
              </a:rPr>
              <a:t>版本</a:t>
            </a:r>
            <a:r>
              <a:rPr lang="en-US" altLang="zh-TW" sz="2400" b="0" dirty="0" smtClean="0">
                <a:solidFill>
                  <a:prstClr val="black"/>
                </a:solidFill>
                <a:ea typeface="微軟正黑體" panose="020B0604030504040204" pitchFamily="34" charset="-120"/>
              </a:rPr>
              <a:t>.</a:t>
            </a:r>
          </a:p>
          <a:p>
            <a:pPr marL="342900" indent="-342900">
              <a:spcBef>
                <a:spcPts val="600"/>
              </a:spcBef>
              <a:spcAft>
                <a:spcPts val="600"/>
              </a:spcAft>
              <a:buFont typeface="+mj-lt"/>
              <a:buAutoNum type="arabicPeriod"/>
            </a:pPr>
            <a:r>
              <a:rPr lang="zh-TW" altLang="en-US" sz="2400" b="0" dirty="0" smtClean="0">
                <a:solidFill>
                  <a:prstClr val="black"/>
                </a:solidFill>
                <a:ea typeface="微軟正黑體" panose="020B0604030504040204" pitchFamily="34" charset="-120"/>
              </a:rPr>
              <a:t>正式上式日期</a:t>
            </a:r>
            <a:r>
              <a:rPr lang="en-US" altLang="zh-TW" sz="2400" b="0" dirty="0" smtClean="0">
                <a:solidFill>
                  <a:prstClr val="black"/>
                </a:solidFill>
                <a:ea typeface="微軟正黑體" panose="020B0604030504040204" pitchFamily="34" charset="-120"/>
              </a:rPr>
              <a:t>: 7/29 </a:t>
            </a:r>
            <a:r>
              <a:rPr lang="en-US" altLang="zh-TW" sz="2400" b="0" dirty="0">
                <a:solidFill>
                  <a:prstClr val="black"/>
                </a:solidFill>
                <a:ea typeface="微軟正黑體" panose="020B0604030504040204" pitchFamily="34" charset="-120"/>
              </a:rPr>
              <a:t>(</a:t>
            </a:r>
            <a:r>
              <a:rPr lang="zh-TW" altLang="en-US" sz="2400" b="0" dirty="0">
                <a:solidFill>
                  <a:prstClr val="black"/>
                </a:solidFill>
                <a:ea typeface="微軟正黑體" panose="020B0604030504040204" pitchFamily="34" charset="-120"/>
              </a:rPr>
              <a:t>美東時間</a:t>
            </a:r>
            <a:r>
              <a:rPr lang="en-US" altLang="zh-TW" sz="2400" b="0" dirty="0">
                <a:solidFill>
                  <a:prstClr val="black"/>
                </a:solidFill>
                <a:ea typeface="微軟正黑體" panose="020B0604030504040204" pitchFamily="34" charset="-120"/>
              </a:rPr>
              <a:t>)</a:t>
            </a:r>
            <a:endParaRPr lang="zh-TW" altLang="en-US" sz="2400" b="0" dirty="0">
              <a:solidFill>
                <a:prstClr val="black"/>
              </a:solidFill>
              <a:ea typeface="微軟正黑體" panose="020B0604030504040204" pitchFamily="34" charset="-120"/>
            </a:endParaRPr>
          </a:p>
        </p:txBody>
      </p:sp>
    </p:spTree>
    <p:extLst>
      <p:ext uri="{BB962C8B-B14F-4D97-AF65-F5344CB8AC3E}">
        <p14:creationId xmlns:p14="http://schemas.microsoft.com/office/powerpoint/2010/main" val="368904413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altLang="zh-TW" sz="4000" b="1" dirty="0" smtClean="0">
                <a:latin typeface="+mj-lt"/>
                <a:ea typeface="微軟正黑體" pitchFamily="34" charset="-120"/>
              </a:rPr>
              <a:t>Office</a:t>
            </a:r>
            <a:r>
              <a:rPr lang="en-US" altLang="zh-TW" sz="4000" dirty="0" smtClean="0">
                <a:latin typeface="微軟正黑體" pitchFamily="34" charset="-120"/>
                <a:ea typeface="微軟正黑體" pitchFamily="34" charset="-120"/>
              </a:rPr>
              <a:t> </a:t>
            </a:r>
            <a:r>
              <a:rPr lang="zh-TW" altLang="en-US" sz="4000" dirty="0" smtClean="0">
                <a:latin typeface="微軟正黑體" pitchFamily="34" charset="-120"/>
                <a:ea typeface="微軟正黑體" pitchFamily="34" charset="-120"/>
              </a:rPr>
              <a:t>授權模式</a:t>
            </a:r>
            <a:endParaRPr lang="en-US" sz="4000" dirty="0"/>
          </a:p>
        </p:txBody>
      </p:sp>
    </p:spTree>
    <p:extLst>
      <p:ext uri="{BB962C8B-B14F-4D97-AF65-F5344CB8AC3E}">
        <p14:creationId xmlns:p14="http://schemas.microsoft.com/office/powerpoint/2010/main" val="325114758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txBox="1">
            <a:spLocks noChangeArrowheads="1"/>
          </p:cNvSpPr>
          <p:nvPr/>
        </p:nvSpPr>
        <p:spPr>
          <a:xfrm>
            <a:off x="357158" y="1447800"/>
            <a:ext cx="8429684" cy="4972072"/>
          </a:xfrm>
          <a:prstGeom prst="rect">
            <a:avLst/>
          </a:prstGeom>
        </p:spPr>
        <p:txBody>
          <a:bodyPr vert="horz" lIns="91440" tIns="45720" rIns="91440" bIns="45720" rtlCol="0">
            <a:normAutofit fontScale="85000" lnSpcReduction="20000"/>
          </a:bodyPr>
          <a:lstStyle/>
          <a:p>
            <a:pPr marL="342900" lvl="0" indent="-342900">
              <a:lnSpc>
                <a:spcPct val="120000"/>
              </a:lnSpc>
              <a:spcBef>
                <a:spcPct val="20000"/>
              </a:spcBef>
              <a:buFont typeface="Arial" pitchFamily="34" charset="0"/>
              <a:buChar char="•"/>
              <a:defRPr/>
            </a:pPr>
            <a:r>
              <a:rPr kumimoji="0" lang="zh-TW" altLang="en-US" sz="2400" b="1" i="0" u="none" strike="noStrike" kern="1200" cap="none" spc="0" normalizeH="0" baseline="0" noProof="0" dirty="0" smtClean="0">
                <a:ln>
                  <a:noFill/>
                </a:ln>
                <a:effectLst/>
                <a:uLnTx/>
                <a:uFillTx/>
                <a:latin typeface="微軟正黑體" pitchFamily="34" charset="-120"/>
                <a:ea typeface="微軟正黑體" pitchFamily="34" charset="-120"/>
                <a:cs typeface="Arial" charset="0"/>
              </a:rPr>
              <a:t>授權模式：每一裝置使用權 </a:t>
            </a:r>
            <a:r>
              <a:rPr kumimoji="0" lang="en-US" altLang="zh-TW" sz="2400" b="1" i="0" u="none" strike="noStrike" kern="1200" cap="none" spc="0" normalizeH="0" baseline="0" noProof="0" dirty="0" smtClean="0">
                <a:ln>
                  <a:noFill/>
                </a:ln>
                <a:effectLst/>
                <a:uLnTx/>
                <a:uFillTx/>
                <a:latin typeface="微軟正黑體" pitchFamily="34" charset="-120"/>
                <a:ea typeface="微軟正黑體" pitchFamily="34" charset="-120"/>
                <a:cs typeface="Arial" charset="0"/>
              </a:rPr>
              <a:t>(Per Device)</a:t>
            </a:r>
          </a:p>
          <a:p>
            <a:pPr marL="800100" lvl="1" indent="-342900">
              <a:lnSpc>
                <a:spcPct val="120000"/>
              </a:lnSpc>
              <a:spcBef>
                <a:spcPct val="20000"/>
              </a:spcBef>
              <a:defRPr/>
            </a:pPr>
            <a:r>
              <a:rPr kumimoji="0" lang="zh-TW" altLang="en-US" sz="2400" b="0" i="0" u="none" strike="noStrike" kern="1200" cap="none" spc="0" normalizeH="0" baseline="0" noProof="0" dirty="0" smtClean="0">
                <a:ln>
                  <a:noFill/>
                </a:ln>
                <a:effectLst/>
                <a:uLnTx/>
                <a:uFillTx/>
                <a:latin typeface="微軟正黑體" pitchFamily="34" charset="-120"/>
                <a:ea typeface="微軟正黑體" pitchFamily="34" charset="-120"/>
                <a:cs typeface="Arial" charset="0"/>
              </a:rPr>
              <a:t>每一個使用應用軟體的終端裝置都需要一個授權</a:t>
            </a:r>
            <a:r>
              <a:rPr kumimoji="0" lang="en-US" altLang="zh-TW" sz="2400" b="0" i="0" u="none" strike="noStrike" kern="1200" cap="none" spc="0" normalizeH="0" baseline="0" noProof="0" dirty="0" smtClean="0">
                <a:ln>
                  <a:noFill/>
                </a:ln>
                <a:effectLst/>
                <a:uLnTx/>
                <a:uFillTx/>
                <a:latin typeface="微軟正黑體" pitchFamily="34" charset="-120"/>
                <a:ea typeface="微軟正黑體" pitchFamily="34" charset="-120"/>
                <a:cs typeface="Arial" charset="0"/>
              </a:rPr>
              <a:t>  (“Licensed Device”)</a:t>
            </a:r>
            <a:r>
              <a:rPr kumimoji="0" lang="zh-TW" altLang="en-US" sz="2400" b="0" i="0" u="none" strike="noStrike" kern="1200" cap="none" spc="0" normalizeH="0" baseline="0" noProof="0" dirty="0" smtClean="0">
                <a:ln>
                  <a:noFill/>
                </a:ln>
                <a:effectLst/>
                <a:uLnTx/>
                <a:uFillTx/>
                <a:latin typeface="微軟正黑體" pitchFamily="34" charset="-120"/>
                <a:ea typeface="微軟正黑體" pitchFamily="34" charset="-120"/>
                <a:cs typeface="Arial" charset="0"/>
              </a:rPr>
              <a:t>，</a:t>
            </a:r>
            <a:r>
              <a:rPr lang="zh-TW" altLang="en-US" sz="2400" dirty="0" smtClean="0">
                <a:latin typeface="微軟正黑體" pitchFamily="34" charset="-120"/>
                <a:ea typeface="微軟正黑體" pitchFamily="34" charset="-120"/>
              </a:rPr>
              <a:t>在授權裝置上可以安裝一份以上之拷貝。</a:t>
            </a:r>
            <a:endParaRPr kumimoji="0" lang="en-US" altLang="zh-TW" sz="2400" b="0" i="0" u="none" strike="noStrike" kern="1200" cap="none" spc="0" normalizeH="0" baseline="0" noProof="0" dirty="0" smtClean="0">
              <a:ln>
                <a:noFill/>
              </a:ln>
              <a:effectLst/>
              <a:uLnTx/>
              <a:uFillTx/>
              <a:latin typeface="微軟正黑體" pitchFamily="34" charset="-120"/>
              <a:ea typeface="微軟正黑體" pitchFamily="34" charset="-120"/>
              <a:cs typeface="Arial" charset="0"/>
            </a:endParaRPr>
          </a:p>
          <a:p>
            <a:pPr marL="342900" marR="0" lvl="0" indent="-342900" algn="l" defTabSz="914400" rtl="0" eaLnBrk="1" fontAlgn="auto" latinLnBrk="0" hangingPunct="1">
              <a:lnSpc>
                <a:spcPct val="120000"/>
              </a:lnSpc>
              <a:spcBef>
                <a:spcPct val="20000"/>
              </a:spcBef>
              <a:spcAft>
                <a:spcPts val="0"/>
              </a:spcAft>
              <a:buClrTx/>
              <a:buSzTx/>
              <a:buFont typeface="Arial" pitchFamily="34" charset="0"/>
              <a:buChar char="•"/>
              <a:tabLst/>
              <a:defRPr/>
            </a:pPr>
            <a:endParaRPr lang="en-US" altLang="zh-TW" sz="2400" dirty="0" smtClean="0">
              <a:latin typeface="微軟正黑體" pitchFamily="34" charset="-120"/>
              <a:ea typeface="微軟正黑體" pitchFamily="34" charset="-120"/>
              <a:cs typeface="Arial" charset="0"/>
            </a:endParaRPr>
          </a:p>
          <a:p>
            <a:pPr marL="342900" marR="0" lvl="0" indent="-342900" algn="l" defTabSz="914400" rtl="0" eaLnBrk="1" fontAlgn="auto" latinLnBrk="0" hangingPunct="1">
              <a:lnSpc>
                <a:spcPct val="120000"/>
              </a:lnSpc>
              <a:spcBef>
                <a:spcPct val="20000"/>
              </a:spcBef>
              <a:spcAft>
                <a:spcPts val="0"/>
              </a:spcAft>
              <a:buClrTx/>
              <a:buSzTx/>
              <a:buFont typeface="Arial" pitchFamily="34" charset="0"/>
              <a:buChar char="•"/>
              <a:tabLst/>
              <a:defRPr/>
            </a:pPr>
            <a:endParaRPr kumimoji="0" lang="en-US" altLang="zh-TW" sz="2400" b="0" i="0" u="none" strike="noStrike" kern="1200" cap="none" spc="0" normalizeH="0" baseline="0" noProof="0" dirty="0" smtClean="0">
              <a:ln>
                <a:noFill/>
              </a:ln>
              <a:effectLst/>
              <a:uLnTx/>
              <a:uFillTx/>
              <a:latin typeface="微軟正黑體" pitchFamily="34" charset="-120"/>
              <a:ea typeface="微軟正黑體" pitchFamily="34" charset="-120"/>
              <a:cs typeface="Arial" charset="0"/>
            </a:endParaRPr>
          </a:p>
          <a:p>
            <a:pPr marL="342900" marR="0" lvl="0" indent="-342900" algn="l" defTabSz="914400" rtl="0" eaLnBrk="1" fontAlgn="auto" latinLnBrk="0" hangingPunct="1">
              <a:lnSpc>
                <a:spcPct val="120000"/>
              </a:lnSpc>
              <a:spcBef>
                <a:spcPct val="20000"/>
              </a:spcBef>
              <a:spcAft>
                <a:spcPts val="0"/>
              </a:spcAft>
              <a:buClrTx/>
              <a:buSzTx/>
              <a:buFont typeface="Arial" pitchFamily="34" charset="0"/>
              <a:buChar char="•"/>
              <a:tabLst/>
              <a:defRPr/>
            </a:pPr>
            <a:endParaRPr kumimoji="0" lang="en-US" altLang="zh-TW" sz="2400" b="0" i="0" u="none" strike="noStrike" kern="1200" cap="none" spc="0" normalizeH="0" baseline="0" noProof="0" dirty="0" smtClean="0">
              <a:ln>
                <a:noFill/>
              </a:ln>
              <a:effectLst/>
              <a:uLnTx/>
              <a:uFillTx/>
              <a:latin typeface="微軟正黑體" pitchFamily="34" charset="-120"/>
              <a:ea typeface="微軟正黑體" pitchFamily="34" charset="-120"/>
              <a:cs typeface="Arial" charset="0"/>
            </a:endParaRPr>
          </a:p>
          <a:p>
            <a:pPr marL="342900" marR="0" lvl="0" indent="-342900" algn="l" defTabSz="914400" rtl="0" eaLnBrk="1" fontAlgn="auto" latinLnBrk="0" hangingPunct="1">
              <a:lnSpc>
                <a:spcPct val="120000"/>
              </a:lnSpc>
              <a:spcBef>
                <a:spcPct val="20000"/>
              </a:spcBef>
              <a:spcAft>
                <a:spcPts val="0"/>
              </a:spcAft>
              <a:buClrTx/>
              <a:buSzTx/>
              <a:buFont typeface="Arial" pitchFamily="34" charset="0"/>
              <a:buChar char="•"/>
              <a:tabLst/>
              <a:defRPr/>
            </a:pPr>
            <a:endParaRPr kumimoji="0" lang="en-US" altLang="zh-TW" sz="2400" b="0" i="0" u="none" strike="noStrike" kern="1200" cap="none" spc="0" normalizeH="0" baseline="0" noProof="0" dirty="0" smtClean="0">
              <a:ln>
                <a:noFill/>
              </a:ln>
              <a:effectLst/>
              <a:uLnTx/>
              <a:uFillTx/>
              <a:latin typeface="微軟正黑體" pitchFamily="34" charset="-120"/>
              <a:ea typeface="微軟正黑體" pitchFamily="34" charset="-120"/>
              <a:cs typeface="Arial" charset="0"/>
            </a:endParaRPr>
          </a:p>
          <a:p>
            <a:pPr marL="342900" marR="0" lvl="0" indent="-342900" algn="l" defTabSz="914400" rtl="0" eaLnBrk="1" fontAlgn="auto" latinLnBrk="0" hangingPunct="1">
              <a:lnSpc>
                <a:spcPct val="120000"/>
              </a:lnSpc>
              <a:spcBef>
                <a:spcPct val="20000"/>
              </a:spcBef>
              <a:spcAft>
                <a:spcPts val="0"/>
              </a:spcAft>
              <a:buClrTx/>
              <a:buSzTx/>
              <a:buFont typeface="Arial" pitchFamily="34" charset="0"/>
              <a:buChar char="•"/>
              <a:tabLst/>
              <a:defRPr/>
            </a:pPr>
            <a:endParaRPr kumimoji="0" lang="en-US" altLang="zh-TW" sz="2400" b="0" i="0" u="none" strike="noStrike" kern="1200" cap="none" spc="0" normalizeH="0" baseline="0" noProof="0" dirty="0" smtClean="0">
              <a:ln>
                <a:noFill/>
              </a:ln>
              <a:effectLst/>
              <a:uLnTx/>
              <a:uFillTx/>
              <a:latin typeface="微軟正黑體" pitchFamily="34" charset="-120"/>
              <a:ea typeface="微軟正黑體" pitchFamily="34" charset="-120"/>
              <a:cs typeface="Arial" charset="0"/>
            </a:endParaRPr>
          </a:p>
          <a:p>
            <a:pPr marL="342900" marR="0" lvl="0" indent="-342900" algn="l" defTabSz="914400" rtl="0" eaLnBrk="1" fontAlgn="auto" latinLnBrk="0" hangingPunct="1">
              <a:lnSpc>
                <a:spcPct val="120000"/>
              </a:lnSpc>
              <a:spcBef>
                <a:spcPct val="20000"/>
              </a:spcBef>
              <a:spcAft>
                <a:spcPts val="0"/>
              </a:spcAft>
              <a:buClrTx/>
              <a:buSzTx/>
              <a:buFont typeface="Arial" pitchFamily="34" charset="0"/>
              <a:buChar char="•"/>
              <a:tabLst/>
              <a:defRPr/>
            </a:pPr>
            <a:endParaRPr kumimoji="0" lang="en-US" altLang="zh-TW" sz="2400" b="0" i="0" u="none" strike="noStrike" kern="1200" cap="none" spc="0" normalizeH="0" baseline="0" noProof="0" dirty="0" smtClean="0">
              <a:ln>
                <a:noFill/>
              </a:ln>
              <a:effectLst/>
              <a:uLnTx/>
              <a:uFillTx/>
              <a:latin typeface="微軟正黑體" pitchFamily="34" charset="-120"/>
              <a:ea typeface="微軟正黑體" pitchFamily="34" charset="-120"/>
              <a:cs typeface="Arial" charset="0"/>
            </a:endParaRPr>
          </a:p>
          <a:p>
            <a:pPr marL="342900" marR="0" lvl="0" indent="-342900" algn="l" defTabSz="914400" rtl="0" eaLnBrk="1" fontAlgn="auto" latinLnBrk="0" hangingPunct="1">
              <a:lnSpc>
                <a:spcPct val="120000"/>
              </a:lnSpc>
              <a:spcBef>
                <a:spcPct val="20000"/>
              </a:spcBef>
              <a:spcAft>
                <a:spcPts val="0"/>
              </a:spcAft>
              <a:buClrTx/>
              <a:buSzTx/>
              <a:buFont typeface="Arial" pitchFamily="34" charset="0"/>
              <a:buChar char="•"/>
              <a:tabLst/>
              <a:defRPr/>
            </a:pPr>
            <a:r>
              <a:rPr kumimoji="0" lang="zh-TW" altLang="en-US" sz="2400" b="0" i="0" u="none" strike="noStrike" kern="1200" cap="none" spc="0" normalizeH="0" baseline="0" noProof="0" dirty="0" smtClean="0">
                <a:ln>
                  <a:noFill/>
                </a:ln>
                <a:effectLst/>
                <a:uLnTx/>
                <a:uFillTx/>
                <a:latin typeface="微軟正黑體" pitchFamily="34" charset="-120"/>
                <a:ea typeface="微軟正黑體" pitchFamily="34" charset="-120"/>
                <a:cs typeface="Arial" charset="0"/>
              </a:rPr>
              <a:t>額外條款</a:t>
            </a:r>
            <a:r>
              <a:rPr lang="zh-TW" altLang="en-US" sz="2400" dirty="0" smtClean="0">
                <a:latin typeface="微軟正黑體" pitchFamily="34" charset="-120"/>
                <a:ea typeface="微軟正黑體" pitchFamily="34" charset="-120"/>
                <a:cs typeface="Arial" charset="0"/>
              </a:rPr>
              <a:t>：</a:t>
            </a:r>
            <a:endParaRPr kumimoji="0" lang="en-US" altLang="zh-TW" sz="2400" b="0" i="0" u="none" strike="noStrike" kern="1200" cap="none" spc="0" normalizeH="0" baseline="0" noProof="0" dirty="0" smtClean="0">
              <a:ln>
                <a:noFill/>
              </a:ln>
              <a:effectLst/>
              <a:uLnTx/>
              <a:uFillTx/>
              <a:latin typeface="微軟正黑體" pitchFamily="34" charset="-120"/>
              <a:ea typeface="微軟正黑體" pitchFamily="34" charset="-120"/>
              <a:cs typeface="Arial" charset="0"/>
            </a:endParaRPr>
          </a:p>
          <a:p>
            <a:pPr marL="685800" lvl="1" indent="-228600">
              <a:lnSpc>
                <a:spcPct val="120000"/>
              </a:lnSpc>
              <a:spcBef>
                <a:spcPct val="20000"/>
              </a:spcBef>
              <a:buFont typeface="Arial" pitchFamily="34" charset="0"/>
              <a:buChar char="•"/>
              <a:defRPr/>
            </a:pPr>
            <a:r>
              <a:rPr kumimoji="0" lang="zh-TW" altLang="en-US" sz="2000" b="0" i="0" u="none" strike="noStrike" kern="1200" cap="none" spc="0" normalizeH="0" baseline="0" noProof="0" dirty="0" smtClean="0">
                <a:ln>
                  <a:noFill/>
                </a:ln>
                <a:effectLst/>
                <a:uLnTx/>
                <a:uFillTx/>
                <a:latin typeface="微軟正黑體" pitchFamily="34" charset="-120"/>
                <a:ea typeface="微軟正黑體" pitchFamily="34" charset="-120"/>
                <a:cs typeface="Arial" charset="0"/>
              </a:rPr>
              <a:t>安裝在網路伺服器上使用，需依</a:t>
            </a:r>
            <a:r>
              <a:rPr kumimoji="0" lang="zh-TW" altLang="en-US" sz="2000" b="1" i="0" u="sng" strike="noStrike" kern="1200" cap="none" spc="0" normalizeH="0" baseline="0" noProof="0" dirty="0" smtClean="0">
                <a:ln>
                  <a:noFill/>
                </a:ln>
                <a:effectLst/>
                <a:uLnTx/>
                <a:uFillTx/>
                <a:latin typeface="微軟正黑體" pitchFamily="34" charset="-120"/>
                <a:ea typeface="微軟正黑體" pitchFamily="34" charset="-120"/>
                <a:cs typeface="Arial" charset="0"/>
              </a:rPr>
              <a:t>使用的終端裝置數量</a:t>
            </a:r>
            <a:r>
              <a:rPr kumimoji="0" lang="zh-TW" altLang="en-US" sz="2000" b="0" i="0" u="none" strike="noStrike" kern="1200" cap="none" spc="0" normalizeH="0" baseline="0" noProof="0" dirty="0" smtClean="0">
                <a:ln>
                  <a:noFill/>
                </a:ln>
                <a:effectLst/>
                <a:uLnTx/>
                <a:uFillTx/>
                <a:latin typeface="微軟正黑體" pitchFamily="34" charset="-120"/>
                <a:ea typeface="微軟正黑體" pitchFamily="34" charset="-120"/>
                <a:cs typeface="Arial" charset="0"/>
              </a:rPr>
              <a:t>購買授權。</a:t>
            </a:r>
            <a:endParaRPr kumimoji="0" lang="en-US" altLang="zh-TW" sz="2000" b="0" i="0" u="none" strike="noStrike" kern="1200" cap="none" spc="0" normalizeH="0" baseline="0" noProof="0" dirty="0" smtClean="0">
              <a:ln>
                <a:noFill/>
              </a:ln>
              <a:effectLst/>
              <a:uLnTx/>
              <a:uFillTx/>
              <a:latin typeface="微軟正黑體" pitchFamily="34" charset="-120"/>
              <a:ea typeface="微軟正黑體" pitchFamily="34" charset="-120"/>
              <a:cs typeface="Arial" charset="0"/>
            </a:endParaRPr>
          </a:p>
          <a:p>
            <a:pPr marL="685800" lvl="1" indent="-228600">
              <a:lnSpc>
                <a:spcPct val="120000"/>
              </a:lnSpc>
              <a:spcBef>
                <a:spcPct val="20000"/>
              </a:spcBef>
              <a:buFont typeface="Arial" pitchFamily="34" charset="0"/>
              <a:buChar char="•"/>
              <a:defRPr/>
            </a:pPr>
            <a:r>
              <a:rPr lang="zh-CN" altLang="zh-TW" sz="2000" dirty="0" smtClean="0"/>
              <a:t>除非</a:t>
            </a:r>
            <a:r>
              <a:rPr lang="zh-TW" altLang="en-US" sz="2000" dirty="0"/>
              <a:t>是</a:t>
            </a:r>
            <a:r>
              <a:rPr lang="zh-CN" altLang="zh-TW" sz="2000" dirty="0" smtClean="0"/>
              <a:t>將</a:t>
            </a:r>
            <a:r>
              <a:rPr lang="zh-CN" altLang="zh-TW" sz="2000" dirty="0"/>
              <a:t>軟體授權為</a:t>
            </a:r>
            <a:r>
              <a:rPr lang="en-US" altLang="zh-TW" sz="2000" dirty="0"/>
              <a:t> Enterprise </a:t>
            </a:r>
            <a:r>
              <a:rPr lang="zh-CN" altLang="zh-TW" sz="2000" dirty="0"/>
              <a:t>產品或以全公司為基礎進行</a:t>
            </a:r>
            <a:r>
              <a:rPr lang="zh-CN" altLang="zh-TW" sz="2000" dirty="0" smtClean="0"/>
              <a:t>授權</a:t>
            </a:r>
            <a:r>
              <a:rPr lang="zh-TW" altLang="en-US" sz="2000" dirty="0" smtClean="0"/>
              <a:t>，否則客戶</a:t>
            </a:r>
            <a:r>
              <a:rPr kumimoji="0" lang="zh-TW" altLang="en-US" sz="2000" b="0" i="0" u="none" strike="noStrike" kern="1200" cap="none" spc="0" normalizeH="0" baseline="0" noProof="0" dirty="0" smtClean="0">
                <a:ln>
                  <a:noFill/>
                </a:ln>
                <a:effectLst/>
                <a:uLnTx/>
                <a:uFillTx/>
                <a:latin typeface="微軟正黑體" pitchFamily="34" charset="-120"/>
                <a:ea typeface="微軟正黑體" pitchFamily="34" charset="-120"/>
                <a:cs typeface="Arial" charset="0"/>
              </a:rPr>
              <a:t>可以安裝</a:t>
            </a:r>
            <a:r>
              <a:rPr kumimoji="0" lang="zh-TW" altLang="zh-TW" sz="2000" b="1" i="0" u="sng" strike="noStrike" kern="1200" cap="none" spc="0" normalizeH="0" baseline="0" noProof="0" dirty="0" smtClean="0">
                <a:ln>
                  <a:noFill/>
                </a:ln>
                <a:effectLst/>
                <a:uLnTx/>
                <a:uFillTx/>
                <a:latin typeface="微軟正黑體" pitchFamily="34" charset="-120"/>
                <a:ea typeface="微軟正黑體" pitchFamily="34" charset="-120"/>
                <a:cs typeface="Arial" charset="0"/>
              </a:rPr>
              <a:t>第二份拷貝</a:t>
            </a:r>
            <a:r>
              <a:rPr kumimoji="0" lang="zh-TW" altLang="zh-TW" sz="2000" b="0" i="0" u="none" strike="noStrike" kern="1200" cap="none" spc="0" normalizeH="0" baseline="0" noProof="0" dirty="0" smtClean="0">
                <a:ln>
                  <a:noFill/>
                </a:ln>
                <a:effectLst/>
                <a:uLnTx/>
                <a:uFillTx/>
                <a:latin typeface="微軟正黑體" pitchFamily="34" charset="-120"/>
                <a:ea typeface="微軟正黑體" pitchFamily="34" charset="-120"/>
                <a:cs typeface="Arial" charset="0"/>
              </a:rPr>
              <a:t>於可攜帶式「裝置」上，</a:t>
            </a:r>
            <a:r>
              <a:rPr kumimoji="0" lang="zh-TW" altLang="en-US" sz="2000" b="0" i="0" u="none" strike="noStrike" kern="1200" cap="none" spc="0" normalizeH="0" baseline="0" noProof="0" dirty="0" smtClean="0">
                <a:ln>
                  <a:noFill/>
                </a:ln>
                <a:effectLst/>
                <a:uLnTx/>
                <a:uFillTx/>
                <a:latin typeface="微軟正黑體" pitchFamily="34" charset="-120"/>
                <a:ea typeface="微軟正黑體" pitchFamily="34" charset="-120"/>
                <a:cs typeface="Arial" charset="0"/>
              </a:rPr>
              <a:t>但必須是</a:t>
            </a:r>
            <a:r>
              <a:rPr kumimoji="0" lang="zh-TW" altLang="zh-TW" sz="2000" b="0" i="0" u="none" strike="noStrike" kern="1200" cap="none" spc="0" normalizeH="0" baseline="0" noProof="0" dirty="0" smtClean="0">
                <a:ln>
                  <a:noFill/>
                </a:ln>
                <a:effectLst/>
                <a:uLnTx/>
                <a:uFillTx/>
                <a:latin typeface="微軟正黑體" pitchFamily="34" charset="-120"/>
                <a:ea typeface="微軟正黑體" pitchFamily="34" charset="-120"/>
                <a:cs typeface="Arial" charset="0"/>
              </a:rPr>
              <a:t>專供「軟體產品」第一份拷貝之</a:t>
            </a:r>
            <a:r>
              <a:rPr kumimoji="0" lang="zh-TW" altLang="zh-TW" sz="2000" b="1" i="0" u="sng" strike="noStrike" kern="1200" cap="none" spc="0" normalizeH="0" baseline="0" noProof="0" dirty="0" smtClean="0">
                <a:ln>
                  <a:noFill/>
                </a:ln>
                <a:effectLst/>
                <a:uLnTx/>
                <a:uFillTx/>
                <a:latin typeface="微軟正黑體" pitchFamily="34" charset="-120"/>
                <a:ea typeface="微軟正黑體" pitchFamily="34" charset="-120"/>
                <a:cs typeface="Arial" charset="0"/>
              </a:rPr>
              <a:t>主要使用者</a:t>
            </a:r>
            <a:r>
              <a:rPr kumimoji="0" lang="zh-TW" altLang="zh-TW" sz="2000" b="0" i="0" u="none" strike="noStrike" kern="1200" cap="none" spc="0" normalizeH="0" baseline="0" noProof="0" dirty="0" smtClean="0">
                <a:ln>
                  <a:noFill/>
                </a:ln>
                <a:effectLst/>
                <a:uLnTx/>
                <a:uFillTx/>
                <a:latin typeface="微軟正黑體" pitchFamily="34" charset="-120"/>
                <a:ea typeface="微軟正黑體" pitchFamily="34" charset="-120"/>
                <a:cs typeface="Arial" charset="0"/>
              </a:rPr>
              <a:t>單獨使用之。</a:t>
            </a:r>
            <a:endParaRPr kumimoji="0" lang="zh-TW" altLang="en-US" sz="2000" b="0" i="0" u="none" strike="noStrike" kern="1200" cap="none" spc="0" normalizeH="0" baseline="0" noProof="0" dirty="0" smtClean="0">
              <a:ln>
                <a:noFill/>
              </a:ln>
              <a:effectLst/>
              <a:uLnTx/>
              <a:uFillTx/>
              <a:latin typeface="微軟正黑體" pitchFamily="34" charset="-120"/>
              <a:ea typeface="微軟正黑體" pitchFamily="34" charset="-120"/>
              <a:cs typeface="Arial" charset="0"/>
            </a:endParaRPr>
          </a:p>
          <a:p>
            <a:pPr marL="742950" marR="0" lvl="1" indent="-285750" algn="l" defTabSz="914400" rtl="0" eaLnBrk="1" fontAlgn="auto" latinLnBrk="0" hangingPunct="1">
              <a:lnSpc>
                <a:spcPct val="120000"/>
              </a:lnSpc>
              <a:spcBef>
                <a:spcPct val="20000"/>
              </a:spcBef>
              <a:spcAft>
                <a:spcPts val="0"/>
              </a:spcAft>
              <a:buClrTx/>
              <a:buSzTx/>
              <a:buFont typeface="Webdings" pitchFamily="18" charset="2"/>
              <a:buNone/>
              <a:tabLst/>
              <a:defRPr/>
            </a:pPr>
            <a:endParaRPr kumimoji="0" lang="en-US" altLang="zh-TW" sz="2400" b="0" i="0" u="none" strike="noStrike" kern="1200" cap="none" spc="0" normalizeH="0" baseline="0" noProof="0" dirty="0" smtClean="0">
              <a:ln>
                <a:noFill/>
              </a:ln>
              <a:effectLst/>
              <a:uLnTx/>
              <a:uFillTx/>
              <a:latin typeface="微軟正黑體" pitchFamily="34" charset="-120"/>
              <a:ea typeface="微軟正黑體" pitchFamily="34" charset="-120"/>
              <a:cs typeface="Arial" charset="0"/>
            </a:endParaRPr>
          </a:p>
          <a:p>
            <a:pPr marL="342900" marR="0" lvl="0" indent="-342900" algn="l" defTabSz="914400" rtl="0" eaLnBrk="1" fontAlgn="auto" latinLnBrk="0" hangingPunct="1">
              <a:lnSpc>
                <a:spcPct val="120000"/>
              </a:lnSpc>
              <a:spcBef>
                <a:spcPct val="20000"/>
              </a:spcBef>
              <a:spcAft>
                <a:spcPts val="0"/>
              </a:spcAft>
              <a:buClrTx/>
              <a:buSzTx/>
              <a:buFont typeface="Arial" pitchFamily="34" charset="0"/>
              <a:buChar char="•"/>
              <a:tabLst/>
              <a:defRPr/>
            </a:pPr>
            <a:endParaRPr kumimoji="0" lang="zh-TW" altLang="en-US" sz="2400" b="0" i="0" u="none" strike="noStrike" kern="1200" cap="none" spc="0" normalizeH="0" baseline="0" noProof="0" dirty="0" smtClean="0">
              <a:ln>
                <a:noFill/>
              </a:ln>
              <a:effectLst/>
              <a:uLnTx/>
              <a:uFillTx/>
              <a:latin typeface="微軟正黑體" pitchFamily="34" charset="-120"/>
              <a:ea typeface="微軟正黑體" pitchFamily="34" charset="-120"/>
              <a:cs typeface="Arial" charset="0"/>
            </a:endParaRPr>
          </a:p>
        </p:txBody>
      </p:sp>
      <p:pic>
        <p:nvPicPr>
          <p:cNvPr id="3074" name="Picture 2" descr="Picture1"/>
          <p:cNvPicPr preferRelativeResize="0">
            <a:picLocks noChangeArrowheads="1"/>
          </p:cNvPicPr>
          <p:nvPr/>
        </p:nvPicPr>
        <p:blipFill>
          <a:blip r:embed="rId2" cstate="email">
            <a:extLst>
              <a:ext uri="{28A0092B-C50C-407E-A947-70E740481C1C}">
                <a14:useLocalDpi xmlns:a14="http://schemas.microsoft.com/office/drawing/2010/main"/>
              </a:ext>
            </a:extLst>
          </a:blip>
          <a:srcRect l="-2669" t="-5418" b="-7416"/>
          <a:stretch>
            <a:fillRect/>
          </a:stretch>
        </p:blipFill>
        <p:spPr bwMode="auto">
          <a:xfrm>
            <a:off x="2357422" y="2667000"/>
            <a:ext cx="4067175" cy="2152650"/>
          </a:xfrm>
          <a:prstGeom prst="rect">
            <a:avLst/>
          </a:prstGeom>
          <a:noFill/>
          <a:ln w="9525">
            <a:noFill/>
            <a:miter lim="800000"/>
            <a:headEnd/>
            <a:tailEnd/>
          </a:ln>
        </p:spPr>
      </p:pic>
      <p:sp>
        <p:nvSpPr>
          <p:cNvPr id="3" name="Title 2"/>
          <p:cNvSpPr>
            <a:spLocks noGrp="1"/>
          </p:cNvSpPr>
          <p:nvPr>
            <p:ph type="title"/>
          </p:nvPr>
        </p:nvSpPr>
        <p:spPr/>
        <p:txBody>
          <a:bodyPr>
            <a:normAutofit fontScale="90000"/>
          </a:bodyPr>
          <a:lstStyle/>
          <a:p>
            <a:r>
              <a:rPr lang="en-US" b="1" dirty="0" smtClean="0">
                <a:latin typeface="微軟正黑體" pitchFamily="34" charset="-120"/>
                <a:ea typeface="微軟正黑體" pitchFamily="34" charset="-120"/>
              </a:rPr>
              <a:t>Office </a:t>
            </a:r>
            <a:r>
              <a:rPr lang="zh-TW" altLang="en-US" b="1" dirty="0" smtClean="0">
                <a:latin typeface="微軟正黑體" pitchFamily="34" charset="-120"/>
                <a:ea typeface="微軟正黑體" pitchFamily="34" charset="-120"/>
              </a:rPr>
              <a:t>授權模式一</a:t>
            </a:r>
            <a:endParaRPr lang="en-US" b="1" dirty="0">
              <a:latin typeface="微軟正黑體" pitchFamily="34" charset="-120"/>
              <a:ea typeface="微軟正黑體" pitchFamily="34" charset="-120"/>
            </a:endParaRPr>
          </a:p>
        </p:txBody>
      </p:sp>
      <p:sp>
        <p:nvSpPr>
          <p:cNvPr id="2" name="投影片編號版面配置區 1"/>
          <p:cNvSpPr>
            <a:spLocks noGrp="1"/>
          </p:cNvSpPr>
          <p:nvPr>
            <p:ph type="sldNum" sz="quarter" idx="12"/>
          </p:nvPr>
        </p:nvSpPr>
        <p:spPr/>
        <p:txBody>
          <a:bodyPr/>
          <a:lstStyle/>
          <a:p>
            <a:pPr>
              <a:lnSpc>
                <a:spcPct val="90000"/>
              </a:lnSpc>
            </a:pPr>
            <a:fld id="{1BC86A1F-E589-44B2-A543-2EC98F5547A7}" type="slidenum">
              <a:rPr lang="en-US" altLang="zh-TW" smtClean="0">
                <a:gradFill>
                  <a:gsLst>
                    <a:gs pos="0">
                      <a:srgbClr val="505050"/>
                    </a:gs>
                    <a:gs pos="100000">
                      <a:srgbClr val="505050"/>
                    </a:gs>
                  </a:gsLst>
                  <a:lin ang="5400000" scaled="0"/>
                </a:gradFill>
              </a:rPr>
              <a:pPr>
                <a:lnSpc>
                  <a:spcPct val="90000"/>
                </a:lnSpc>
              </a:pPr>
              <a:t>38</a:t>
            </a:fld>
            <a:endParaRPr lang="zh-TW" altLang="en-US"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4138800061"/>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p:cNvSpPr/>
          <p:nvPr/>
        </p:nvSpPr>
        <p:spPr>
          <a:xfrm>
            <a:off x="2051720" y="3638528"/>
            <a:ext cx="4896544" cy="2990872"/>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schemeClr val="tx1"/>
              </a:solidFill>
            </a:endParaRPr>
          </a:p>
        </p:txBody>
      </p:sp>
      <p:sp>
        <p:nvSpPr>
          <p:cNvPr id="4" name="Rectangle 3"/>
          <p:cNvSpPr txBox="1">
            <a:spLocks noChangeArrowheads="1"/>
          </p:cNvSpPr>
          <p:nvPr/>
        </p:nvSpPr>
        <p:spPr>
          <a:xfrm>
            <a:off x="533400" y="1219200"/>
            <a:ext cx="8153400" cy="5353072"/>
          </a:xfrm>
          <a:prstGeom prst="rect">
            <a:avLst/>
          </a:prstGeom>
        </p:spPr>
        <p:txBody>
          <a:bodyPr vert="horz" lIns="91440" tIns="45720" rIns="91440" bIns="45720" rtlCol="0">
            <a:normAutofit/>
          </a:bodyPr>
          <a:lstStyle/>
          <a:p>
            <a:pPr marL="342900" indent="-342900">
              <a:spcBef>
                <a:spcPct val="20000"/>
              </a:spcBef>
              <a:buFont typeface="Arial" pitchFamily="34" charset="0"/>
              <a:buChar char="•"/>
              <a:defRPr/>
            </a:pPr>
            <a:r>
              <a:rPr lang="zh-CN" altLang="zh-TW" sz="2400" b="1" dirty="0" smtClean="0">
                <a:latin typeface="微軟正黑體" pitchFamily="34" charset="-120"/>
                <a:ea typeface="微軟正黑體" pitchFamily="34" charset="-120"/>
              </a:rPr>
              <a:t>遠端存取</a:t>
            </a:r>
            <a:endParaRPr lang="en-US" altLang="zh-CN" sz="2400" b="1" dirty="0" smtClean="0">
              <a:latin typeface="微軟正黑體" pitchFamily="34" charset="-120"/>
              <a:ea typeface="微軟正黑體" pitchFamily="34" charset="-120"/>
            </a:endParaRPr>
          </a:p>
          <a:p>
            <a:pPr marL="685800" lvl="1" indent="-228600">
              <a:spcBef>
                <a:spcPct val="20000"/>
              </a:spcBef>
              <a:buFont typeface="Arial" pitchFamily="34" charset="0"/>
              <a:buChar char="•"/>
              <a:defRPr/>
            </a:pPr>
            <a:r>
              <a:rPr lang="zh-TW" altLang="zh-TW" sz="1800" dirty="0" smtClean="0">
                <a:latin typeface="微軟正黑體" pitchFamily="34" charset="-120"/>
                <a:ea typeface="微軟正黑體" pitchFamily="34" charset="-120"/>
              </a:rPr>
              <a:t>用戶使用此使用權的軟體之前，必須先將使用權指定給一部裝置 (實體硬體系統)。該裝置即為「授權裝置」。</a:t>
            </a:r>
            <a:endParaRPr lang="en-US" altLang="zh-TW" sz="1800" dirty="0" smtClean="0">
              <a:latin typeface="微軟正黑體" pitchFamily="34" charset="-120"/>
              <a:ea typeface="微軟正黑體" pitchFamily="34" charset="-120"/>
            </a:endParaRPr>
          </a:p>
          <a:p>
            <a:pPr marL="685800" lvl="1" indent="-228600">
              <a:spcBef>
                <a:spcPct val="20000"/>
              </a:spcBef>
              <a:buFont typeface="Arial" pitchFamily="34" charset="0"/>
              <a:buChar char="•"/>
              <a:defRPr/>
            </a:pPr>
            <a:r>
              <a:rPr lang="zh-TW" altLang="zh-TW" sz="1800" dirty="0" smtClean="0">
                <a:latin typeface="微軟正黑體" pitchFamily="34" charset="-120"/>
                <a:ea typeface="微軟正黑體" pitchFamily="34" charset="-120"/>
              </a:rPr>
              <a:t>硬體磁碟分割或刀鋒型伺服器會被視為獨立的裝置。</a:t>
            </a:r>
            <a:endParaRPr lang="en-US" altLang="zh-TW" sz="1800" dirty="0" smtClean="0">
              <a:latin typeface="微軟正黑體" pitchFamily="34" charset="-120"/>
              <a:ea typeface="微軟正黑體" pitchFamily="34" charset="-120"/>
              <a:cs typeface="Arial" charset="0"/>
            </a:endParaRPr>
          </a:p>
          <a:p>
            <a:pPr marL="685800" lvl="1" indent="-228600">
              <a:spcBef>
                <a:spcPct val="20000"/>
              </a:spcBef>
              <a:buFont typeface="Arial" pitchFamily="34" charset="0"/>
              <a:buChar char="•"/>
              <a:defRPr/>
            </a:pPr>
            <a:r>
              <a:rPr lang="zh-TW" altLang="zh-TW" sz="1800" dirty="0" smtClean="0">
                <a:latin typeface="微軟正黑體" pitchFamily="34" charset="-120"/>
                <a:ea typeface="微軟正黑體" pitchFamily="34" charset="-120"/>
              </a:rPr>
              <a:t>用戶可以在授權裝置上安裝及使用</a:t>
            </a:r>
            <a:r>
              <a:rPr lang="zh-TW" altLang="zh-TW" sz="1800" u="sng" dirty="0" smtClean="0">
                <a:latin typeface="微軟正黑體" pitchFamily="34" charset="-120"/>
                <a:ea typeface="微軟正黑體" pitchFamily="34" charset="-120"/>
              </a:rPr>
              <a:t>任何數目</a:t>
            </a:r>
            <a:r>
              <a:rPr lang="zh-TW" altLang="zh-TW" sz="1800" dirty="0" smtClean="0">
                <a:latin typeface="微軟正黑體" pitchFamily="34" charset="-120"/>
                <a:ea typeface="微軟正黑體" pitchFamily="34" charset="-120"/>
              </a:rPr>
              <a:t>之軟體拷貝及</a:t>
            </a:r>
            <a:r>
              <a:rPr lang="zh-TW" altLang="zh-TW" sz="1800" u="sng" dirty="0" smtClean="0">
                <a:latin typeface="微軟正黑體" pitchFamily="34" charset="-120"/>
                <a:ea typeface="微軟正黑體" pitchFamily="34" charset="-120"/>
              </a:rPr>
              <a:t>任何先前</a:t>
            </a:r>
            <a:r>
              <a:rPr lang="zh-TW" altLang="zh-TW" sz="1800" dirty="0" smtClean="0">
                <a:latin typeface="微軟正黑體" pitchFamily="34" charset="-120"/>
                <a:ea typeface="微軟正黑體" pitchFamily="34" charset="-120"/>
              </a:rPr>
              <a:t>版本之軟體拷貝。</a:t>
            </a:r>
            <a:endParaRPr lang="en-US" altLang="zh-TW" sz="1800" dirty="0" smtClean="0">
              <a:latin typeface="微軟正黑體" pitchFamily="34" charset="-120"/>
              <a:ea typeface="微軟正黑體" pitchFamily="34" charset="-120"/>
            </a:endParaRPr>
          </a:p>
          <a:p>
            <a:pPr marL="685800" lvl="1" indent="-228600">
              <a:spcBef>
                <a:spcPct val="20000"/>
              </a:spcBef>
              <a:buFont typeface="Arial" pitchFamily="34" charset="0"/>
              <a:buChar char="•"/>
              <a:defRPr/>
            </a:pPr>
            <a:r>
              <a:rPr lang="zh-TW" altLang="en-US" sz="1800" dirty="0"/>
              <a:t>貴用戶用於從遠端存取軟體之裝置必須取得</a:t>
            </a:r>
            <a:r>
              <a:rPr lang="zh-TW" altLang="en-US" sz="1800" u="sng" dirty="0"/>
              <a:t>相同</a:t>
            </a:r>
            <a:r>
              <a:rPr lang="zh-TW" altLang="en-US" sz="1800" dirty="0"/>
              <a:t>版本或</a:t>
            </a:r>
            <a:r>
              <a:rPr lang="zh-TW" altLang="en-US" sz="1800" u="sng" dirty="0"/>
              <a:t>較高</a:t>
            </a:r>
            <a:r>
              <a:rPr lang="zh-TW" altLang="en-US" sz="1800" dirty="0"/>
              <a:t>版本之授權，</a:t>
            </a:r>
            <a:endParaRPr kumimoji="0" lang="en-US" altLang="zh-TW" sz="1800" b="0" i="0" u="none" strike="noStrike" kern="1200" cap="none" spc="0" normalizeH="0" baseline="0" noProof="0" dirty="0" smtClean="0">
              <a:ln>
                <a:noFill/>
              </a:ln>
              <a:effectLst/>
              <a:uLnTx/>
              <a:uFillTx/>
              <a:latin typeface="微軟正黑體" pitchFamily="34" charset="-120"/>
              <a:ea typeface="微軟正黑體" pitchFamily="34" charset="-120"/>
              <a:cs typeface="Arial" charset="0"/>
            </a:endParaRPr>
          </a:p>
        </p:txBody>
      </p:sp>
      <p:pic>
        <p:nvPicPr>
          <p:cNvPr id="4098" name="Picture 2" descr="Picture2"/>
          <p:cNvPicPr>
            <a:picLocks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518792" y="3764949"/>
            <a:ext cx="3962400" cy="2695575"/>
          </a:xfrm>
          <a:prstGeom prst="rect">
            <a:avLst/>
          </a:prstGeom>
          <a:noFill/>
          <a:ln w="9525">
            <a:noFill/>
            <a:miter lim="800000"/>
            <a:headEnd/>
            <a:tailEnd/>
          </a:ln>
        </p:spPr>
      </p:pic>
      <p:sp>
        <p:nvSpPr>
          <p:cNvPr id="5" name="Title 4"/>
          <p:cNvSpPr>
            <a:spLocks noGrp="1"/>
          </p:cNvSpPr>
          <p:nvPr>
            <p:ph type="title"/>
          </p:nvPr>
        </p:nvSpPr>
        <p:spPr/>
        <p:txBody>
          <a:bodyPr>
            <a:normAutofit fontScale="90000"/>
          </a:bodyPr>
          <a:lstStyle/>
          <a:p>
            <a:r>
              <a:rPr lang="en-US" dirty="0" smtClean="0">
                <a:latin typeface="微軟正黑體" pitchFamily="34" charset="-120"/>
                <a:ea typeface="微軟正黑體" pitchFamily="34" charset="-120"/>
              </a:rPr>
              <a:t>Office </a:t>
            </a:r>
            <a:r>
              <a:rPr lang="zh-TW" altLang="en-US" dirty="0" smtClean="0">
                <a:latin typeface="微軟正黑體" pitchFamily="34" charset="-120"/>
                <a:ea typeface="微軟正黑體" pitchFamily="34" charset="-120"/>
              </a:rPr>
              <a:t>授權模式二</a:t>
            </a:r>
            <a:endParaRPr lang="en-US" dirty="0">
              <a:latin typeface="微軟正黑體" pitchFamily="34" charset="-120"/>
              <a:ea typeface="微軟正黑體" pitchFamily="34" charset="-120"/>
            </a:endParaRPr>
          </a:p>
        </p:txBody>
      </p:sp>
      <p:sp>
        <p:nvSpPr>
          <p:cNvPr id="2" name="投影片編號版面配置區 1"/>
          <p:cNvSpPr>
            <a:spLocks noGrp="1"/>
          </p:cNvSpPr>
          <p:nvPr>
            <p:ph type="sldNum" sz="quarter" idx="12"/>
          </p:nvPr>
        </p:nvSpPr>
        <p:spPr/>
        <p:txBody>
          <a:bodyPr/>
          <a:lstStyle/>
          <a:p>
            <a:pPr>
              <a:lnSpc>
                <a:spcPct val="90000"/>
              </a:lnSpc>
            </a:pPr>
            <a:fld id="{1BC86A1F-E589-44B2-A543-2EC98F5547A7}" type="slidenum">
              <a:rPr lang="en-US" altLang="zh-TW" smtClean="0">
                <a:gradFill>
                  <a:gsLst>
                    <a:gs pos="0">
                      <a:srgbClr val="505050"/>
                    </a:gs>
                    <a:gs pos="100000">
                      <a:srgbClr val="505050"/>
                    </a:gs>
                  </a:gsLst>
                  <a:lin ang="5400000" scaled="0"/>
                </a:gradFill>
              </a:rPr>
              <a:pPr>
                <a:lnSpc>
                  <a:spcPct val="90000"/>
                </a:lnSpc>
              </a:pPr>
              <a:t>39</a:t>
            </a:fld>
            <a:endParaRPr lang="zh-TW" altLang="en-US"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270484960"/>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5"/>
          <p:cNvSpPr txBox="1">
            <a:spLocks/>
          </p:cNvSpPr>
          <p:nvPr/>
        </p:nvSpPr>
        <p:spPr>
          <a:xfrm>
            <a:off x="476250" y="915289"/>
            <a:ext cx="8191500" cy="430887"/>
          </a:xfrm>
          <a:prstGeom prst="rect">
            <a:avLst/>
          </a:prstGeom>
        </p:spPr>
        <p:txBody>
          <a:bodyPr vert="horz" lIns="91440" tIns="45720" rIns="91440" bIns="45720" rtlCol="0" anchor="t">
            <a:noAutofit/>
          </a:bodyPr>
          <a:lstStyle>
            <a:lvl1pPr algn="ctr" defTabSz="914400" rtl="0" eaLnBrk="1" latinLnBrk="0" hangingPunct="1">
              <a:spcBef>
                <a:spcPct val="0"/>
              </a:spcBef>
              <a:buNone/>
              <a:defRPr sz="4400" b="0" kern="1200" cap="none">
                <a:solidFill>
                  <a:srgbClr val="FFFFFF"/>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defTabSz="1087438" fontAlgn="auto">
              <a:spcAft>
                <a:spcPts val="0"/>
              </a:spcAft>
            </a:pPr>
            <a:r>
              <a:rPr lang="en-US" sz="4000" dirty="0" smtClean="0"/>
              <a:t>Adobe Creative Cloud</a:t>
            </a:r>
            <a:r>
              <a:rPr lang="zh-TW" altLang="en-US" sz="4000" dirty="0" smtClean="0"/>
              <a:t> 在台灣推出</a:t>
            </a:r>
            <a:endParaRPr lang="en-US" sz="4000" dirty="0" smtClean="0"/>
          </a:p>
        </p:txBody>
      </p:sp>
      <p:pic>
        <p:nvPicPr>
          <p:cNvPr id="22" name="Picture 21" descr="Adobe_Creative_Cloud_mnemonic_RGB_no_shadow.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auto">
          <a:xfrm>
            <a:off x="3334558" y="2410693"/>
            <a:ext cx="2880374" cy="2726574"/>
          </a:xfrm>
          <a:prstGeom prst="rect">
            <a:avLst/>
          </a:prstGeom>
          <a:effectLst>
            <a:outerShdw blurRad="50800" dist="38100" dir="2700000" algn="tl" rotWithShape="0">
              <a:prstClr val="black">
                <a:alpha val="40000"/>
              </a:prstClr>
            </a:outerShdw>
          </a:effectLst>
        </p:spPr>
      </p:pic>
      <p:sp>
        <p:nvSpPr>
          <p:cNvPr id="2" name="投影片編號版面配置區 1"/>
          <p:cNvSpPr>
            <a:spLocks noGrp="1"/>
          </p:cNvSpPr>
          <p:nvPr>
            <p:ph type="sldNum" sz="quarter" idx="12"/>
          </p:nvPr>
        </p:nvSpPr>
        <p:spPr/>
        <p:txBody>
          <a:bodyPr/>
          <a:lstStyle/>
          <a:p>
            <a:pPr>
              <a:defRPr/>
            </a:pPr>
            <a:fld id="{24C6579D-D8A0-414D-A023-3E30D95D7F6B}" type="slidenum">
              <a:rPr lang="en-US" smtClean="0"/>
              <a:pPr>
                <a:defRPr/>
              </a:pPr>
              <a:t>4</a:t>
            </a:fld>
            <a:endParaRPr lang="zh-CN" altLang="en-US"/>
          </a:p>
        </p:txBody>
      </p:sp>
    </p:spTree>
    <p:extLst>
      <p:ext uri="{BB962C8B-B14F-4D97-AF65-F5344CB8AC3E}">
        <p14:creationId xmlns:p14="http://schemas.microsoft.com/office/powerpoint/2010/main" val="157201650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zh-TW" altLang="en-US" dirty="0" smtClean="0">
                <a:latin typeface="微軟正黑體" panose="020B0604030504040204" pitchFamily="34" charset="-120"/>
                <a:ea typeface="微軟正黑體" panose="020B0604030504040204" pitchFamily="34" charset="-120"/>
              </a:rPr>
              <a:t>新增</a:t>
            </a:r>
            <a:r>
              <a:rPr lang="en-US" altLang="zh-TW" dirty="0" smtClean="0">
                <a:latin typeface="微軟正黑體" panose="020B0604030504040204" pitchFamily="34" charset="-120"/>
                <a:ea typeface="微軟正黑體" panose="020B0604030504040204" pitchFamily="34" charset="-120"/>
              </a:rPr>
              <a:t>Office </a:t>
            </a:r>
            <a:r>
              <a:rPr lang="zh-TW" altLang="en-US" dirty="0" smtClean="0">
                <a:latin typeface="微軟正黑體" panose="020B0604030504040204" pitchFamily="34" charset="-120"/>
                <a:ea typeface="微軟正黑體" panose="020B0604030504040204" pitchFamily="34" charset="-120"/>
              </a:rPr>
              <a:t>授權模式</a:t>
            </a:r>
            <a:r>
              <a:rPr lang="en-US" altLang="zh-TW" dirty="0" smtClean="0">
                <a:latin typeface="微軟正黑體" panose="020B0604030504040204" pitchFamily="34" charset="-120"/>
                <a:ea typeface="微軟正黑體" panose="020B0604030504040204" pitchFamily="34" charset="-120"/>
              </a:rPr>
              <a:t>:</a:t>
            </a:r>
            <a:r>
              <a:rPr lang="zh-TW" altLang="en-US" dirty="0" smtClean="0">
                <a:latin typeface="微軟正黑體" panose="020B0604030504040204" pitchFamily="34" charset="-120"/>
                <a:ea typeface="微軟正黑體" panose="020B0604030504040204" pitchFamily="34" charset="-120"/>
              </a:rPr>
              <a:t> </a:t>
            </a:r>
            <a:r>
              <a:rPr lang="en-US" altLang="zh-TW" dirty="0" smtClean="0">
                <a:latin typeface="微軟正黑體" panose="020B0604030504040204" pitchFamily="34" charset="-120"/>
                <a:ea typeface="微軟正黑體" panose="020B0604030504040204" pitchFamily="34" charset="-120"/>
              </a:rPr>
              <a:t>Office 365 </a:t>
            </a:r>
            <a:endParaRPr lang="zh-TW" altLang="en-US" dirty="0">
              <a:latin typeface="微軟正黑體" panose="020B0604030504040204" pitchFamily="34" charset="-120"/>
              <a:ea typeface="微軟正黑體" panose="020B0604030504040204" pitchFamily="34" charset="-120"/>
            </a:endParaRPr>
          </a:p>
        </p:txBody>
      </p:sp>
      <p:pic>
        <p:nvPicPr>
          <p:cNvPr id="5" name="Picture 4"/>
          <p:cNvPicPr>
            <a:picLocks noChangeAspect="1"/>
          </p:cNvPicPr>
          <p:nvPr/>
        </p:nvPicPr>
        <p:blipFill>
          <a:blip r:embed="rId3"/>
          <a:stretch>
            <a:fillRect/>
          </a:stretch>
        </p:blipFill>
        <p:spPr>
          <a:xfrm>
            <a:off x="228600" y="1529808"/>
            <a:ext cx="8665448" cy="4489992"/>
          </a:xfrm>
          <a:prstGeom prst="rect">
            <a:avLst/>
          </a:prstGeom>
        </p:spPr>
      </p:pic>
      <p:sp>
        <p:nvSpPr>
          <p:cNvPr id="3" name="投影片編號版面配置區 2"/>
          <p:cNvSpPr>
            <a:spLocks noGrp="1"/>
          </p:cNvSpPr>
          <p:nvPr>
            <p:ph type="sldNum" sz="quarter" idx="12"/>
          </p:nvPr>
        </p:nvSpPr>
        <p:spPr/>
        <p:txBody>
          <a:bodyPr/>
          <a:lstStyle/>
          <a:p>
            <a:pPr>
              <a:defRPr/>
            </a:pPr>
            <a:fld id="{1D9970BA-2F58-4996-9806-696110DA0FEA}" type="slidenum">
              <a:rPr lang="en-US" smtClean="0"/>
              <a:pPr>
                <a:defRPr/>
              </a:pPr>
              <a:t>40</a:t>
            </a:fld>
            <a:endParaRPr lang="zh-CN" altLang="en-US"/>
          </a:p>
        </p:txBody>
      </p:sp>
    </p:spTree>
    <p:extLst>
      <p:ext uri="{BB962C8B-B14F-4D97-AF65-F5344CB8AC3E}">
        <p14:creationId xmlns:p14="http://schemas.microsoft.com/office/powerpoint/2010/main" val="25053850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ADISVR2\Shared\ADI_Projects\Microsoft\MS_12-01542_Office_Licensing\Working_Art\office365-1.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41"/>
          <a:stretch/>
        </p:blipFill>
        <p:spPr bwMode="auto">
          <a:xfrm>
            <a:off x="0" y="1613526"/>
            <a:ext cx="4512208" cy="2140253"/>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ADISVR2\Shared\ADI_Projects\Microsoft\MS_12-01542_Office_Licensing\Working_Art\office365-2.jp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t="361"/>
          <a:stretch/>
        </p:blipFill>
        <p:spPr bwMode="auto">
          <a:xfrm>
            <a:off x="4624443" y="1613525"/>
            <a:ext cx="4519558" cy="214025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ADISVR2\Shared\ADI_Projects\Microsoft\MS_12-01542_Office_Licensing\Working_Art\office365-3.jpg"/>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l="555"/>
          <a:stretch/>
        </p:blipFill>
        <p:spPr bwMode="auto">
          <a:xfrm>
            <a:off x="0" y="3880326"/>
            <a:ext cx="4512209" cy="2121093"/>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descr="\\ADISVR2\Shared\ADI_Projects\Microsoft\MS_12-01542_Office_Licensing\Working_Art\office365-4.jp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624443" y="3880327"/>
            <a:ext cx="4519558" cy="2126210"/>
          </a:xfrm>
          <a:prstGeom prst="rect">
            <a:avLst/>
          </a:prstGeom>
          <a:noFill/>
          <a:extLst>
            <a:ext uri="{909E8E84-426E-40DD-AFC4-6F175D3DCCD1}">
              <a14:hiddenFill xmlns:a14="http://schemas.microsoft.com/office/drawing/2010/main">
                <a:solidFill>
                  <a:srgbClr val="FFFFFF"/>
                </a:solidFill>
              </a14:hiddenFill>
            </a:ext>
          </a:extLst>
        </p:spPr>
      </p:pic>
      <p:sp>
        <p:nvSpPr>
          <p:cNvPr id="58" name="Title 57"/>
          <p:cNvSpPr>
            <a:spLocks noGrp="1"/>
          </p:cNvSpPr>
          <p:nvPr>
            <p:ph type="title"/>
          </p:nvPr>
        </p:nvSpPr>
        <p:spPr>
          <a:xfrm>
            <a:off x="296542" y="459172"/>
            <a:ext cx="8550914" cy="337680"/>
          </a:xfrm>
        </p:spPr>
        <p:txBody>
          <a:bodyPr>
            <a:noAutofit/>
          </a:bodyPr>
          <a:lstStyle/>
          <a:p>
            <a:r>
              <a:rPr lang="en-US" dirty="0" smtClean="0">
                <a:latin typeface="微軟正黑體" panose="020B0604030504040204" pitchFamily="34" charset="-120"/>
                <a:ea typeface="微軟正黑體" panose="020B0604030504040204" pitchFamily="34" charset="-120"/>
              </a:rPr>
              <a:t>Office 365 </a:t>
            </a:r>
            <a:r>
              <a:rPr lang="zh-TW" altLang="en-US" dirty="0" smtClean="0">
                <a:latin typeface="微軟正黑體" panose="020B0604030504040204" pitchFamily="34" charset="-120"/>
                <a:ea typeface="微軟正黑體" panose="020B0604030504040204" pitchFamily="34" charset="-120"/>
              </a:rPr>
              <a:t>授權概觀</a:t>
            </a:r>
            <a:endParaRPr lang="en-US" dirty="0">
              <a:latin typeface="微軟正黑體" panose="020B0604030504040204" pitchFamily="34" charset="-120"/>
              <a:ea typeface="微軟正黑體" panose="020B0604030504040204" pitchFamily="34" charset="-120"/>
            </a:endParaRPr>
          </a:p>
        </p:txBody>
      </p:sp>
      <p:grpSp>
        <p:nvGrpSpPr>
          <p:cNvPr id="11" name="Group 10"/>
          <p:cNvGrpSpPr/>
          <p:nvPr/>
        </p:nvGrpSpPr>
        <p:grpSpPr>
          <a:xfrm>
            <a:off x="4624442" y="1612426"/>
            <a:ext cx="4519558" cy="2141354"/>
            <a:chOff x="6164317" y="1007531"/>
            <a:chExt cx="6024508" cy="2854395"/>
          </a:xfrm>
        </p:grpSpPr>
        <p:sp>
          <p:nvSpPr>
            <p:cNvPr id="5" name="Rectangle 4"/>
            <p:cNvSpPr/>
            <p:nvPr/>
          </p:nvSpPr>
          <p:spPr bwMode="auto">
            <a:xfrm>
              <a:off x="6164317" y="1008997"/>
              <a:ext cx="6024508" cy="2852929"/>
            </a:xfrm>
            <a:prstGeom prst="rect">
              <a:avLst/>
            </a:prstGeom>
            <a:solidFill>
              <a:schemeClr val="bg1">
                <a:lumMod val="95000"/>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9" tIns="34299" rIns="34299" bIns="34299" numCol="1" spcCol="0" rtlCol="0" fromWordArt="0" anchor="ctr" anchorCtr="0" forceAA="0" compatLnSpc="1">
              <a:prstTxWarp prst="textNoShape">
                <a:avLst/>
              </a:prstTxWarp>
              <a:noAutofit/>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a typeface="Segoe UI" pitchFamily="34" charset="0"/>
                <a:cs typeface="Segoe UI" pitchFamily="34" charset="0"/>
              </a:endParaRPr>
            </a:p>
          </p:txBody>
        </p:sp>
        <p:sp>
          <p:nvSpPr>
            <p:cNvPr id="59" name="Rectangle 58"/>
            <p:cNvSpPr/>
            <p:nvPr/>
          </p:nvSpPr>
          <p:spPr>
            <a:xfrm>
              <a:off x="6479336" y="1794717"/>
              <a:ext cx="5207137" cy="1600022"/>
            </a:xfrm>
            <a:prstGeom prst="rect">
              <a:avLst/>
            </a:prstGeom>
          </p:spPr>
          <p:txBody>
            <a:bodyPr wrap="square">
              <a:spAutoFit/>
            </a:bodyPr>
            <a:lstStyle/>
            <a:p>
              <a:pPr algn="r" defTabSz="914079" fontAlgn="base">
                <a:lnSpc>
                  <a:spcPct val="150000"/>
                </a:lnSpc>
                <a:spcBef>
                  <a:spcPct val="0"/>
                </a:spcBef>
                <a:spcAft>
                  <a:spcPct val="0"/>
                </a:spcAft>
              </a:pPr>
              <a:r>
                <a:rPr lang="en-US" sz="1200" spc="-18" dirty="0">
                  <a:solidFill>
                    <a:srgbClr val="595959">
                      <a:lumMod val="75000"/>
                      <a:alpha val="99000"/>
                    </a:srgbClr>
                  </a:solidFill>
                </a:rPr>
                <a:t>Online meeting with desktop sharing</a:t>
              </a:r>
            </a:p>
            <a:p>
              <a:pPr algn="r" defTabSz="914079" fontAlgn="base">
                <a:lnSpc>
                  <a:spcPct val="150000"/>
                </a:lnSpc>
                <a:spcBef>
                  <a:spcPct val="0"/>
                </a:spcBef>
                <a:spcAft>
                  <a:spcPct val="0"/>
                </a:spcAft>
              </a:pPr>
              <a:r>
                <a:rPr lang="en-US" sz="1200" spc="-18" dirty="0">
                  <a:solidFill>
                    <a:srgbClr val="595959">
                      <a:lumMod val="75000"/>
                      <a:alpha val="99000"/>
                    </a:srgbClr>
                  </a:solidFill>
                </a:rPr>
                <a:t>IM &amp; Presence across firewalls</a:t>
              </a:r>
            </a:p>
            <a:p>
              <a:pPr algn="r" defTabSz="914079" fontAlgn="base">
                <a:lnSpc>
                  <a:spcPct val="150000"/>
                </a:lnSpc>
                <a:spcBef>
                  <a:spcPct val="0"/>
                </a:spcBef>
                <a:spcAft>
                  <a:spcPct val="0"/>
                </a:spcAft>
              </a:pPr>
              <a:r>
                <a:rPr lang="en-US" sz="1200" spc="-18" dirty="0">
                  <a:solidFill>
                    <a:srgbClr val="595959">
                      <a:lumMod val="75000"/>
                      <a:alpha val="99000"/>
                    </a:srgbClr>
                  </a:solidFill>
                </a:rPr>
                <a:t>GAL search with contact card</a:t>
              </a:r>
            </a:p>
            <a:p>
              <a:pPr algn="r" defTabSz="914079" fontAlgn="base">
                <a:lnSpc>
                  <a:spcPct val="150000"/>
                </a:lnSpc>
                <a:spcBef>
                  <a:spcPct val="0"/>
                </a:spcBef>
                <a:spcAft>
                  <a:spcPct val="0"/>
                </a:spcAft>
              </a:pPr>
              <a:r>
                <a:rPr lang="en-US" sz="1200" spc="-18" dirty="0">
                  <a:solidFill>
                    <a:srgbClr val="595959">
                      <a:lumMod val="75000"/>
                      <a:alpha val="99000"/>
                    </a:srgbClr>
                  </a:solidFill>
                </a:rPr>
                <a:t>Windows Live federation</a:t>
              </a:r>
            </a:p>
          </p:txBody>
        </p:sp>
        <p:pic>
          <p:nvPicPr>
            <p:cNvPr id="43" name="Picture 42"/>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215417" y="1007531"/>
              <a:ext cx="2545233" cy="890831"/>
            </a:xfrm>
            <a:prstGeom prst="rect">
              <a:avLst/>
            </a:prstGeom>
          </p:spPr>
        </p:pic>
      </p:grpSp>
      <p:grpSp>
        <p:nvGrpSpPr>
          <p:cNvPr id="9" name="Group 8"/>
          <p:cNvGrpSpPr/>
          <p:nvPr/>
        </p:nvGrpSpPr>
        <p:grpSpPr>
          <a:xfrm>
            <a:off x="0" y="3880327"/>
            <a:ext cx="4512208" cy="2121093"/>
            <a:chOff x="0" y="4030612"/>
            <a:chExt cx="6014710" cy="2827388"/>
          </a:xfrm>
        </p:grpSpPr>
        <p:sp>
          <p:nvSpPr>
            <p:cNvPr id="22" name="Rectangle 21"/>
            <p:cNvSpPr/>
            <p:nvPr/>
          </p:nvSpPr>
          <p:spPr bwMode="auto">
            <a:xfrm>
              <a:off x="0" y="4030612"/>
              <a:ext cx="6014710" cy="2827388"/>
            </a:xfrm>
            <a:prstGeom prst="rect">
              <a:avLst/>
            </a:prstGeom>
            <a:solidFill>
              <a:schemeClr val="bg1">
                <a:lumMod val="95000"/>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9" tIns="34299" rIns="34299" bIns="34299" numCol="1" spcCol="0" rtlCol="0" fromWordArt="0" anchor="ctr" anchorCtr="0" forceAA="0" compatLnSpc="1">
              <a:prstTxWarp prst="textNoShape">
                <a:avLst/>
              </a:prstTxWarp>
              <a:noAutofit/>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a:xfrm>
              <a:off x="483937" y="4902006"/>
              <a:ext cx="5207136" cy="1600022"/>
            </a:xfrm>
            <a:prstGeom prst="rect">
              <a:avLst/>
            </a:prstGeom>
          </p:spPr>
          <p:txBody>
            <a:bodyPr wrap="square">
              <a:spAutoFit/>
            </a:bodyPr>
            <a:lstStyle/>
            <a:p>
              <a:pPr defTabSz="914079" fontAlgn="base">
                <a:lnSpc>
                  <a:spcPct val="150000"/>
                </a:lnSpc>
                <a:spcBef>
                  <a:spcPct val="0"/>
                </a:spcBef>
                <a:spcAft>
                  <a:spcPct val="0"/>
                </a:spcAft>
              </a:pPr>
              <a:r>
                <a:rPr lang="en-US" sz="1200" spc="-18" dirty="0">
                  <a:solidFill>
                    <a:srgbClr val="595959">
                      <a:lumMod val="75000"/>
                      <a:alpha val="99000"/>
                    </a:srgbClr>
                  </a:solidFill>
                </a:rPr>
                <a:t>Access documents offline</a:t>
              </a:r>
            </a:p>
            <a:p>
              <a:pPr defTabSz="914079" fontAlgn="base">
                <a:lnSpc>
                  <a:spcPct val="150000"/>
                </a:lnSpc>
                <a:spcBef>
                  <a:spcPct val="0"/>
                </a:spcBef>
                <a:spcAft>
                  <a:spcPct val="0"/>
                </a:spcAft>
              </a:pPr>
              <a:r>
                <a:rPr lang="en-US" sz="1200" spc="-18" dirty="0">
                  <a:solidFill>
                    <a:srgbClr val="595959">
                      <a:lumMod val="75000"/>
                      <a:alpha val="99000"/>
                    </a:srgbClr>
                  </a:solidFill>
                </a:rPr>
                <a:t>Document-level permissions</a:t>
              </a:r>
            </a:p>
            <a:p>
              <a:pPr defTabSz="914079" fontAlgn="base">
                <a:lnSpc>
                  <a:spcPct val="150000"/>
                </a:lnSpc>
                <a:spcBef>
                  <a:spcPct val="0"/>
                </a:spcBef>
                <a:spcAft>
                  <a:spcPct val="0"/>
                </a:spcAft>
              </a:pPr>
              <a:r>
                <a:rPr lang="en-US" sz="1200" spc="-18" dirty="0">
                  <a:solidFill>
                    <a:srgbClr val="595959">
                      <a:lumMod val="75000"/>
                      <a:alpha val="99000"/>
                    </a:srgbClr>
                  </a:solidFill>
                </a:rPr>
                <a:t>My Sites to manage and share documents</a:t>
              </a:r>
            </a:p>
            <a:p>
              <a:pPr defTabSz="914079" fontAlgn="base">
                <a:lnSpc>
                  <a:spcPct val="150000"/>
                </a:lnSpc>
                <a:spcBef>
                  <a:spcPct val="0"/>
                </a:spcBef>
                <a:spcAft>
                  <a:spcPct val="0"/>
                </a:spcAft>
              </a:pPr>
              <a:r>
                <a:rPr lang="en-US" sz="1200" spc="-18" dirty="0">
                  <a:solidFill>
                    <a:srgbClr val="595959">
                      <a:lumMod val="75000"/>
                      <a:alpha val="99000"/>
                    </a:srgbClr>
                  </a:solidFill>
                </a:rPr>
                <a:t>Share documents securely with Extranet Sites</a:t>
              </a:r>
            </a:p>
          </p:txBody>
        </p:sp>
        <p:pic>
          <p:nvPicPr>
            <p:cNvPr id="50" name="Picture 49"/>
            <p:cNvPicPr>
              <a:picLocks noChangeAspect="1" noChangeArrowheads="1"/>
            </p:cNvPicPr>
            <p:nvPr/>
          </p:nvPicPr>
          <p:blipFill>
            <a:blip r:embed="rId8" cstate="email">
              <a:extLst>
                <a:ext uri="{28A0092B-C50C-407E-A947-70E740481C1C}">
                  <a14:useLocalDpi xmlns:a14="http://schemas.microsoft.com/office/drawing/2010/main"/>
                </a:ext>
              </a:extLst>
            </a:blip>
            <a:stretch>
              <a:fillRect/>
            </a:stretch>
          </p:blipFill>
          <p:spPr bwMode="auto">
            <a:xfrm>
              <a:off x="542438" y="4240228"/>
              <a:ext cx="3244402" cy="562225"/>
            </a:xfrm>
            <a:prstGeom prst="rect">
              <a:avLst/>
            </a:prstGeom>
            <a:noFill/>
            <a:effectLst/>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4624442" y="3880326"/>
            <a:ext cx="4519559" cy="2121094"/>
            <a:chOff x="6164316" y="4030611"/>
            <a:chExt cx="6024510" cy="2827389"/>
          </a:xfrm>
        </p:grpSpPr>
        <p:sp>
          <p:nvSpPr>
            <p:cNvPr id="23" name="Rectangle 22"/>
            <p:cNvSpPr/>
            <p:nvPr/>
          </p:nvSpPr>
          <p:spPr bwMode="auto">
            <a:xfrm>
              <a:off x="6164316" y="4030611"/>
              <a:ext cx="6024510" cy="2827389"/>
            </a:xfrm>
            <a:prstGeom prst="rect">
              <a:avLst/>
            </a:prstGeom>
            <a:solidFill>
              <a:schemeClr val="bg1">
                <a:lumMod val="95000"/>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9" tIns="34299" rIns="34299" bIns="34299" numCol="1" spcCol="0" rtlCol="0" fromWordArt="0" anchor="ctr" anchorCtr="0" forceAA="0" compatLnSpc="1">
              <a:prstTxWarp prst="textNoShape">
                <a:avLst/>
              </a:prstTxWarp>
              <a:noAutofit/>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p:cNvSpPr/>
            <p:nvPr/>
          </p:nvSpPr>
          <p:spPr>
            <a:xfrm>
              <a:off x="6479337" y="4902005"/>
              <a:ext cx="5207137" cy="1600022"/>
            </a:xfrm>
            <a:prstGeom prst="rect">
              <a:avLst/>
            </a:prstGeom>
          </p:spPr>
          <p:txBody>
            <a:bodyPr wrap="square">
              <a:spAutoFit/>
            </a:bodyPr>
            <a:lstStyle/>
            <a:p>
              <a:pPr algn="r" defTabSz="914079" fontAlgn="base">
                <a:lnSpc>
                  <a:spcPct val="150000"/>
                </a:lnSpc>
                <a:spcBef>
                  <a:spcPct val="0"/>
                </a:spcBef>
                <a:spcAft>
                  <a:spcPct val="0"/>
                </a:spcAft>
              </a:pPr>
              <a:r>
                <a:rPr lang="en-US" sz="1200" spc="-18" dirty="0">
                  <a:solidFill>
                    <a:srgbClr val="595959">
                      <a:lumMod val="75000"/>
                      <a:alpha val="99000"/>
                    </a:srgbClr>
                  </a:solidFill>
                </a:rPr>
                <a:t>Free/busy coexistence</a:t>
              </a:r>
            </a:p>
            <a:p>
              <a:pPr algn="r" defTabSz="914079" fontAlgn="base">
                <a:lnSpc>
                  <a:spcPct val="150000"/>
                </a:lnSpc>
                <a:spcBef>
                  <a:spcPct val="0"/>
                </a:spcBef>
                <a:spcAft>
                  <a:spcPct val="0"/>
                </a:spcAft>
              </a:pPr>
              <a:r>
                <a:rPr lang="en-US" sz="1200" spc="-18" dirty="0">
                  <a:solidFill>
                    <a:srgbClr val="595959">
                      <a:lumMod val="75000"/>
                      <a:alpha val="99000"/>
                    </a:srgbClr>
                  </a:solidFill>
                </a:rPr>
                <a:t>Integrated personal archiving</a:t>
              </a:r>
            </a:p>
            <a:p>
              <a:pPr algn="r" defTabSz="914079" fontAlgn="base">
                <a:lnSpc>
                  <a:spcPct val="150000"/>
                </a:lnSpc>
                <a:spcBef>
                  <a:spcPct val="0"/>
                </a:spcBef>
                <a:spcAft>
                  <a:spcPct val="0"/>
                </a:spcAft>
              </a:pPr>
              <a:r>
                <a:rPr lang="en-US" sz="1200" spc="-18" dirty="0">
                  <a:solidFill>
                    <a:srgbClr val="595959">
                      <a:lumMod val="75000"/>
                      <a:alpha val="99000"/>
                    </a:srgbClr>
                  </a:solidFill>
                </a:rPr>
                <a:t>Retention policies and legal hold</a:t>
              </a:r>
            </a:p>
            <a:p>
              <a:pPr algn="r" defTabSz="914079" fontAlgn="base">
                <a:lnSpc>
                  <a:spcPct val="150000"/>
                </a:lnSpc>
                <a:spcBef>
                  <a:spcPct val="0"/>
                </a:spcBef>
                <a:spcAft>
                  <a:spcPct val="0"/>
                </a:spcAft>
              </a:pPr>
              <a:r>
                <a:rPr lang="en-US" sz="1200" spc="-18" dirty="0">
                  <a:solidFill>
                    <a:srgbClr val="595959">
                      <a:lumMod val="75000"/>
                      <a:alpha val="99000"/>
                    </a:srgbClr>
                  </a:solidFill>
                </a:rPr>
                <a:t>25Gb mailbox with voicemail &amp; unified messaging</a:t>
              </a:r>
            </a:p>
          </p:txBody>
        </p:sp>
        <p:pic>
          <p:nvPicPr>
            <p:cNvPr id="52" name="Picture 51"/>
            <p:cNvPicPr>
              <a:picLocks noChangeAspect="1" noChangeArrowheads="1"/>
            </p:cNvPicPr>
            <p:nvPr/>
          </p:nvPicPr>
          <p:blipFill>
            <a:blip r:embed="rId9" cstate="email">
              <a:extLst>
                <a:ext uri="{28A0092B-C50C-407E-A947-70E740481C1C}">
                  <a14:useLocalDpi xmlns:a14="http://schemas.microsoft.com/office/drawing/2010/main"/>
                </a:ext>
              </a:extLst>
            </a:blip>
            <a:stretch>
              <a:fillRect/>
            </a:stretch>
          </p:blipFill>
          <p:spPr bwMode="auto">
            <a:xfrm>
              <a:off x="8514747" y="4314640"/>
              <a:ext cx="3063871" cy="577700"/>
            </a:xfrm>
            <a:prstGeom prst="rect">
              <a:avLst/>
            </a:prstGeom>
            <a:noFill/>
            <a:ln w="9525">
              <a:noFill/>
              <a:miter lim="800000"/>
              <a:headEnd/>
              <a:tailEnd/>
            </a:ln>
          </p:spPr>
        </p:pic>
      </p:grpSp>
      <p:sp>
        <p:nvSpPr>
          <p:cNvPr id="6" name="Rectangle 5"/>
          <p:cNvSpPr/>
          <p:nvPr/>
        </p:nvSpPr>
        <p:spPr bwMode="auto">
          <a:xfrm>
            <a:off x="3655503" y="2890974"/>
            <a:ext cx="1832994" cy="183299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9" tIns="34299" rIns="34299" bIns="34299" numCol="1" spcCol="0" rtlCol="0" fromWordArt="0" anchor="ctr" anchorCtr="0" forceAA="0" compatLnSpc="1">
            <a:prstTxWarp prst="textNoShape">
              <a:avLst/>
            </a:prstTxWarp>
            <a:noAutofit/>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p:nvGrpSpPr>
        <p:grpSpPr>
          <a:xfrm>
            <a:off x="0" y="1612425"/>
            <a:ext cx="4512209" cy="2140253"/>
            <a:chOff x="0" y="-4422260"/>
            <a:chExt cx="6014712" cy="2852928"/>
          </a:xfrm>
        </p:grpSpPr>
        <p:grpSp>
          <p:nvGrpSpPr>
            <p:cNvPr id="8" name="Group 7"/>
            <p:cNvGrpSpPr/>
            <p:nvPr/>
          </p:nvGrpSpPr>
          <p:grpSpPr>
            <a:xfrm>
              <a:off x="0" y="-4422260"/>
              <a:ext cx="6014712" cy="2852928"/>
              <a:chOff x="0" y="1008998"/>
              <a:chExt cx="6014712" cy="2852928"/>
            </a:xfrm>
          </p:grpSpPr>
          <p:sp>
            <p:nvSpPr>
              <p:cNvPr id="19" name="Rectangle 18"/>
              <p:cNvSpPr/>
              <p:nvPr/>
            </p:nvSpPr>
            <p:spPr bwMode="auto">
              <a:xfrm>
                <a:off x="0" y="1008998"/>
                <a:ext cx="6014712" cy="2852928"/>
              </a:xfrm>
              <a:prstGeom prst="rect">
                <a:avLst/>
              </a:prstGeom>
              <a:solidFill>
                <a:schemeClr val="bg1">
                  <a:lumMod val="95000"/>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9" tIns="34299" rIns="34299" bIns="34299" numCol="1" spcCol="0" rtlCol="0" fromWordArt="0" anchor="ctr" anchorCtr="0" forceAA="0" compatLnSpc="1">
                <a:prstTxWarp prst="textNoShape">
                  <a:avLst/>
                </a:prstTxWarp>
                <a:noAutofit/>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a:xfrm>
                <a:off x="483937" y="1794717"/>
                <a:ext cx="5483477" cy="1600022"/>
              </a:xfrm>
              <a:prstGeom prst="rect">
                <a:avLst/>
              </a:prstGeom>
            </p:spPr>
            <p:txBody>
              <a:bodyPr wrap="square">
                <a:spAutoFit/>
              </a:bodyPr>
              <a:lstStyle/>
              <a:p>
                <a:pPr defTabSz="914079" fontAlgn="base">
                  <a:lnSpc>
                    <a:spcPct val="150000"/>
                  </a:lnSpc>
                  <a:spcBef>
                    <a:spcPct val="0"/>
                  </a:spcBef>
                  <a:spcAft>
                    <a:spcPct val="0"/>
                  </a:spcAft>
                </a:pPr>
                <a:r>
                  <a:rPr lang="en-US" sz="1200" spc="-18" dirty="0">
                    <a:solidFill>
                      <a:srgbClr val="595959">
                        <a:lumMod val="75000"/>
                        <a:alpha val="99000"/>
                      </a:srgbClr>
                    </a:solidFill>
                  </a:rPr>
                  <a:t>Always the latest version of Office and Office Web Apps</a:t>
                </a:r>
              </a:p>
              <a:p>
                <a:pPr defTabSz="914079" fontAlgn="base">
                  <a:lnSpc>
                    <a:spcPct val="150000"/>
                  </a:lnSpc>
                  <a:spcBef>
                    <a:spcPct val="0"/>
                  </a:spcBef>
                  <a:spcAft>
                    <a:spcPct val="0"/>
                  </a:spcAft>
                </a:pPr>
                <a:r>
                  <a:rPr lang="en-US" sz="1200" spc="-18" dirty="0">
                    <a:solidFill>
                      <a:srgbClr val="595959">
                        <a:lumMod val="75000"/>
                        <a:alpha val="99000"/>
                      </a:srgbClr>
                    </a:solidFill>
                  </a:rPr>
                  <a:t>Complete Office experience with services integration</a:t>
                </a:r>
              </a:p>
              <a:p>
                <a:pPr defTabSz="914079" fontAlgn="base">
                  <a:lnSpc>
                    <a:spcPct val="150000"/>
                  </a:lnSpc>
                  <a:spcBef>
                    <a:spcPct val="0"/>
                  </a:spcBef>
                  <a:spcAft>
                    <a:spcPct val="0"/>
                  </a:spcAft>
                  <a:tabLst>
                    <a:tab pos="465330" algn="l"/>
                  </a:tabLst>
                </a:pPr>
                <a:r>
                  <a:rPr lang="en-US" sz="1200" spc="-18" dirty="0">
                    <a:solidFill>
                      <a:srgbClr val="595959">
                        <a:lumMod val="75000"/>
                        <a:alpha val="99000"/>
                      </a:srgbClr>
                    </a:solidFill>
                  </a:rPr>
                  <a:t>Familiar Office user experience</a:t>
                </a:r>
              </a:p>
              <a:p>
                <a:pPr defTabSz="914079" fontAlgn="base">
                  <a:lnSpc>
                    <a:spcPct val="150000"/>
                  </a:lnSpc>
                  <a:spcBef>
                    <a:spcPct val="0"/>
                  </a:spcBef>
                  <a:spcAft>
                    <a:spcPct val="0"/>
                  </a:spcAft>
                  <a:tabLst>
                    <a:tab pos="465330" algn="l"/>
                  </a:tabLst>
                </a:pPr>
                <a:r>
                  <a:rPr lang="en-US" sz="1200" spc="-18" dirty="0">
                    <a:solidFill>
                      <a:srgbClr val="595959">
                        <a:lumMod val="75000"/>
                        <a:alpha val="99000"/>
                      </a:srgbClr>
                    </a:solidFill>
                  </a:rPr>
                  <a:t>Per-user licensing</a:t>
                </a:r>
              </a:p>
            </p:txBody>
          </p:sp>
        </p:grpSp>
        <p:pic>
          <p:nvPicPr>
            <p:cNvPr id="34" name="Picture 33"/>
            <p:cNvPicPr>
              <a:picLocks noChangeAspect="1"/>
            </p:cNvPicPr>
            <p:nvPr/>
          </p:nvPicPr>
          <p:blipFill rotWithShape="1">
            <a:blip r:embed="rId10" cstate="email">
              <a:extLst>
                <a:ext uri="{28A0092B-C50C-407E-A947-70E740481C1C}">
                  <a14:useLocalDpi xmlns:a14="http://schemas.microsoft.com/office/drawing/2010/main"/>
                </a:ext>
              </a:extLst>
            </a:blip>
            <a:srcRect r="30966"/>
            <a:stretch/>
          </p:blipFill>
          <p:spPr>
            <a:xfrm>
              <a:off x="483935" y="-4365023"/>
              <a:ext cx="1599176" cy="802435"/>
            </a:xfrm>
            <a:prstGeom prst="rect">
              <a:avLst/>
            </a:prstGeom>
          </p:spPr>
        </p:pic>
      </p:grpSp>
      <p:sp>
        <p:nvSpPr>
          <p:cNvPr id="13" name="Rectangle 12"/>
          <p:cNvSpPr/>
          <p:nvPr/>
        </p:nvSpPr>
        <p:spPr bwMode="auto">
          <a:xfrm>
            <a:off x="3775071" y="3008869"/>
            <a:ext cx="1593859" cy="1597206"/>
          </a:xfrm>
          <a:prstGeom prst="rect">
            <a:avLst/>
          </a:prstGeom>
          <a:solidFill>
            <a:schemeClr val="accent1"/>
          </a:solid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68595" tIns="34297" rIns="68595" bIns="34297" numCol="1" rtlCol="0" anchor="ctr" anchorCtr="0" compatLnSpc="1">
            <a:prstTxWarp prst="textNoShape">
              <a:avLst/>
            </a:prstTxWarp>
          </a:bodyPr>
          <a:lstStyle/>
          <a:p>
            <a:pPr algn="ctr" defTabSz="914182"/>
            <a:endParaRPr lang="en-US" dirty="0">
              <a:solidFill>
                <a:srgbClr val="EB3C00"/>
              </a:solidFill>
            </a:endParaRPr>
          </a:p>
        </p:txBody>
      </p:sp>
      <p:pic>
        <p:nvPicPr>
          <p:cNvPr id="4" name="Picture 3"/>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768859" y="3529265"/>
            <a:ext cx="1606280" cy="556412"/>
          </a:xfrm>
          <a:prstGeom prst="rect">
            <a:avLst/>
          </a:prstGeom>
        </p:spPr>
      </p:pic>
      <p:sp>
        <p:nvSpPr>
          <p:cNvPr id="3" name="TextBox 2"/>
          <p:cNvSpPr txBox="1"/>
          <p:nvPr/>
        </p:nvSpPr>
        <p:spPr>
          <a:xfrm>
            <a:off x="2438400" y="6172200"/>
            <a:ext cx="4474963" cy="461665"/>
          </a:xfrm>
          <a:prstGeom prst="rect">
            <a:avLst/>
          </a:prstGeom>
          <a:noFill/>
        </p:spPr>
        <p:txBody>
          <a:bodyPr wrap="square" rtlCol="0">
            <a:spAutoFit/>
          </a:bodyPr>
          <a:lstStyle/>
          <a:p>
            <a:pPr algn="ctr"/>
            <a:r>
              <a:rPr lang="zh-TW" altLang="en-US" sz="2400" b="1" dirty="0" smtClean="0">
                <a:gradFill>
                  <a:gsLst>
                    <a:gs pos="0">
                      <a:schemeClr val="tx1">
                        <a:lumMod val="75000"/>
                        <a:lumOff val="25000"/>
                      </a:schemeClr>
                    </a:gs>
                    <a:gs pos="99000">
                      <a:schemeClr val="tx1">
                        <a:lumMod val="75000"/>
                        <a:lumOff val="25000"/>
                      </a:schemeClr>
                    </a:gs>
                  </a:gsLst>
                  <a:lin ang="5400000" scaled="0"/>
                </a:gradFill>
              </a:rPr>
              <a:t>依使用者作為授權單位</a:t>
            </a:r>
          </a:p>
        </p:txBody>
      </p:sp>
    </p:spTree>
    <p:extLst>
      <p:ext uri="{BB962C8B-B14F-4D97-AF65-F5344CB8AC3E}">
        <p14:creationId xmlns:p14="http://schemas.microsoft.com/office/powerpoint/2010/main" val="230122784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75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75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75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smtClean="0"/>
              <a:t>O365 </a:t>
            </a:r>
            <a:r>
              <a:rPr lang="zh-TW" altLang="en-US" dirty="0" smtClean="0"/>
              <a:t>通路比較</a:t>
            </a:r>
            <a:endParaRPr lang="zh-TW" altLang="en-US" dirty="0"/>
          </a:p>
        </p:txBody>
      </p:sp>
      <p:pic>
        <p:nvPicPr>
          <p:cNvPr id="4" name="Picture 3"/>
          <p:cNvPicPr>
            <a:picLocks noChangeAspect="1"/>
          </p:cNvPicPr>
          <p:nvPr/>
        </p:nvPicPr>
        <p:blipFill>
          <a:blip r:embed="rId3"/>
          <a:stretch>
            <a:fillRect/>
          </a:stretch>
        </p:blipFill>
        <p:spPr>
          <a:xfrm>
            <a:off x="295275" y="2119312"/>
            <a:ext cx="8553450" cy="2619375"/>
          </a:xfrm>
          <a:prstGeom prst="rect">
            <a:avLst/>
          </a:prstGeom>
        </p:spPr>
      </p:pic>
      <p:pic>
        <p:nvPicPr>
          <p:cNvPr id="6" name="Picture 5"/>
          <p:cNvPicPr>
            <a:picLocks noChangeAspect="1"/>
          </p:cNvPicPr>
          <p:nvPr/>
        </p:nvPicPr>
        <p:blipFill>
          <a:blip r:embed="rId4"/>
          <a:stretch>
            <a:fillRect/>
          </a:stretch>
        </p:blipFill>
        <p:spPr>
          <a:xfrm>
            <a:off x="6962775" y="3754437"/>
            <a:ext cx="1724025" cy="390525"/>
          </a:xfrm>
          <a:prstGeom prst="rect">
            <a:avLst/>
          </a:prstGeom>
        </p:spPr>
      </p:pic>
      <p:sp>
        <p:nvSpPr>
          <p:cNvPr id="3" name="投影片編號版面配置區 2"/>
          <p:cNvSpPr>
            <a:spLocks noGrp="1"/>
          </p:cNvSpPr>
          <p:nvPr>
            <p:ph type="sldNum" sz="quarter" idx="12"/>
          </p:nvPr>
        </p:nvSpPr>
        <p:spPr/>
        <p:txBody>
          <a:bodyPr/>
          <a:lstStyle/>
          <a:p>
            <a:pPr>
              <a:defRPr/>
            </a:pPr>
            <a:fld id="{1D9970BA-2F58-4996-9806-696110DA0FEA}" type="slidenum">
              <a:rPr lang="en-US" smtClean="0"/>
              <a:pPr>
                <a:defRPr/>
              </a:pPr>
              <a:t>42</a:t>
            </a:fld>
            <a:endParaRPr lang="zh-CN" altLang="en-US"/>
          </a:p>
        </p:txBody>
      </p:sp>
    </p:spTree>
    <p:extLst>
      <p:ext uri="{BB962C8B-B14F-4D97-AF65-F5344CB8AC3E}">
        <p14:creationId xmlns:p14="http://schemas.microsoft.com/office/powerpoint/2010/main" val="3970205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04800" y="2438400"/>
            <a:ext cx="5181600" cy="1676400"/>
          </a:xfrm>
        </p:spPr>
        <p:txBody>
          <a:bodyPr>
            <a:normAutofit/>
          </a:bodyPr>
          <a:lstStyle/>
          <a:p>
            <a:r>
              <a:rPr lang="en-US" altLang="zh-TW" sz="4000" b="1" dirty="0" smtClean="0">
                <a:latin typeface="+mj-lt"/>
                <a:ea typeface="微軟正黑體" pitchFamily="34" charset="-120"/>
              </a:rPr>
              <a:t>Server</a:t>
            </a:r>
            <a:r>
              <a:rPr lang="en-US" altLang="zh-TW" sz="4000" dirty="0" smtClean="0">
                <a:latin typeface="微軟正黑體" pitchFamily="34" charset="-120"/>
                <a:ea typeface="微軟正黑體" pitchFamily="34" charset="-120"/>
              </a:rPr>
              <a:t> </a:t>
            </a:r>
            <a:br>
              <a:rPr lang="en-US" altLang="zh-TW" sz="4000" dirty="0" smtClean="0">
                <a:latin typeface="微軟正黑體" pitchFamily="34" charset="-120"/>
                <a:ea typeface="微軟正黑體" pitchFamily="34" charset="-120"/>
              </a:rPr>
            </a:br>
            <a:r>
              <a:rPr lang="zh-TW" altLang="en-US" sz="4000" dirty="0" smtClean="0">
                <a:latin typeface="微軟正黑體" pitchFamily="34" charset="-120"/>
                <a:ea typeface="微軟正黑體" pitchFamily="34" charset="-120"/>
              </a:rPr>
              <a:t>授權模式</a:t>
            </a:r>
            <a:endParaRPr lang="en-US" sz="4000" dirty="0"/>
          </a:p>
        </p:txBody>
      </p:sp>
    </p:spTree>
    <p:extLst>
      <p:ext uri="{BB962C8B-B14F-4D97-AF65-F5344CB8AC3E}">
        <p14:creationId xmlns:p14="http://schemas.microsoft.com/office/powerpoint/2010/main" val="380008753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4"/>
          <p:cNvSpPr>
            <a:spLocks noChangeArrowheads="1"/>
          </p:cNvSpPr>
          <p:nvPr/>
        </p:nvSpPr>
        <p:spPr bwMode="auto">
          <a:xfrm>
            <a:off x="782664" y="4164003"/>
            <a:ext cx="1803466" cy="1598612"/>
          </a:xfrm>
          <a:prstGeom prst="rect">
            <a:avLst/>
          </a:prstGeom>
          <a:ln>
            <a:headEnd/>
            <a:tailEnd/>
          </a:ln>
        </p:spPr>
        <p:style>
          <a:lnRef idx="0">
            <a:schemeClr val="accent4"/>
          </a:lnRef>
          <a:fillRef idx="3">
            <a:schemeClr val="accent4"/>
          </a:fillRef>
          <a:effectRef idx="3">
            <a:schemeClr val="accent4"/>
          </a:effectRef>
          <a:fontRef idx="minor">
            <a:schemeClr val="lt1"/>
          </a:fontRef>
        </p:style>
        <p:txBody>
          <a:bodyPr wrap="none" anchor="ctr"/>
          <a:lstStyle/>
          <a:p>
            <a:pPr algn="ctr" fontAlgn="auto">
              <a:spcAft>
                <a:spcPts val="0"/>
              </a:spcAft>
              <a:defRPr/>
            </a:pPr>
            <a:r>
              <a:rPr kumimoji="0" lang="zh-TW" altLang="en-US" sz="2000" b="1" dirty="0">
                <a:solidFill>
                  <a:schemeClr val="tx1"/>
                </a:solidFill>
                <a:latin typeface="微軟正黑體" pitchFamily="34" charset="-120"/>
                <a:ea typeface="微軟正黑體" pitchFamily="34" charset="-120"/>
              </a:rPr>
              <a:t>伺服器</a:t>
            </a:r>
            <a:r>
              <a:rPr kumimoji="0" lang="zh-TW" altLang="en-US" sz="2000" b="1" dirty="0" smtClean="0">
                <a:solidFill>
                  <a:schemeClr val="tx1"/>
                </a:solidFill>
                <a:latin typeface="微軟正黑體" pitchFamily="34" charset="-120"/>
                <a:ea typeface="微軟正黑體" pitchFamily="34" charset="-120"/>
              </a:rPr>
              <a:t>授權</a:t>
            </a:r>
            <a:endParaRPr kumimoji="0" lang="en-US" altLang="zh-TW" sz="2000" b="1" dirty="0" smtClean="0">
              <a:solidFill>
                <a:schemeClr val="tx1"/>
              </a:solidFill>
              <a:latin typeface="微軟正黑體" pitchFamily="34" charset="-120"/>
              <a:ea typeface="微軟正黑體" pitchFamily="34" charset="-120"/>
            </a:endParaRPr>
          </a:p>
          <a:p>
            <a:pPr algn="ctr" fontAlgn="auto">
              <a:spcAft>
                <a:spcPts val="0"/>
              </a:spcAft>
              <a:defRPr/>
            </a:pPr>
            <a:r>
              <a:rPr kumimoji="0" lang="en-US" altLang="zh-TW" sz="2000" b="1" dirty="0" smtClean="0">
                <a:solidFill>
                  <a:schemeClr val="tx1"/>
                </a:solidFill>
                <a:latin typeface="微軟正黑體" pitchFamily="34" charset="-120"/>
                <a:ea typeface="微軟正黑體" pitchFamily="34" charset="-120"/>
              </a:rPr>
              <a:t>(Server)</a:t>
            </a:r>
            <a:endParaRPr kumimoji="0" lang="zh-TW" altLang="en-US" sz="2000" b="1" dirty="0">
              <a:solidFill>
                <a:schemeClr val="tx1"/>
              </a:solidFill>
              <a:latin typeface="微軟正黑體" pitchFamily="34" charset="-120"/>
              <a:ea typeface="微軟正黑體" pitchFamily="34" charset="-120"/>
            </a:endParaRPr>
          </a:p>
        </p:txBody>
      </p:sp>
      <p:sp>
        <p:nvSpPr>
          <p:cNvPr id="13" name="AutoShape 5"/>
          <p:cNvSpPr>
            <a:spLocks noChangeArrowheads="1"/>
          </p:cNvSpPr>
          <p:nvPr/>
        </p:nvSpPr>
        <p:spPr bwMode="auto">
          <a:xfrm rot="-5400000">
            <a:off x="2064890" y="1613374"/>
            <a:ext cx="1138228" cy="3702680"/>
          </a:xfrm>
          <a:prstGeom prst="homePlate">
            <a:avLst>
              <a:gd name="adj" fmla="val 27778"/>
            </a:avLst>
          </a:prstGeom>
          <a:ln>
            <a:headEnd/>
            <a:tailEnd/>
          </a:ln>
        </p:spPr>
        <p:style>
          <a:lnRef idx="0">
            <a:schemeClr val="accent3"/>
          </a:lnRef>
          <a:fillRef idx="3">
            <a:schemeClr val="accent3"/>
          </a:fillRef>
          <a:effectRef idx="3">
            <a:schemeClr val="accent3"/>
          </a:effectRef>
          <a:fontRef idx="minor">
            <a:schemeClr val="lt1"/>
          </a:fontRef>
        </p:style>
        <p:txBody>
          <a:bodyPr vert="eaVert" anchor="ctr"/>
          <a:lstStyle/>
          <a:p>
            <a:pPr algn="ctr" fontAlgn="auto">
              <a:spcAft>
                <a:spcPts val="0"/>
              </a:spcAft>
              <a:defRPr/>
            </a:pPr>
            <a:r>
              <a:rPr kumimoji="0" lang="en-US" altLang="zh-TW" sz="2000" b="1" dirty="0" smtClean="0">
                <a:solidFill>
                  <a:schemeClr val="tx1"/>
                </a:solidFill>
                <a:latin typeface="微軟正黑體" pitchFamily="34" charset="-120"/>
                <a:ea typeface="微軟正黑體" pitchFamily="34" charset="-120"/>
              </a:rPr>
              <a:t>CAL*</a:t>
            </a:r>
            <a:endParaRPr kumimoji="0" lang="en-US" altLang="zh-TW" sz="2000" b="1" dirty="0">
              <a:solidFill>
                <a:schemeClr val="tx1"/>
              </a:solidFill>
              <a:latin typeface="微軟正黑體" pitchFamily="34" charset="-120"/>
              <a:ea typeface="微軟正黑體" pitchFamily="34" charset="-120"/>
            </a:endParaRPr>
          </a:p>
          <a:p>
            <a:pPr algn="ctr" fontAlgn="auto">
              <a:spcAft>
                <a:spcPts val="0"/>
              </a:spcAft>
              <a:defRPr/>
            </a:pPr>
            <a:r>
              <a:rPr kumimoji="0" lang="zh-TW" altLang="en-US" sz="2000" b="1" dirty="0" smtClean="0">
                <a:solidFill>
                  <a:schemeClr val="tx1"/>
                </a:solidFill>
                <a:latin typeface="微軟正黑體" pitchFamily="34" charset="-120"/>
                <a:ea typeface="微軟正黑體" pitchFamily="34" charset="-120"/>
              </a:rPr>
              <a:t>使用端授權</a:t>
            </a:r>
            <a:endParaRPr kumimoji="0" lang="en-US" altLang="zh-TW" sz="2000" b="1" dirty="0" smtClean="0">
              <a:solidFill>
                <a:schemeClr val="tx1"/>
              </a:solidFill>
              <a:latin typeface="微軟正黑體" pitchFamily="34" charset="-120"/>
              <a:ea typeface="微軟正黑體" pitchFamily="34" charset="-120"/>
            </a:endParaRPr>
          </a:p>
          <a:p>
            <a:pPr algn="ctr" fontAlgn="auto">
              <a:spcAft>
                <a:spcPts val="0"/>
              </a:spcAft>
              <a:defRPr/>
            </a:pPr>
            <a:r>
              <a:rPr kumimoji="0" lang="en-US" altLang="zh-TW" sz="2000" b="1" dirty="0" smtClean="0">
                <a:solidFill>
                  <a:schemeClr val="tx1"/>
                </a:solidFill>
                <a:latin typeface="微軟正黑體" pitchFamily="34" charset="-120"/>
                <a:ea typeface="微軟正黑體" pitchFamily="34" charset="-120"/>
              </a:rPr>
              <a:t>(User</a:t>
            </a:r>
            <a:r>
              <a:rPr kumimoji="0" lang="zh-TW" altLang="en-US" sz="2000" b="1" dirty="0" smtClean="0">
                <a:solidFill>
                  <a:schemeClr val="tx1"/>
                </a:solidFill>
                <a:latin typeface="微軟正黑體" pitchFamily="34" charset="-120"/>
                <a:ea typeface="微軟正黑體" pitchFamily="34" charset="-120"/>
              </a:rPr>
              <a:t>、</a:t>
            </a:r>
            <a:r>
              <a:rPr kumimoji="0" lang="en-US" altLang="zh-TW" sz="2000" b="1" dirty="0" smtClean="0">
                <a:solidFill>
                  <a:schemeClr val="tx1"/>
                </a:solidFill>
                <a:latin typeface="微軟正黑體" pitchFamily="34" charset="-120"/>
                <a:ea typeface="微軟正黑體" pitchFamily="34" charset="-120"/>
              </a:rPr>
              <a:t>Device)</a:t>
            </a:r>
            <a:endParaRPr kumimoji="0" lang="zh-TW" altLang="en-US" sz="2000" b="1" dirty="0">
              <a:solidFill>
                <a:schemeClr val="tx1"/>
              </a:solidFill>
              <a:latin typeface="微軟正黑體" pitchFamily="34" charset="-120"/>
              <a:ea typeface="微軟正黑體" pitchFamily="34" charset="-120"/>
            </a:endParaRPr>
          </a:p>
        </p:txBody>
      </p:sp>
      <p:sp>
        <p:nvSpPr>
          <p:cNvPr id="15" name="AutoShape 7"/>
          <p:cNvSpPr>
            <a:spLocks noChangeArrowheads="1"/>
          </p:cNvSpPr>
          <p:nvPr/>
        </p:nvSpPr>
        <p:spPr bwMode="auto">
          <a:xfrm rot="-5400000">
            <a:off x="4839521" y="1958170"/>
            <a:ext cx="3905250" cy="3560763"/>
          </a:xfrm>
          <a:prstGeom prst="homePlate">
            <a:avLst>
              <a:gd name="adj" fmla="val 27419"/>
            </a:avLst>
          </a:prstGeom>
          <a:ln>
            <a:headEnd/>
            <a:tailEnd/>
          </a:ln>
        </p:spPr>
        <p:style>
          <a:lnRef idx="0">
            <a:schemeClr val="accent6"/>
          </a:lnRef>
          <a:fillRef idx="3">
            <a:schemeClr val="accent6"/>
          </a:fillRef>
          <a:effectRef idx="3">
            <a:schemeClr val="accent6"/>
          </a:effectRef>
          <a:fontRef idx="minor">
            <a:schemeClr val="lt1"/>
          </a:fontRef>
        </p:style>
        <p:txBody>
          <a:bodyPr vert="eaVert" anchor="t"/>
          <a:lstStyle/>
          <a:p>
            <a:pPr algn="ctr" fontAlgn="auto">
              <a:spcAft>
                <a:spcPts val="0"/>
              </a:spcAft>
              <a:defRPr/>
            </a:pPr>
            <a:r>
              <a:rPr lang="zh-TW" altLang="en-US" sz="2000" b="1" dirty="0">
                <a:solidFill>
                  <a:schemeClr val="tx1"/>
                </a:solidFill>
                <a:latin typeface="微軟正黑體" pitchFamily="34" charset="-120"/>
                <a:ea typeface="微軟正黑體" pitchFamily="34" charset="-120"/>
              </a:rPr>
              <a:t>核心</a:t>
            </a:r>
            <a:r>
              <a:rPr lang="zh-TW" altLang="en-US" sz="2000" b="1" dirty="0" smtClean="0">
                <a:solidFill>
                  <a:schemeClr val="tx1"/>
                </a:solidFill>
                <a:latin typeface="微軟正黑體" pitchFamily="34" charset="-120"/>
                <a:ea typeface="微軟正黑體" pitchFamily="34" charset="-120"/>
              </a:rPr>
              <a:t>授權</a:t>
            </a:r>
            <a:endParaRPr lang="en-US" altLang="zh-TW" sz="2000" b="1" dirty="0" smtClean="0">
              <a:solidFill>
                <a:schemeClr val="tx1"/>
              </a:solidFill>
              <a:latin typeface="微軟正黑體" pitchFamily="34" charset="-120"/>
              <a:ea typeface="微軟正黑體" pitchFamily="34" charset="-120"/>
            </a:endParaRPr>
          </a:p>
          <a:p>
            <a:pPr algn="ctr" fontAlgn="auto">
              <a:spcAft>
                <a:spcPts val="0"/>
              </a:spcAft>
              <a:defRPr/>
            </a:pPr>
            <a:r>
              <a:rPr kumimoji="0" lang="en-US" altLang="zh-TW" sz="2000" b="1" dirty="0" smtClean="0">
                <a:solidFill>
                  <a:schemeClr val="tx1"/>
                </a:solidFill>
                <a:latin typeface="微軟正黑體" pitchFamily="34" charset="-120"/>
                <a:ea typeface="微軟正黑體" pitchFamily="34" charset="-120"/>
              </a:rPr>
              <a:t>(Core)</a:t>
            </a:r>
          </a:p>
        </p:txBody>
      </p:sp>
      <p:sp>
        <p:nvSpPr>
          <p:cNvPr id="3" name="Title 2"/>
          <p:cNvSpPr>
            <a:spLocks noGrp="1"/>
          </p:cNvSpPr>
          <p:nvPr>
            <p:ph type="title"/>
          </p:nvPr>
        </p:nvSpPr>
        <p:spPr/>
        <p:txBody>
          <a:bodyPr>
            <a:normAutofit fontScale="90000"/>
          </a:bodyPr>
          <a:lstStyle/>
          <a:p>
            <a:r>
              <a:rPr lang="zh-TW" altLang="en-US" dirty="0">
                <a:latin typeface="微軟正黑體" pitchFamily="34" charset="-120"/>
                <a:ea typeface="微軟正黑體" pitchFamily="34" charset="-120"/>
              </a:rPr>
              <a:t>三</a:t>
            </a:r>
            <a:r>
              <a:rPr lang="zh-TW" altLang="en-US" dirty="0" smtClean="0">
                <a:latin typeface="微軟正黑體" pitchFamily="34" charset="-120"/>
                <a:ea typeface="微軟正黑體" pitchFamily="34" charset="-120"/>
              </a:rPr>
              <a:t>種最常見的 </a:t>
            </a:r>
            <a:r>
              <a:rPr lang="en-US" altLang="zh-TW" dirty="0" smtClean="0">
                <a:latin typeface="微軟正黑體" pitchFamily="34" charset="-120"/>
                <a:ea typeface="微軟正黑體" pitchFamily="34" charset="-120"/>
              </a:rPr>
              <a:t>Server </a:t>
            </a:r>
            <a:r>
              <a:rPr lang="zh-TW" altLang="en-US" dirty="0" smtClean="0">
                <a:latin typeface="微軟正黑體" pitchFamily="34" charset="-120"/>
                <a:ea typeface="微軟正黑體" pitchFamily="34" charset="-120"/>
              </a:rPr>
              <a:t>授權模式</a:t>
            </a:r>
            <a:endParaRPr lang="en-US" dirty="0">
              <a:latin typeface="微軟正黑體" pitchFamily="34" charset="-120"/>
              <a:ea typeface="微軟正黑體" pitchFamily="34" charset="-120"/>
            </a:endParaRPr>
          </a:p>
        </p:txBody>
      </p:sp>
      <p:grpSp>
        <p:nvGrpSpPr>
          <p:cNvPr id="8" name="Group 7"/>
          <p:cNvGrpSpPr/>
          <p:nvPr>
            <p:custDataLst>
              <p:tags r:id="rId1"/>
            </p:custDataLst>
          </p:nvPr>
        </p:nvGrpSpPr>
        <p:grpSpPr>
          <a:xfrm>
            <a:off x="5791200" y="4191000"/>
            <a:ext cx="2057399" cy="1922097"/>
            <a:chOff x="5619444" y="2442381"/>
            <a:chExt cx="2243755" cy="1572559"/>
          </a:xfrm>
        </p:grpSpPr>
        <p:grpSp>
          <p:nvGrpSpPr>
            <p:cNvPr id="9" name="Group 8"/>
            <p:cNvGrpSpPr/>
            <p:nvPr/>
          </p:nvGrpSpPr>
          <p:grpSpPr>
            <a:xfrm>
              <a:off x="5619444" y="2442381"/>
              <a:ext cx="2243755" cy="1572559"/>
              <a:chOff x="3392303" y="2951000"/>
              <a:chExt cx="5833178" cy="4088242"/>
            </a:xfrm>
          </p:grpSpPr>
          <p:sp>
            <p:nvSpPr>
              <p:cNvPr id="47" name="Freeform 46"/>
              <p:cNvSpPr/>
              <p:nvPr/>
            </p:nvSpPr>
            <p:spPr>
              <a:xfrm>
                <a:off x="3699708" y="2951000"/>
                <a:ext cx="5525773" cy="4027260"/>
              </a:xfrm>
              <a:custGeom>
                <a:avLst/>
                <a:gdLst>
                  <a:gd name="connsiteX0" fmla="*/ 2461071 w 4815616"/>
                  <a:gd name="connsiteY0" fmla="*/ 0 h 3604855"/>
                  <a:gd name="connsiteX1" fmla="*/ 4815616 w 4815616"/>
                  <a:gd name="connsiteY1" fmla="*/ 1350532 h 3604855"/>
                  <a:gd name="connsiteX2" fmla="*/ 4815616 w 4815616"/>
                  <a:gd name="connsiteY2" fmla="*/ 2239039 h 3604855"/>
                  <a:gd name="connsiteX3" fmla="*/ 2609582 w 4815616"/>
                  <a:gd name="connsiteY3" fmla="*/ 3604855 h 3604855"/>
                  <a:gd name="connsiteX4" fmla="*/ 2603232 w 4815616"/>
                  <a:gd name="connsiteY4" fmla="*/ 2861839 h 3604855"/>
                  <a:gd name="connsiteX5" fmla="*/ 4793230 w 4815616"/>
                  <a:gd name="connsiteY5" fmla="*/ 1461676 h 3604855"/>
                  <a:gd name="connsiteX6" fmla="*/ 4793230 w 4815616"/>
                  <a:gd name="connsiteY6" fmla="*/ 1370236 h 3604855"/>
                  <a:gd name="connsiteX7" fmla="*/ 2594161 w 4815616"/>
                  <a:gd name="connsiteY7" fmla="*/ 2766942 h 3604855"/>
                  <a:gd name="connsiteX8" fmla="*/ 0 w 4815616"/>
                  <a:gd name="connsiteY8" fmla="*/ 1279510 h 3604855"/>
                  <a:gd name="connsiteX9" fmla="*/ 2461071 w 4815616"/>
                  <a:gd name="connsiteY9" fmla="*/ 0 h 3604855"/>
                  <a:gd name="connsiteX0" fmla="*/ 2461071 w 4815616"/>
                  <a:gd name="connsiteY0" fmla="*/ 0 h 3655655"/>
                  <a:gd name="connsiteX1" fmla="*/ 4815616 w 4815616"/>
                  <a:gd name="connsiteY1" fmla="*/ 1350532 h 3655655"/>
                  <a:gd name="connsiteX2" fmla="*/ 4815616 w 4815616"/>
                  <a:gd name="connsiteY2" fmla="*/ 2239039 h 3655655"/>
                  <a:gd name="connsiteX3" fmla="*/ 2603232 w 4815616"/>
                  <a:gd name="connsiteY3" fmla="*/ 3655655 h 3655655"/>
                  <a:gd name="connsiteX4" fmla="*/ 2603232 w 4815616"/>
                  <a:gd name="connsiteY4" fmla="*/ 2861839 h 3655655"/>
                  <a:gd name="connsiteX5" fmla="*/ 4793230 w 4815616"/>
                  <a:gd name="connsiteY5" fmla="*/ 1461676 h 3655655"/>
                  <a:gd name="connsiteX6" fmla="*/ 4793230 w 4815616"/>
                  <a:gd name="connsiteY6" fmla="*/ 1370236 h 3655655"/>
                  <a:gd name="connsiteX7" fmla="*/ 2594161 w 4815616"/>
                  <a:gd name="connsiteY7" fmla="*/ 2766942 h 3655655"/>
                  <a:gd name="connsiteX8" fmla="*/ 0 w 4815616"/>
                  <a:gd name="connsiteY8" fmla="*/ 1279510 h 3655655"/>
                  <a:gd name="connsiteX9" fmla="*/ 2461071 w 4815616"/>
                  <a:gd name="connsiteY9" fmla="*/ 0 h 3655655"/>
                  <a:gd name="connsiteX0" fmla="*/ 2256885 w 4815616"/>
                  <a:gd name="connsiteY0" fmla="*/ 0 h 3549123"/>
                  <a:gd name="connsiteX1" fmla="*/ 4815616 w 4815616"/>
                  <a:gd name="connsiteY1" fmla="*/ 1244000 h 3549123"/>
                  <a:gd name="connsiteX2" fmla="*/ 4815616 w 4815616"/>
                  <a:gd name="connsiteY2" fmla="*/ 2132507 h 3549123"/>
                  <a:gd name="connsiteX3" fmla="*/ 2603232 w 4815616"/>
                  <a:gd name="connsiteY3" fmla="*/ 3549123 h 3549123"/>
                  <a:gd name="connsiteX4" fmla="*/ 2603232 w 4815616"/>
                  <a:gd name="connsiteY4" fmla="*/ 2755307 h 3549123"/>
                  <a:gd name="connsiteX5" fmla="*/ 4793230 w 4815616"/>
                  <a:gd name="connsiteY5" fmla="*/ 1355144 h 3549123"/>
                  <a:gd name="connsiteX6" fmla="*/ 4793230 w 4815616"/>
                  <a:gd name="connsiteY6" fmla="*/ 1263704 h 3549123"/>
                  <a:gd name="connsiteX7" fmla="*/ 2594161 w 4815616"/>
                  <a:gd name="connsiteY7" fmla="*/ 2660410 h 3549123"/>
                  <a:gd name="connsiteX8" fmla="*/ 0 w 4815616"/>
                  <a:gd name="connsiteY8" fmla="*/ 1172978 h 3549123"/>
                  <a:gd name="connsiteX9" fmla="*/ 2256885 w 4815616"/>
                  <a:gd name="connsiteY9" fmla="*/ 0 h 3549123"/>
                  <a:gd name="connsiteX0" fmla="*/ 2474537 w 5033268"/>
                  <a:gd name="connsiteY0" fmla="*/ 0 h 3549123"/>
                  <a:gd name="connsiteX1" fmla="*/ 5033268 w 5033268"/>
                  <a:gd name="connsiteY1" fmla="*/ 1244000 h 3549123"/>
                  <a:gd name="connsiteX2" fmla="*/ 5033268 w 5033268"/>
                  <a:gd name="connsiteY2" fmla="*/ 2132507 h 3549123"/>
                  <a:gd name="connsiteX3" fmla="*/ 2820884 w 5033268"/>
                  <a:gd name="connsiteY3" fmla="*/ 3549123 h 3549123"/>
                  <a:gd name="connsiteX4" fmla="*/ 2820884 w 5033268"/>
                  <a:gd name="connsiteY4" fmla="*/ 2755307 h 3549123"/>
                  <a:gd name="connsiteX5" fmla="*/ 5010882 w 5033268"/>
                  <a:gd name="connsiteY5" fmla="*/ 1355144 h 3549123"/>
                  <a:gd name="connsiteX6" fmla="*/ 5010882 w 5033268"/>
                  <a:gd name="connsiteY6" fmla="*/ 1263704 h 3549123"/>
                  <a:gd name="connsiteX7" fmla="*/ 2811813 w 5033268"/>
                  <a:gd name="connsiteY7" fmla="*/ 2660410 h 3549123"/>
                  <a:gd name="connsiteX8" fmla="*/ 0 w 5033268"/>
                  <a:gd name="connsiteY8" fmla="*/ 1183342 h 3549123"/>
                  <a:gd name="connsiteX9" fmla="*/ 2474537 w 5033268"/>
                  <a:gd name="connsiteY9" fmla="*/ 0 h 3549123"/>
                  <a:gd name="connsiteX0" fmla="*/ 2474537 w 5033268"/>
                  <a:gd name="connsiteY0" fmla="*/ 0 h 3549123"/>
                  <a:gd name="connsiteX1" fmla="*/ 5033268 w 5033268"/>
                  <a:gd name="connsiteY1" fmla="*/ 1244000 h 3549123"/>
                  <a:gd name="connsiteX2" fmla="*/ 5033268 w 5033268"/>
                  <a:gd name="connsiteY2" fmla="*/ 2132507 h 3549123"/>
                  <a:gd name="connsiteX3" fmla="*/ 2820884 w 5033268"/>
                  <a:gd name="connsiteY3" fmla="*/ 3549123 h 3549123"/>
                  <a:gd name="connsiteX4" fmla="*/ 2820884 w 5033268"/>
                  <a:gd name="connsiteY4" fmla="*/ 2755307 h 3549123"/>
                  <a:gd name="connsiteX5" fmla="*/ 5010882 w 5033268"/>
                  <a:gd name="connsiteY5" fmla="*/ 1355144 h 3549123"/>
                  <a:gd name="connsiteX6" fmla="*/ 5010882 w 5033268"/>
                  <a:gd name="connsiteY6" fmla="*/ 1263704 h 3549123"/>
                  <a:gd name="connsiteX7" fmla="*/ 2744445 w 5033268"/>
                  <a:gd name="connsiteY7" fmla="*/ 2707049 h 3549123"/>
                  <a:gd name="connsiteX8" fmla="*/ 0 w 5033268"/>
                  <a:gd name="connsiteY8" fmla="*/ 1183342 h 3549123"/>
                  <a:gd name="connsiteX9" fmla="*/ 2474537 w 5033268"/>
                  <a:gd name="connsiteY9" fmla="*/ 0 h 3549123"/>
                  <a:gd name="connsiteX0" fmla="*/ 2474537 w 5033268"/>
                  <a:gd name="connsiteY0" fmla="*/ 0 h 3549123"/>
                  <a:gd name="connsiteX1" fmla="*/ 5033268 w 5033268"/>
                  <a:gd name="connsiteY1" fmla="*/ 1244000 h 3549123"/>
                  <a:gd name="connsiteX2" fmla="*/ 5033268 w 5033268"/>
                  <a:gd name="connsiteY2" fmla="*/ 2132507 h 3549123"/>
                  <a:gd name="connsiteX3" fmla="*/ 2820884 w 5033268"/>
                  <a:gd name="connsiteY3" fmla="*/ 3549123 h 3549123"/>
                  <a:gd name="connsiteX4" fmla="*/ 2758697 w 5033268"/>
                  <a:gd name="connsiteY4" fmla="*/ 2786402 h 3549123"/>
                  <a:gd name="connsiteX5" fmla="*/ 5010882 w 5033268"/>
                  <a:gd name="connsiteY5" fmla="*/ 1355144 h 3549123"/>
                  <a:gd name="connsiteX6" fmla="*/ 5010882 w 5033268"/>
                  <a:gd name="connsiteY6" fmla="*/ 1263704 h 3549123"/>
                  <a:gd name="connsiteX7" fmla="*/ 2744445 w 5033268"/>
                  <a:gd name="connsiteY7" fmla="*/ 2707049 h 3549123"/>
                  <a:gd name="connsiteX8" fmla="*/ 0 w 5033268"/>
                  <a:gd name="connsiteY8" fmla="*/ 1183342 h 3549123"/>
                  <a:gd name="connsiteX9" fmla="*/ 2474537 w 5033268"/>
                  <a:gd name="connsiteY9" fmla="*/ 0 h 3549123"/>
                  <a:gd name="connsiteX0" fmla="*/ 2474537 w 5033268"/>
                  <a:gd name="connsiteY0" fmla="*/ 0 h 3678678"/>
                  <a:gd name="connsiteX1" fmla="*/ 5033268 w 5033268"/>
                  <a:gd name="connsiteY1" fmla="*/ 1244000 h 3678678"/>
                  <a:gd name="connsiteX2" fmla="*/ 5033268 w 5033268"/>
                  <a:gd name="connsiteY2" fmla="*/ 2132507 h 3678678"/>
                  <a:gd name="connsiteX3" fmla="*/ 2758697 w 5033268"/>
                  <a:gd name="connsiteY3" fmla="*/ 3678678 h 3678678"/>
                  <a:gd name="connsiteX4" fmla="*/ 2758697 w 5033268"/>
                  <a:gd name="connsiteY4" fmla="*/ 2786402 h 3678678"/>
                  <a:gd name="connsiteX5" fmla="*/ 5010882 w 5033268"/>
                  <a:gd name="connsiteY5" fmla="*/ 1355144 h 3678678"/>
                  <a:gd name="connsiteX6" fmla="*/ 5010882 w 5033268"/>
                  <a:gd name="connsiteY6" fmla="*/ 1263704 h 3678678"/>
                  <a:gd name="connsiteX7" fmla="*/ 2744445 w 5033268"/>
                  <a:gd name="connsiteY7" fmla="*/ 2707049 h 3678678"/>
                  <a:gd name="connsiteX8" fmla="*/ 0 w 5033268"/>
                  <a:gd name="connsiteY8" fmla="*/ 1183342 h 3678678"/>
                  <a:gd name="connsiteX9" fmla="*/ 2474537 w 5033268"/>
                  <a:gd name="connsiteY9" fmla="*/ 0 h 3678678"/>
                  <a:gd name="connsiteX0" fmla="*/ 2474537 w 5033268"/>
                  <a:gd name="connsiteY0" fmla="*/ 0 h 3678678"/>
                  <a:gd name="connsiteX1" fmla="*/ 5033268 w 5033268"/>
                  <a:gd name="connsiteY1" fmla="*/ 1244000 h 3678678"/>
                  <a:gd name="connsiteX2" fmla="*/ 5033268 w 5033268"/>
                  <a:gd name="connsiteY2" fmla="*/ 2132507 h 3678678"/>
                  <a:gd name="connsiteX3" fmla="*/ 2774243 w 5033268"/>
                  <a:gd name="connsiteY3" fmla="*/ 3678678 h 3678678"/>
                  <a:gd name="connsiteX4" fmla="*/ 2758697 w 5033268"/>
                  <a:gd name="connsiteY4" fmla="*/ 2786402 h 3678678"/>
                  <a:gd name="connsiteX5" fmla="*/ 5010882 w 5033268"/>
                  <a:gd name="connsiteY5" fmla="*/ 1355144 h 3678678"/>
                  <a:gd name="connsiteX6" fmla="*/ 5010882 w 5033268"/>
                  <a:gd name="connsiteY6" fmla="*/ 1263704 h 3678678"/>
                  <a:gd name="connsiteX7" fmla="*/ 2744445 w 5033268"/>
                  <a:gd name="connsiteY7" fmla="*/ 2707049 h 3678678"/>
                  <a:gd name="connsiteX8" fmla="*/ 0 w 5033268"/>
                  <a:gd name="connsiteY8" fmla="*/ 1183342 h 3678678"/>
                  <a:gd name="connsiteX9" fmla="*/ 2474537 w 5033268"/>
                  <a:gd name="connsiteY9" fmla="*/ 0 h 3678678"/>
                  <a:gd name="connsiteX0" fmla="*/ 2474537 w 5033268"/>
                  <a:gd name="connsiteY0" fmla="*/ 0 h 3683860"/>
                  <a:gd name="connsiteX1" fmla="*/ 5033268 w 5033268"/>
                  <a:gd name="connsiteY1" fmla="*/ 1244000 h 3683860"/>
                  <a:gd name="connsiteX2" fmla="*/ 5033268 w 5033268"/>
                  <a:gd name="connsiteY2" fmla="*/ 2132507 h 3683860"/>
                  <a:gd name="connsiteX3" fmla="*/ 2769061 w 5033268"/>
                  <a:gd name="connsiteY3" fmla="*/ 3683860 h 3683860"/>
                  <a:gd name="connsiteX4" fmla="*/ 2758697 w 5033268"/>
                  <a:gd name="connsiteY4" fmla="*/ 2786402 h 3683860"/>
                  <a:gd name="connsiteX5" fmla="*/ 5010882 w 5033268"/>
                  <a:gd name="connsiteY5" fmla="*/ 1355144 h 3683860"/>
                  <a:gd name="connsiteX6" fmla="*/ 5010882 w 5033268"/>
                  <a:gd name="connsiteY6" fmla="*/ 1263704 h 3683860"/>
                  <a:gd name="connsiteX7" fmla="*/ 2744445 w 5033268"/>
                  <a:gd name="connsiteY7" fmla="*/ 2707049 h 3683860"/>
                  <a:gd name="connsiteX8" fmla="*/ 0 w 5033268"/>
                  <a:gd name="connsiteY8" fmla="*/ 1183342 h 3683860"/>
                  <a:gd name="connsiteX9" fmla="*/ 2474537 w 5033268"/>
                  <a:gd name="connsiteY9" fmla="*/ 0 h 3683860"/>
                  <a:gd name="connsiteX0" fmla="*/ 2474537 w 5033268"/>
                  <a:gd name="connsiteY0" fmla="*/ 0 h 3668315"/>
                  <a:gd name="connsiteX1" fmla="*/ 5033268 w 5033268"/>
                  <a:gd name="connsiteY1" fmla="*/ 1244000 h 3668315"/>
                  <a:gd name="connsiteX2" fmla="*/ 5033268 w 5033268"/>
                  <a:gd name="connsiteY2" fmla="*/ 2132507 h 3668315"/>
                  <a:gd name="connsiteX3" fmla="*/ 2763879 w 5033268"/>
                  <a:gd name="connsiteY3" fmla="*/ 3668315 h 3668315"/>
                  <a:gd name="connsiteX4" fmla="*/ 2758697 w 5033268"/>
                  <a:gd name="connsiteY4" fmla="*/ 2786402 h 3668315"/>
                  <a:gd name="connsiteX5" fmla="*/ 5010882 w 5033268"/>
                  <a:gd name="connsiteY5" fmla="*/ 1355144 h 3668315"/>
                  <a:gd name="connsiteX6" fmla="*/ 5010882 w 5033268"/>
                  <a:gd name="connsiteY6" fmla="*/ 1263704 h 3668315"/>
                  <a:gd name="connsiteX7" fmla="*/ 2744445 w 5033268"/>
                  <a:gd name="connsiteY7" fmla="*/ 2707049 h 3668315"/>
                  <a:gd name="connsiteX8" fmla="*/ 0 w 5033268"/>
                  <a:gd name="connsiteY8" fmla="*/ 1183342 h 3668315"/>
                  <a:gd name="connsiteX9" fmla="*/ 2474537 w 5033268"/>
                  <a:gd name="connsiteY9" fmla="*/ 0 h 3668315"/>
                  <a:gd name="connsiteX0" fmla="*/ 2474537 w 5033268"/>
                  <a:gd name="connsiteY0" fmla="*/ 0 h 3668315"/>
                  <a:gd name="connsiteX1" fmla="*/ 5033268 w 5033268"/>
                  <a:gd name="connsiteY1" fmla="*/ 1244000 h 3668315"/>
                  <a:gd name="connsiteX2" fmla="*/ 5033268 w 5033268"/>
                  <a:gd name="connsiteY2" fmla="*/ 2132507 h 3668315"/>
                  <a:gd name="connsiteX3" fmla="*/ 2763879 w 5033268"/>
                  <a:gd name="connsiteY3" fmla="*/ 3668315 h 3668315"/>
                  <a:gd name="connsiteX4" fmla="*/ 2758697 w 5033268"/>
                  <a:gd name="connsiteY4" fmla="*/ 2786402 h 3668315"/>
                  <a:gd name="connsiteX5" fmla="*/ 5010882 w 5033268"/>
                  <a:gd name="connsiteY5" fmla="*/ 1355144 h 3668315"/>
                  <a:gd name="connsiteX6" fmla="*/ 5010882 w 5033268"/>
                  <a:gd name="connsiteY6" fmla="*/ 1263704 h 3668315"/>
                  <a:gd name="connsiteX7" fmla="*/ 2728898 w 5033268"/>
                  <a:gd name="connsiteY7" fmla="*/ 2691502 h 3668315"/>
                  <a:gd name="connsiteX8" fmla="*/ 0 w 5033268"/>
                  <a:gd name="connsiteY8" fmla="*/ 1183342 h 3668315"/>
                  <a:gd name="connsiteX9" fmla="*/ 2474537 w 5033268"/>
                  <a:gd name="connsiteY9" fmla="*/ 0 h 3668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33268" h="3668315">
                    <a:moveTo>
                      <a:pt x="2474537" y="0"/>
                    </a:moveTo>
                    <a:lnTo>
                      <a:pt x="5033268" y="1244000"/>
                    </a:lnTo>
                    <a:lnTo>
                      <a:pt x="5033268" y="2132507"/>
                    </a:lnTo>
                    <a:lnTo>
                      <a:pt x="2763879" y="3668315"/>
                    </a:lnTo>
                    <a:cubicBezTo>
                      <a:pt x="2761762" y="3420643"/>
                      <a:pt x="2760814" y="3034074"/>
                      <a:pt x="2758697" y="2786402"/>
                    </a:cubicBezTo>
                    <a:lnTo>
                      <a:pt x="5010882" y="1355144"/>
                    </a:lnTo>
                    <a:lnTo>
                      <a:pt x="5010882" y="1263704"/>
                    </a:lnTo>
                    <a:lnTo>
                      <a:pt x="2728898" y="2691502"/>
                    </a:lnTo>
                    <a:lnTo>
                      <a:pt x="0" y="1183342"/>
                    </a:lnTo>
                    <a:lnTo>
                      <a:pt x="2474537" y="0"/>
                    </a:lnTo>
                    <a:close/>
                  </a:path>
                </a:pathLst>
              </a:custGeom>
              <a:solidFill>
                <a:schemeClr val="tx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8" name="Freeform 47"/>
              <p:cNvSpPr/>
              <p:nvPr/>
            </p:nvSpPr>
            <p:spPr>
              <a:xfrm>
                <a:off x="3392303" y="4281210"/>
                <a:ext cx="3209222" cy="2758032"/>
              </a:xfrm>
              <a:custGeom>
                <a:avLst/>
                <a:gdLst>
                  <a:gd name="connsiteX0" fmla="*/ 1816809 w 3209223"/>
                  <a:gd name="connsiteY0" fmla="*/ 1536464 h 2758031"/>
                  <a:gd name="connsiteX1" fmla="*/ 1816809 w 3209223"/>
                  <a:gd name="connsiteY1" fmla="*/ 1745604 h 2758031"/>
                  <a:gd name="connsiteX2" fmla="*/ 2611543 w 3209223"/>
                  <a:gd name="connsiteY2" fmla="*/ 2198742 h 2758031"/>
                  <a:gd name="connsiteX3" fmla="*/ 2611543 w 3209223"/>
                  <a:gd name="connsiteY3" fmla="*/ 1989602 h 2758031"/>
                  <a:gd name="connsiteX4" fmla="*/ 1816809 w 3209223"/>
                  <a:gd name="connsiteY4" fmla="*/ 1536464 h 2758031"/>
                  <a:gd name="connsiteX5" fmla="*/ 1816809 w 3209223"/>
                  <a:gd name="connsiteY5" fmla="*/ 1187897 h 2758031"/>
                  <a:gd name="connsiteX6" fmla="*/ 1816809 w 3209223"/>
                  <a:gd name="connsiteY6" fmla="*/ 1397037 h 2758031"/>
                  <a:gd name="connsiteX7" fmla="*/ 2611543 w 3209223"/>
                  <a:gd name="connsiteY7" fmla="*/ 1850175 h 2758031"/>
                  <a:gd name="connsiteX8" fmla="*/ 2611543 w 3209223"/>
                  <a:gd name="connsiteY8" fmla="*/ 1641034 h 2758031"/>
                  <a:gd name="connsiteX9" fmla="*/ 1816809 w 3209223"/>
                  <a:gd name="connsiteY9" fmla="*/ 1187897 h 2758031"/>
                  <a:gd name="connsiteX10" fmla="*/ 703563 w 3209223"/>
                  <a:gd name="connsiteY10" fmla="*/ 946529 h 2758031"/>
                  <a:gd name="connsiteX11" fmla="*/ 669031 w 3209223"/>
                  <a:gd name="connsiteY11" fmla="*/ 1014695 h 2758031"/>
                  <a:gd name="connsiteX12" fmla="*/ 703563 w 3209223"/>
                  <a:gd name="connsiteY12" fmla="*/ 1082861 h 2758031"/>
                  <a:gd name="connsiteX13" fmla="*/ 738095 w 3209223"/>
                  <a:gd name="connsiteY13" fmla="*/ 1014695 h 2758031"/>
                  <a:gd name="connsiteX14" fmla="*/ 703563 w 3209223"/>
                  <a:gd name="connsiteY14" fmla="*/ 946529 h 2758031"/>
                  <a:gd name="connsiteX15" fmla="*/ 703563 w 3209223"/>
                  <a:gd name="connsiteY15" fmla="*/ 737721 h 2758031"/>
                  <a:gd name="connsiteX16" fmla="*/ 669031 w 3209223"/>
                  <a:gd name="connsiteY16" fmla="*/ 805887 h 2758031"/>
                  <a:gd name="connsiteX17" fmla="*/ 703563 w 3209223"/>
                  <a:gd name="connsiteY17" fmla="*/ 874053 h 2758031"/>
                  <a:gd name="connsiteX18" fmla="*/ 738095 w 3209223"/>
                  <a:gd name="connsiteY18" fmla="*/ 805887 h 2758031"/>
                  <a:gd name="connsiteX19" fmla="*/ 703563 w 3209223"/>
                  <a:gd name="connsiteY19" fmla="*/ 737721 h 2758031"/>
                  <a:gd name="connsiteX20" fmla="*/ 703563 w 3209223"/>
                  <a:gd name="connsiteY20" fmla="*/ 528913 h 2758031"/>
                  <a:gd name="connsiteX21" fmla="*/ 669031 w 3209223"/>
                  <a:gd name="connsiteY21" fmla="*/ 597079 h 2758031"/>
                  <a:gd name="connsiteX22" fmla="*/ 703563 w 3209223"/>
                  <a:gd name="connsiteY22" fmla="*/ 665245 h 2758031"/>
                  <a:gd name="connsiteX23" fmla="*/ 738095 w 3209223"/>
                  <a:gd name="connsiteY23" fmla="*/ 597079 h 2758031"/>
                  <a:gd name="connsiteX24" fmla="*/ 703563 w 3209223"/>
                  <a:gd name="connsiteY24" fmla="*/ 528913 h 2758031"/>
                  <a:gd name="connsiteX25" fmla="*/ 416668 w 3209223"/>
                  <a:gd name="connsiteY25" fmla="*/ 229150 h 2758031"/>
                  <a:gd name="connsiteX26" fmla="*/ 391056 w 3209223"/>
                  <a:gd name="connsiteY26" fmla="*/ 233387 h 2758031"/>
                  <a:gd name="connsiteX27" fmla="*/ 165827 w 3209223"/>
                  <a:gd name="connsiteY27" fmla="*/ 345216 h 2758031"/>
                  <a:gd name="connsiteX28" fmla="*/ 70721 w 3209223"/>
                  <a:gd name="connsiteY28" fmla="*/ 491533 h 2758031"/>
                  <a:gd name="connsiteX29" fmla="*/ 70721 w 3209223"/>
                  <a:gd name="connsiteY29" fmla="*/ 1076802 h 2758031"/>
                  <a:gd name="connsiteX30" fmla="*/ 187775 w 3209223"/>
                  <a:gd name="connsiteY30" fmla="*/ 1171910 h 2758031"/>
                  <a:gd name="connsiteX31" fmla="*/ 436513 w 3209223"/>
                  <a:gd name="connsiteY31" fmla="*/ 1018274 h 2758031"/>
                  <a:gd name="connsiteX32" fmla="*/ 419815 w 3209223"/>
                  <a:gd name="connsiteY32" fmla="*/ 846869 h 2758031"/>
                  <a:gd name="connsiteX33" fmla="*/ 268251 w 3209223"/>
                  <a:gd name="connsiteY33" fmla="*/ 930485 h 2758031"/>
                  <a:gd name="connsiteX34" fmla="*/ 268251 w 3209223"/>
                  <a:gd name="connsiteY34" fmla="*/ 491533 h 2758031"/>
                  <a:gd name="connsiteX35" fmla="*/ 419247 w 3209223"/>
                  <a:gd name="connsiteY35" fmla="*/ 395921 h 2758031"/>
                  <a:gd name="connsiteX36" fmla="*/ 416668 w 3209223"/>
                  <a:gd name="connsiteY36" fmla="*/ 229150 h 2758031"/>
                  <a:gd name="connsiteX37" fmla="*/ 204083 w 3209223"/>
                  <a:gd name="connsiteY37" fmla="*/ 0 h 2758031"/>
                  <a:gd name="connsiteX38" fmla="*/ 3209223 w 3209223"/>
                  <a:gd name="connsiteY38" fmla="*/ 1713282 h 2758031"/>
                  <a:gd name="connsiteX39" fmla="*/ 3209223 w 3209223"/>
                  <a:gd name="connsiteY39" fmla="*/ 2757011 h 2758031"/>
                  <a:gd name="connsiteX40" fmla="*/ 3003769 w 3209223"/>
                  <a:gd name="connsiteY40" fmla="*/ 2637043 h 2758031"/>
                  <a:gd name="connsiteX41" fmla="*/ 2807887 w 3209223"/>
                  <a:gd name="connsiteY41" fmla="*/ 2758031 h 2758031"/>
                  <a:gd name="connsiteX42" fmla="*/ 2690833 w 3209223"/>
                  <a:gd name="connsiteY42" fmla="*/ 2662924 h 2758031"/>
                  <a:gd name="connsiteX43" fmla="*/ 2690833 w 3209223"/>
                  <a:gd name="connsiteY43" fmla="*/ 2454314 h 2758031"/>
                  <a:gd name="connsiteX44" fmla="*/ 2734996 w 3209223"/>
                  <a:gd name="connsiteY44" fmla="*/ 2480102 h 2758031"/>
                  <a:gd name="connsiteX45" fmla="*/ 2734996 w 3209223"/>
                  <a:gd name="connsiteY45" fmla="*/ 2665990 h 2758031"/>
                  <a:gd name="connsiteX46" fmla="*/ 2816959 w 3209223"/>
                  <a:gd name="connsiteY46" fmla="*/ 2708610 h 2758031"/>
                  <a:gd name="connsiteX47" fmla="*/ 2960049 w 3209223"/>
                  <a:gd name="connsiteY47" fmla="*/ 2611514 h 2758031"/>
                  <a:gd name="connsiteX48" fmla="*/ 3003768 w 3209223"/>
                  <a:gd name="connsiteY48" fmla="*/ 2637042 h 2758031"/>
                  <a:gd name="connsiteX49" fmla="*/ 3056623 w 3209223"/>
                  <a:gd name="connsiteY49" fmla="*/ 2604396 h 2758031"/>
                  <a:gd name="connsiteX50" fmla="*/ 3039926 w 3209223"/>
                  <a:gd name="connsiteY50" fmla="*/ 2432990 h 2758031"/>
                  <a:gd name="connsiteX51" fmla="*/ 2888361 w 3209223"/>
                  <a:gd name="connsiteY51" fmla="*/ 2516606 h 2758031"/>
                  <a:gd name="connsiteX52" fmla="*/ 2888361 w 3209223"/>
                  <a:gd name="connsiteY52" fmla="*/ 2077654 h 2758031"/>
                  <a:gd name="connsiteX53" fmla="*/ 3039357 w 3209223"/>
                  <a:gd name="connsiteY53" fmla="*/ 1982042 h 2758031"/>
                  <a:gd name="connsiteX54" fmla="*/ 3011167 w 3209223"/>
                  <a:gd name="connsiteY54" fmla="*/ 1819510 h 2758031"/>
                  <a:gd name="connsiteX55" fmla="*/ 2785937 w 3209223"/>
                  <a:gd name="connsiteY55" fmla="*/ 1931337 h 2758031"/>
                  <a:gd name="connsiteX56" fmla="*/ 2690831 w 3209223"/>
                  <a:gd name="connsiteY56" fmla="*/ 2077654 h 2758031"/>
                  <a:gd name="connsiteX57" fmla="*/ 2690831 w 3209223"/>
                  <a:gd name="connsiteY57" fmla="*/ 2454314 h 2758031"/>
                  <a:gd name="connsiteX58" fmla="*/ 419442 w 3209223"/>
                  <a:gd name="connsiteY58" fmla="*/ 1128013 h 2758031"/>
                  <a:gd name="connsiteX59" fmla="*/ 273125 w 3209223"/>
                  <a:gd name="connsiteY59" fmla="*/ 1235313 h 2758031"/>
                  <a:gd name="connsiteX60" fmla="*/ 0 w 3209223"/>
                  <a:gd name="connsiteY60" fmla="*/ 1137768 h 2758031"/>
                  <a:gd name="connsiteX61" fmla="*/ 0 w 3209223"/>
                  <a:gd name="connsiteY61" fmla="*/ 435445 h 2758031"/>
                  <a:gd name="connsiteX62" fmla="*/ 87791 w 3209223"/>
                  <a:gd name="connsiteY62" fmla="*/ 269619 h 2758031"/>
                  <a:gd name="connsiteX63" fmla="*/ 204844 w 3209223"/>
                  <a:gd name="connsiteY63" fmla="*/ 191583 h 2758031"/>
                  <a:gd name="connsiteX64" fmla="*/ 204083 w 3209223"/>
                  <a:gd name="connsiteY64" fmla="*/ 0 h 275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209223" h="2758031">
                    <a:moveTo>
                      <a:pt x="1816809" y="1536464"/>
                    </a:moveTo>
                    <a:lnTo>
                      <a:pt x="1816809" y="1745604"/>
                    </a:lnTo>
                    <a:lnTo>
                      <a:pt x="2611543" y="2198742"/>
                    </a:lnTo>
                    <a:lnTo>
                      <a:pt x="2611543" y="1989602"/>
                    </a:lnTo>
                    <a:lnTo>
                      <a:pt x="1816809" y="1536464"/>
                    </a:lnTo>
                    <a:close/>
                    <a:moveTo>
                      <a:pt x="1816809" y="1187897"/>
                    </a:moveTo>
                    <a:lnTo>
                      <a:pt x="1816809" y="1397037"/>
                    </a:lnTo>
                    <a:lnTo>
                      <a:pt x="2611543" y="1850175"/>
                    </a:lnTo>
                    <a:lnTo>
                      <a:pt x="2611543" y="1641034"/>
                    </a:lnTo>
                    <a:lnTo>
                      <a:pt x="1816809" y="1187897"/>
                    </a:lnTo>
                    <a:close/>
                    <a:moveTo>
                      <a:pt x="703563" y="946529"/>
                    </a:moveTo>
                    <a:cubicBezTo>
                      <a:pt x="684492" y="946529"/>
                      <a:pt x="669031" y="977048"/>
                      <a:pt x="669031" y="1014695"/>
                    </a:cubicBezTo>
                    <a:cubicBezTo>
                      <a:pt x="669031" y="1052342"/>
                      <a:pt x="684492" y="1082861"/>
                      <a:pt x="703563" y="1082861"/>
                    </a:cubicBezTo>
                    <a:cubicBezTo>
                      <a:pt x="722634" y="1082861"/>
                      <a:pt x="738095" y="1052342"/>
                      <a:pt x="738095" y="1014695"/>
                    </a:cubicBezTo>
                    <a:cubicBezTo>
                      <a:pt x="738095" y="977048"/>
                      <a:pt x="722634" y="946529"/>
                      <a:pt x="703563" y="946529"/>
                    </a:cubicBezTo>
                    <a:close/>
                    <a:moveTo>
                      <a:pt x="703563" y="737721"/>
                    </a:moveTo>
                    <a:cubicBezTo>
                      <a:pt x="684492" y="737721"/>
                      <a:pt x="669031" y="768240"/>
                      <a:pt x="669031" y="805887"/>
                    </a:cubicBezTo>
                    <a:cubicBezTo>
                      <a:pt x="669031" y="843534"/>
                      <a:pt x="684492" y="874053"/>
                      <a:pt x="703563" y="874053"/>
                    </a:cubicBezTo>
                    <a:cubicBezTo>
                      <a:pt x="722634" y="874053"/>
                      <a:pt x="738095" y="843534"/>
                      <a:pt x="738095" y="805887"/>
                    </a:cubicBezTo>
                    <a:cubicBezTo>
                      <a:pt x="738095" y="768240"/>
                      <a:pt x="722634" y="737721"/>
                      <a:pt x="703563" y="737721"/>
                    </a:cubicBezTo>
                    <a:close/>
                    <a:moveTo>
                      <a:pt x="703563" y="528913"/>
                    </a:moveTo>
                    <a:cubicBezTo>
                      <a:pt x="684492" y="528913"/>
                      <a:pt x="669031" y="559432"/>
                      <a:pt x="669031" y="597079"/>
                    </a:cubicBezTo>
                    <a:cubicBezTo>
                      <a:pt x="669031" y="634726"/>
                      <a:pt x="684492" y="665245"/>
                      <a:pt x="703563" y="665245"/>
                    </a:cubicBezTo>
                    <a:cubicBezTo>
                      <a:pt x="722634" y="665245"/>
                      <a:pt x="738095" y="634726"/>
                      <a:pt x="738095" y="597079"/>
                    </a:cubicBezTo>
                    <a:cubicBezTo>
                      <a:pt x="738095" y="559432"/>
                      <a:pt x="722634" y="528913"/>
                      <a:pt x="703563" y="528913"/>
                    </a:cubicBezTo>
                    <a:close/>
                    <a:moveTo>
                      <a:pt x="416668" y="229150"/>
                    </a:moveTo>
                    <a:cubicBezTo>
                      <a:pt x="408587" y="228428"/>
                      <a:pt x="399964" y="229703"/>
                      <a:pt x="391056" y="233387"/>
                    </a:cubicBezTo>
                    <a:lnTo>
                      <a:pt x="165827" y="345216"/>
                    </a:lnTo>
                    <a:cubicBezTo>
                      <a:pt x="107982" y="378301"/>
                      <a:pt x="71053" y="393091"/>
                      <a:pt x="70721" y="491533"/>
                    </a:cubicBezTo>
                    <a:lnTo>
                      <a:pt x="70721" y="1076802"/>
                    </a:lnTo>
                    <a:cubicBezTo>
                      <a:pt x="86212" y="1124188"/>
                      <a:pt x="106928" y="1168963"/>
                      <a:pt x="187775" y="1171910"/>
                    </a:cubicBezTo>
                    <a:lnTo>
                      <a:pt x="436513" y="1018274"/>
                    </a:lnTo>
                    <a:cubicBezTo>
                      <a:pt x="475386" y="963754"/>
                      <a:pt x="493354" y="880477"/>
                      <a:pt x="419815" y="846869"/>
                    </a:cubicBezTo>
                    <a:lnTo>
                      <a:pt x="268251" y="930485"/>
                    </a:lnTo>
                    <a:cubicBezTo>
                      <a:pt x="249952" y="886124"/>
                      <a:pt x="244723" y="509751"/>
                      <a:pt x="268251" y="491533"/>
                    </a:cubicBezTo>
                    <a:lnTo>
                      <a:pt x="419247" y="395921"/>
                    </a:lnTo>
                    <a:cubicBezTo>
                      <a:pt x="503287" y="337078"/>
                      <a:pt x="473237" y="234201"/>
                      <a:pt x="416668" y="229150"/>
                    </a:cubicBezTo>
                    <a:close/>
                    <a:moveTo>
                      <a:pt x="204083" y="0"/>
                    </a:moveTo>
                    <a:lnTo>
                      <a:pt x="3209223" y="1713282"/>
                    </a:lnTo>
                    <a:lnTo>
                      <a:pt x="3209223" y="2757011"/>
                    </a:lnTo>
                    <a:lnTo>
                      <a:pt x="3003769" y="2637043"/>
                    </a:lnTo>
                    <a:lnTo>
                      <a:pt x="2807887" y="2758031"/>
                    </a:lnTo>
                    <a:cubicBezTo>
                      <a:pt x="2727040" y="2755086"/>
                      <a:pt x="2706324" y="2710310"/>
                      <a:pt x="2690833" y="2662924"/>
                    </a:cubicBezTo>
                    <a:lnTo>
                      <a:pt x="2690833" y="2454314"/>
                    </a:lnTo>
                    <a:lnTo>
                      <a:pt x="2734996" y="2480102"/>
                    </a:lnTo>
                    <a:lnTo>
                      <a:pt x="2734996" y="2665990"/>
                    </a:lnTo>
                    <a:cubicBezTo>
                      <a:pt x="2755760" y="2696589"/>
                      <a:pt x="2783081" y="2723910"/>
                      <a:pt x="2816959" y="2708610"/>
                    </a:cubicBezTo>
                    <a:lnTo>
                      <a:pt x="2960049" y="2611514"/>
                    </a:lnTo>
                    <a:lnTo>
                      <a:pt x="3003768" y="2637042"/>
                    </a:lnTo>
                    <a:lnTo>
                      <a:pt x="3056623" y="2604396"/>
                    </a:lnTo>
                    <a:cubicBezTo>
                      <a:pt x="3095497" y="2549875"/>
                      <a:pt x="3113464" y="2466598"/>
                      <a:pt x="3039926" y="2432990"/>
                    </a:cubicBezTo>
                    <a:lnTo>
                      <a:pt x="2888361" y="2516606"/>
                    </a:lnTo>
                    <a:cubicBezTo>
                      <a:pt x="2870062" y="2472245"/>
                      <a:pt x="2864833" y="2095872"/>
                      <a:pt x="2888361" y="2077654"/>
                    </a:cubicBezTo>
                    <a:lnTo>
                      <a:pt x="3039357" y="1982042"/>
                    </a:lnTo>
                    <a:cubicBezTo>
                      <a:pt x="3135403" y="1914793"/>
                      <a:pt x="3082434" y="1790031"/>
                      <a:pt x="3011167" y="1819510"/>
                    </a:cubicBezTo>
                    <a:lnTo>
                      <a:pt x="2785937" y="1931337"/>
                    </a:lnTo>
                    <a:cubicBezTo>
                      <a:pt x="2728093" y="1964422"/>
                      <a:pt x="2691163" y="1979213"/>
                      <a:pt x="2690831" y="2077654"/>
                    </a:cubicBezTo>
                    <a:lnTo>
                      <a:pt x="2690831" y="2454314"/>
                    </a:lnTo>
                    <a:lnTo>
                      <a:pt x="419442" y="1128013"/>
                    </a:lnTo>
                    <a:lnTo>
                      <a:pt x="273125" y="1235313"/>
                    </a:lnTo>
                    <a:cubicBezTo>
                      <a:pt x="124570" y="1270769"/>
                      <a:pt x="43984" y="1196426"/>
                      <a:pt x="0" y="1137768"/>
                    </a:cubicBezTo>
                    <a:lnTo>
                      <a:pt x="0" y="435445"/>
                    </a:lnTo>
                    <a:cubicBezTo>
                      <a:pt x="5734" y="395855"/>
                      <a:pt x="32384" y="314437"/>
                      <a:pt x="87791" y="269619"/>
                    </a:cubicBezTo>
                    <a:lnTo>
                      <a:pt x="204844" y="191583"/>
                    </a:lnTo>
                    <a:cubicBezTo>
                      <a:pt x="198341" y="129805"/>
                      <a:pt x="210586" y="61778"/>
                      <a:pt x="204083" y="0"/>
                    </a:cubicBezTo>
                    <a:close/>
                  </a:path>
                </a:pathLst>
              </a:custGeom>
              <a:solidFill>
                <a:schemeClr val="tx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10" name="Group 9"/>
            <p:cNvGrpSpPr/>
            <p:nvPr/>
          </p:nvGrpSpPr>
          <p:grpSpPr>
            <a:xfrm>
              <a:off x="6462136" y="2475963"/>
              <a:ext cx="614833" cy="425116"/>
              <a:chOff x="2621983" y="-89225"/>
              <a:chExt cx="7286095" cy="5037832"/>
            </a:xfrm>
          </p:grpSpPr>
          <p:sp>
            <p:nvSpPr>
              <p:cNvPr id="40" name="Freeform 39"/>
              <p:cNvSpPr/>
              <p:nvPr/>
            </p:nvSpPr>
            <p:spPr>
              <a:xfrm>
                <a:off x="2621983" y="-89225"/>
                <a:ext cx="7286095" cy="5037832"/>
              </a:xfrm>
              <a:custGeom>
                <a:avLst/>
                <a:gdLst>
                  <a:gd name="connsiteX0" fmla="*/ 2681855 w 7286095"/>
                  <a:gd name="connsiteY0" fmla="*/ 2147419 h 5037832"/>
                  <a:gd name="connsiteX1" fmla="*/ 2681855 w 7286095"/>
                  <a:gd name="connsiteY1" fmla="*/ 2235525 h 5037832"/>
                  <a:gd name="connsiteX2" fmla="*/ 3672455 w 7286095"/>
                  <a:gd name="connsiteY2" fmla="*/ 2687963 h 5037832"/>
                  <a:gd name="connsiteX3" fmla="*/ 4160611 w 7286095"/>
                  <a:gd name="connsiteY3" fmla="*/ 2428406 h 5037832"/>
                  <a:gd name="connsiteX4" fmla="*/ 4160611 w 7286095"/>
                  <a:gd name="connsiteY4" fmla="*/ 2337919 h 5037832"/>
                  <a:gd name="connsiteX5" fmla="*/ 2681855 w 7286095"/>
                  <a:gd name="connsiteY5" fmla="*/ 2147419 h 5037832"/>
                  <a:gd name="connsiteX6" fmla="*/ 6858354 w 7286095"/>
                  <a:gd name="connsiteY6" fmla="*/ 1929286 h 5037832"/>
                  <a:gd name="connsiteX7" fmla="*/ 3541261 w 7286095"/>
                  <a:gd name="connsiteY7" fmla="*/ 3836527 h 5037832"/>
                  <a:gd name="connsiteX8" fmla="*/ 43626 w 7286095"/>
                  <a:gd name="connsiteY8" fmla="*/ 1971532 h 5037832"/>
                  <a:gd name="connsiteX9" fmla="*/ 3542717 w 7286095"/>
                  <a:gd name="connsiteY9" fmla="*/ 3953437 h 5037832"/>
                  <a:gd name="connsiteX10" fmla="*/ 6858354 w 7286095"/>
                  <a:gd name="connsiteY10" fmla="*/ 1929286 h 5037832"/>
                  <a:gd name="connsiteX11" fmla="*/ 3521642 w 7286095"/>
                  <a:gd name="connsiteY11" fmla="*/ 1748956 h 5037832"/>
                  <a:gd name="connsiteX12" fmla="*/ 3521642 w 7286095"/>
                  <a:gd name="connsiteY12" fmla="*/ 1818013 h 5037832"/>
                  <a:gd name="connsiteX13" fmla="*/ 4445567 w 7286095"/>
                  <a:gd name="connsiteY13" fmla="*/ 2251400 h 5037832"/>
                  <a:gd name="connsiteX14" fmla="*/ 4931342 w 7286095"/>
                  <a:gd name="connsiteY14" fmla="*/ 1989463 h 5037832"/>
                  <a:gd name="connsiteX15" fmla="*/ 4931342 w 7286095"/>
                  <a:gd name="connsiteY15" fmla="*/ 1918025 h 5037832"/>
                  <a:gd name="connsiteX16" fmla="*/ 3521642 w 7286095"/>
                  <a:gd name="connsiteY16" fmla="*/ 1748956 h 5037832"/>
                  <a:gd name="connsiteX17" fmla="*/ 1567430 w 7286095"/>
                  <a:gd name="connsiteY17" fmla="*/ 1621163 h 5037832"/>
                  <a:gd name="connsiteX18" fmla="*/ 1567430 w 7286095"/>
                  <a:gd name="connsiteY18" fmla="*/ 1704506 h 5037832"/>
                  <a:gd name="connsiteX19" fmla="*/ 2548505 w 7286095"/>
                  <a:gd name="connsiteY19" fmla="*/ 2147419 h 5037832"/>
                  <a:gd name="connsiteX20" fmla="*/ 3046186 w 7286095"/>
                  <a:gd name="connsiteY20" fmla="*/ 1887863 h 5037832"/>
                  <a:gd name="connsiteX21" fmla="*/ 3046186 w 7286095"/>
                  <a:gd name="connsiteY21" fmla="*/ 1809281 h 5037832"/>
                  <a:gd name="connsiteX22" fmla="*/ 1567430 w 7286095"/>
                  <a:gd name="connsiteY22" fmla="*/ 1621163 h 5037832"/>
                  <a:gd name="connsiteX23" fmla="*/ 6182457 w 7286095"/>
                  <a:gd name="connsiteY23" fmla="*/ 1573175 h 5037832"/>
                  <a:gd name="connsiteX24" fmla="*/ 3587694 w 7286095"/>
                  <a:gd name="connsiteY24" fmla="*/ 2901693 h 5037832"/>
                  <a:gd name="connsiteX25" fmla="*/ 1179754 w 7286095"/>
                  <a:gd name="connsiteY25" fmla="*/ 1713292 h 5037832"/>
                  <a:gd name="connsiteX26" fmla="*/ 1179754 w 7286095"/>
                  <a:gd name="connsiteY26" fmla="*/ 1874168 h 5037832"/>
                  <a:gd name="connsiteX27" fmla="*/ 3598688 w 7286095"/>
                  <a:gd name="connsiteY27" fmla="*/ 3163595 h 5037832"/>
                  <a:gd name="connsiteX28" fmla="*/ 6182457 w 7286095"/>
                  <a:gd name="connsiteY28" fmla="*/ 1687345 h 5037832"/>
                  <a:gd name="connsiteX29" fmla="*/ 6182457 w 7286095"/>
                  <a:gd name="connsiteY29" fmla="*/ 1573175 h 5037832"/>
                  <a:gd name="connsiteX30" fmla="*/ 4326505 w 7286095"/>
                  <a:gd name="connsiteY30" fmla="*/ 1372719 h 5037832"/>
                  <a:gd name="connsiteX31" fmla="*/ 4326505 w 7286095"/>
                  <a:gd name="connsiteY31" fmla="*/ 1432250 h 5037832"/>
                  <a:gd name="connsiteX32" fmla="*/ 5226617 w 7286095"/>
                  <a:gd name="connsiteY32" fmla="*/ 1837063 h 5037832"/>
                  <a:gd name="connsiteX33" fmla="*/ 5712392 w 7286095"/>
                  <a:gd name="connsiteY33" fmla="*/ 1577506 h 5037832"/>
                  <a:gd name="connsiteX34" fmla="*/ 5712392 w 7286095"/>
                  <a:gd name="connsiteY34" fmla="*/ 1520356 h 5037832"/>
                  <a:gd name="connsiteX35" fmla="*/ 4326505 w 7286095"/>
                  <a:gd name="connsiteY35" fmla="*/ 1372719 h 5037832"/>
                  <a:gd name="connsiteX36" fmla="*/ 2442936 w 7286095"/>
                  <a:gd name="connsiteY36" fmla="*/ 1241750 h 5037832"/>
                  <a:gd name="connsiteX37" fmla="*/ 2442936 w 7286095"/>
                  <a:gd name="connsiteY37" fmla="*/ 1306044 h 5037832"/>
                  <a:gd name="connsiteX38" fmla="*/ 3371623 w 7286095"/>
                  <a:gd name="connsiteY38" fmla="*/ 1739431 h 5037832"/>
                  <a:gd name="connsiteX39" fmla="*/ 3847873 w 7286095"/>
                  <a:gd name="connsiteY39" fmla="*/ 1475113 h 5037832"/>
                  <a:gd name="connsiteX40" fmla="*/ 3847873 w 7286095"/>
                  <a:gd name="connsiteY40" fmla="*/ 1410819 h 5037832"/>
                  <a:gd name="connsiteX41" fmla="*/ 2442936 w 7286095"/>
                  <a:gd name="connsiteY41" fmla="*/ 1241750 h 5037832"/>
                  <a:gd name="connsiteX42" fmla="*/ 3259705 w 7286095"/>
                  <a:gd name="connsiteY42" fmla="*/ 875038 h 5037832"/>
                  <a:gd name="connsiteX43" fmla="*/ 3257324 w 7286095"/>
                  <a:gd name="connsiteY43" fmla="*/ 934569 h 5037832"/>
                  <a:gd name="connsiteX44" fmla="*/ 4157436 w 7286095"/>
                  <a:gd name="connsiteY44" fmla="*/ 1348906 h 5037832"/>
                  <a:gd name="connsiteX45" fmla="*/ 4647973 w 7286095"/>
                  <a:gd name="connsiteY45" fmla="*/ 1086969 h 5037832"/>
                  <a:gd name="connsiteX46" fmla="*/ 4647973 w 7286095"/>
                  <a:gd name="connsiteY46" fmla="*/ 1017913 h 5037832"/>
                  <a:gd name="connsiteX47" fmla="*/ 3259705 w 7286095"/>
                  <a:gd name="connsiteY47" fmla="*/ 875038 h 5037832"/>
                  <a:gd name="connsiteX48" fmla="*/ 3826413 w 7286095"/>
                  <a:gd name="connsiteY48" fmla="*/ 369202 h 5037832"/>
                  <a:gd name="connsiteX49" fmla="*/ 1662381 w 7286095"/>
                  <a:gd name="connsiteY49" fmla="*/ 1469382 h 5037832"/>
                  <a:gd name="connsiteX50" fmla="*/ 3821224 w 7286095"/>
                  <a:gd name="connsiteY50" fmla="*/ 426288 h 5037832"/>
                  <a:gd name="connsiteX51" fmla="*/ 5513009 w 7286095"/>
                  <a:gd name="connsiteY51" fmla="*/ 1225474 h 5037832"/>
                  <a:gd name="connsiteX52" fmla="*/ 3826413 w 7286095"/>
                  <a:gd name="connsiteY52" fmla="*/ 369202 h 5037832"/>
                  <a:gd name="connsiteX53" fmla="*/ 3789789 w 7286095"/>
                  <a:gd name="connsiteY53" fmla="*/ 0 h 5037832"/>
                  <a:gd name="connsiteX54" fmla="*/ 7284571 w 7286095"/>
                  <a:gd name="connsiteY54" fmla="*/ 1684220 h 5037832"/>
                  <a:gd name="connsiteX55" fmla="*/ 7286095 w 7286095"/>
                  <a:gd name="connsiteY55" fmla="*/ 2057530 h 5037832"/>
                  <a:gd name="connsiteX56" fmla="*/ 7154815 w 7286095"/>
                  <a:gd name="connsiteY56" fmla="*/ 2137797 h 5037832"/>
                  <a:gd name="connsiteX57" fmla="*/ 7154815 w 7286095"/>
                  <a:gd name="connsiteY57" fmla="*/ 2835810 h 5037832"/>
                  <a:gd name="connsiteX58" fmla="*/ 7013117 w 7286095"/>
                  <a:gd name="connsiteY58" fmla="*/ 2924661 h 5037832"/>
                  <a:gd name="connsiteX59" fmla="*/ 7013117 w 7286095"/>
                  <a:gd name="connsiteY59" fmla="*/ 2224434 h 5037832"/>
                  <a:gd name="connsiteX60" fmla="*/ 6848443 w 7286095"/>
                  <a:gd name="connsiteY60" fmla="*/ 2325119 h 5037832"/>
                  <a:gd name="connsiteX61" fmla="*/ 6848443 w 7286095"/>
                  <a:gd name="connsiteY61" fmla="*/ 3027918 h 5037832"/>
                  <a:gd name="connsiteX62" fmla="*/ 6706745 w 7286095"/>
                  <a:gd name="connsiteY62" fmla="*/ 3116769 h 5037832"/>
                  <a:gd name="connsiteX63" fmla="*/ 6706745 w 7286095"/>
                  <a:gd name="connsiteY63" fmla="*/ 2411756 h 5037832"/>
                  <a:gd name="connsiteX64" fmla="*/ 6542073 w 7286095"/>
                  <a:gd name="connsiteY64" fmla="*/ 2512439 h 5037832"/>
                  <a:gd name="connsiteX65" fmla="*/ 6542073 w 7286095"/>
                  <a:gd name="connsiteY65" fmla="*/ 3220024 h 5037832"/>
                  <a:gd name="connsiteX66" fmla="*/ 6400375 w 7286095"/>
                  <a:gd name="connsiteY66" fmla="*/ 3308875 h 5037832"/>
                  <a:gd name="connsiteX67" fmla="*/ 6400375 w 7286095"/>
                  <a:gd name="connsiteY67" fmla="*/ 2599076 h 5037832"/>
                  <a:gd name="connsiteX68" fmla="*/ 6235703 w 7286095"/>
                  <a:gd name="connsiteY68" fmla="*/ 2699759 h 5037832"/>
                  <a:gd name="connsiteX69" fmla="*/ 6235703 w 7286095"/>
                  <a:gd name="connsiteY69" fmla="*/ 3412131 h 5037832"/>
                  <a:gd name="connsiteX70" fmla="*/ 6094005 w 7286095"/>
                  <a:gd name="connsiteY70" fmla="*/ 3500981 h 5037832"/>
                  <a:gd name="connsiteX71" fmla="*/ 6094005 w 7286095"/>
                  <a:gd name="connsiteY71" fmla="*/ 2786396 h 5037832"/>
                  <a:gd name="connsiteX72" fmla="*/ 5929332 w 7286095"/>
                  <a:gd name="connsiteY72" fmla="*/ 2887081 h 5037832"/>
                  <a:gd name="connsiteX73" fmla="*/ 5929332 w 7286095"/>
                  <a:gd name="connsiteY73" fmla="*/ 3604237 h 5037832"/>
                  <a:gd name="connsiteX74" fmla="*/ 5787635 w 7286095"/>
                  <a:gd name="connsiteY74" fmla="*/ 3693086 h 5037832"/>
                  <a:gd name="connsiteX75" fmla="*/ 5787635 w 7286095"/>
                  <a:gd name="connsiteY75" fmla="*/ 2973716 h 5037832"/>
                  <a:gd name="connsiteX76" fmla="*/ 5622962 w 7286095"/>
                  <a:gd name="connsiteY76" fmla="*/ 3074401 h 5037832"/>
                  <a:gd name="connsiteX77" fmla="*/ 5622962 w 7286095"/>
                  <a:gd name="connsiteY77" fmla="*/ 3796343 h 5037832"/>
                  <a:gd name="connsiteX78" fmla="*/ 5481265 w 7286095"/>
                  <a:gd name="connsiteY78" fmla="*/ 3885194 h 5037832"/>
                  <a:gd name="connsiteX79" fmla="*/ 5481265 w 7286095"/>
                  <a:gd name="connsiteY79" fmla="*/ 3161036 h 5037832"/>
                  <a:gd name="connsiteX80" fmla="*/ 5316592 w 7286095"/>
                  <a:gd name="connsiteY80" fmla="*/ 3261721 h 5037832"/>
                  <a:gd name="connsiteX81" fmla="*/ 5316592 w 7286095"/>
                  <a:gd name="connsiteY81" fmla="*/ 3988448 h 5037832"/>
                  <a:gd name="connsiteX82" fmla="*/ 5174895 w 7286095"/>
                  <a:gd name="connsiteY82" fmla="*/ 4077300 h 5037832"/>
                  <a:gd name="connsiteX83" fmla="*/ 5174895 w 7286095"/>
                  <a:gd name="connsiteY83" fmla="*/ 3348358 h 5037832"/>
                  <a:gd name="connsiteX84" fmla="*/ 5010222 w 7286095"/>
                  <a:gd name="connsiteY84" fmla="*/ 3449041 h 5037832"/>
                  <a:gd name="connsiteX85" fmla="*/ 5010222 w 7286095"/>
                  <a:gd name="connsiteY85" fmla="*/ 4180556 h 5037832"/>
                  <a:gd name="connsiteX86" fmla="*/ 4868525 w 7286095"/>
                  <a:gd name="connsiteY86" fmla="*/ 4269405 h 5037832"/>
                  <a:gd name="connsiteX87" fmla="*/ 4868525 w 7286095"/>
                  <a:gd name="connsiteY87" fmla="*/ 3535678 h 5037832"/>
                  <a:gd name="connsiteX88" fmla="*/ 4703852 w 7286095"/>
                  <a:gd name="connsiteY88" fmla="*/ 3636360 h 5037832"/>
                  <a:gd name="connsiteX89" fmla="*/ 4703852 w 7286095"/>
                  <a:gd name="connsiteY89" fmla="*/ 4372662 h 5037832"/>
                  <a:gd name="connsiteX90" fmla="*/ 4562155 w 7286095"/>
                  <a:gd name="connsiteY90" fmla="*/ 4461513 h 5037832"/>
                  <a:gd name="connsiteX91" fmla="*/ 4562155 w 7286095"/>
                  <a:gd name="connsiteY91" fmla="*/ 3722997 h 5037832"/>
                  <a:gd name="connsiteX92" fmla="*/ 4397482 w 7286095"/>
                  <a:gd name="connsiteY92" fmla="*/ 3823680 h 5037832"/>
                  <a:gd name="connsiteX93" fmla="*/ 4397482 w 7286095"/>
                  <a:gd name="connsiteY93" fmla="*/ 4564768 h 5037832"/>
                  <a:gd name="connsiteX94" fmla="*/ 4255785 w 7286095"/>
                  <a:gd name="connsiteY94" fmla="*/ 4653619 h 5037832"/>
                  <a:gd name="connsiteX95" fmla="*/ 4255785 w 7286095"/>
                  <a:gd name="connsiteY95" fmla="*/ 3910317 h 5037832"/>
                  <a:gd name="connsiteX96" fmla="*/ 4091112 w 7286095"/>
                  <a:gd name="connsiteY96" fmla="*/ 4011000 h 5037832"/>
                  <a:gd name="connsiteX97" fmla="*/ 4091112 w 7286095"/>
                  <a:gd name="connsiteY97" fmla="*/ 4756875 h 5037832"/>
                  <a:gd name="connsiteX98" fmla="*/ 3949414 w 7286095"/>
                  <a:gd name="connsiteY98" fmla="*/ 4845724 h 5037832"/>
                  <a:gd name="connsiteX99" fmla="*/ 3949414 w 7286095"/>
                  <a:gd name="connsiteY99" fmla="*/ 4097637 h 5037832"/>
                  <a:gd name="connsiteX100" fmla="*/ 3784742 w 7286095"/>
                  <a:gd name="connsiteY100" fmla="*/ 4198322 h 5037832"/>
                  <a:gd name="connsiteX101" fmla="*/ 3784742 w 7286095"/>
                  <a:gd name="connsiteY101" fmla="*/ 4948981 h 5037832"/>
                  <a:gd name="connsiteX102" fmla="*/ 3643044 w 7286095"/>
                  <a:gd name="connsiteY102" fmla="*/ 5037832 h 5037832"/>
                  <a:gd name="connsiteX103" fmla="*/ 3643044 w 7286095"/>
                  <a:gd name="connsiteY103" fmla="*/ 4284957 h 5037832"/>
                  <a:gd name="connsiteX104" fmla="*/ 3528878 w 7286095"/>
                  <a:gd name="connsiteY104" fmla="*/ 4354761 h 5037832"/>
                  <a:gd name="connsiteX105" fmla="*/ 3436697 w 7286095"/>
                  <a:gd name="connsiteY105" fmla="*/ 4303067 h 5037832"/>
                  <a:gd name="connsiteX106" fmla="*/ 3436697 w 7286095"/>
                  <a:gd name="connsiteY106" fmla="*/ 5010554 h 5037832"/>
                  <a:gd name="connsiteX107" fmla="*/ 3294999 w 7286095"/>
                  <a:gd name="connsiteY107" fmla="*/ 4927162 h 5037832"/>
                  <a:gd name="connsiteX108" fmla="*/ 3294999 w 7286095"/>
                  <a:gd name="connsiteY108" fmla="*/ 4223605 h 5037832"/>
                  <a:gd name="connsiteX109" fmla="*/ 3147557 w 7286095"/>
                  <a:gd name="connsiteY109" fmla="*/ 4140923 h 5037832"/>
                  <a:gd name="connsiteX110" fmla="*/ 3147557 w 7286095"/>
                  <a:gd name="connsiteY110" fmla="*/ 4840389 h 5037832"/>
                  <a:gd name="connsiteX111" fmla="*/ 3005859 w 7286095"/>
                  <a:gd name="connsiteY111" fmla="*/ 4757000 h 5037832"/>
                  <a:gd name="connsiteX112" fmla="*/ 3005859 w 7286095"/>
                  <a:gd name="connsiteY112" fmla="*/ 4061460 h 5037832"/>
                  <a:gd name="connsiteX113" fmla="*/ 2858425 w 7286095"/>
                  <a:gd name="connsiteY113" fmla="*/ 3978781 h 5037832"/>
                  <a:gd name="connsiteX114" fmla="*/ 2858425 w 7286095"/>
                  <a:gd name="connsiteY114" fmla="*/ 4670232 h 5037832"/>
                  <a:gd name="connsiteX115" fmla="*/ 2716727 w 7286095"/>
                  <a:gd name="connsiteY115" fmla="*/ 4586840 h 5037832"/>
                  <a:gd name="connsiteX116" fmla="*/ 2716727 w 7286095"/>
                  <a:gd name="connsiteY116" fmla="*/ 3899320 h 5037832"/>
                  <a:gd name="connsiteX117" fmla="*/ 2569294 w 7286095"/>
                  <a:gd name="connsiteY117" fmla="*/ 3816641 h 5037832"/>
                  <a:gd name="connsiteX118" fmla="*/ 2569294 w 7286095"/>
                  <a:gd name="connsiteY118" fmla="*/ 4500072 h 5037832"/>
                  <a:gd name="connsiteX119" fmla="*/ 2427596 w 7286095"/>
                  <a:gd name="connsiteY119" fmla="*/ 4416680 h 5037832"/>
                  <a:gd name="connsiteX120" fmla="*/ 2427596 w 7286095"/>
                  <a:gd name="connsiteY120" fmla="*/ 3737178 h 5037832"/>
                  <a:gd name="connsiteX121" fmla="*/ 2280162 w 7286095"/>
                  <a:gd name="connsiteY121" fmla="*/ 3654501 h 5037832"/>
                  <a:gd name="connsiteX122" fmla="*/ 2280162 w 7286095"/>
                  <a:gd name="connsiteY122" fmla="*/ 4329914 h 5037832"/>
                  <a:gd name="connsiteX123" fmla="*/ 2138464 w 7286095"/>
                  <a:gd name="connsiteY123" fmla="*/ 4246522 h 5037832"/>
                  <a:gd name="connsiteX124" fmla="*/ 2138464 w 7286095"/>
                  <a:gd name="connsiteY124" fmla="*/ 3575038 h 5037832"/>
                  <a:gd name="connsiteX125" fmla="*/ 1991031 w 7286095"/>
                  <a:gd name="connsiteY125" fmla="*/ 3492361 h 5037832"/>
                  <a:gd name="connsiteX126" fmla="*/ 1991031 w 7286095"/>
                  <a:gd name="connsiteY126" fmla="*/ 4159755 h 5037832"/>
                  <a:gd name="connsiteX127" fmla="*/ 1849333 w 7286095"/>
                  <a:gd name="connsiteY127" fmla="*/ 4076363 h 5037832"/>
                  <a:gd name="connsiteX128" fmla="*/ 1849333 w 7286095"/>
                  <a:gd name="connsiteY128" fmla="*/ 3412899 h 5037832"/>
                  <a:gd name="connsiteX129" fmla="*/ 1701899 w 7286095"/>
                  <a:gd name="connsiteY129" fmla="*/ 3330219 h 5037832"/>
                  <a:gd name="connsiteX130" fmla="*/ 1701899 w 7286095"/>
                  <a:gd name="connsiteY130" fmla="*/ 3989597 h 5037832"/>
                  <a:gd name="connsiteX131" fmla="*/ 1560201 w 7286095"/>
                  <a:gd name="connsiteY131" fmla="*/ 3906205 h 5037832"/>
                  <a:gd name="connsiteX132" fmla="*/ 1560201 w 7286095"/>
                  <a:gd name="connsiteY132" fmla="*/ 3250759 h 5037832"/>
                  <a:gd name="connsiteX133" fmla="*/ 1412767 w 7286095"/>
                  <a:gd name="connsiteY133" fmla="*/ 3168079 h 5037832"/>
                  <a:gd name="connsiteX134" fmla="*/ 1412767 w 7286095"/>
                  <a:gd name="connsiteY134" fmla="*/ 3819437 h 5037832"/>
                  <a:gd name="connsiteX135" fmla="*/ 1271070 w 7286095"/>
                  <a:gd name="connsiteY135" fmla="*/ 3736045 h 5037832"/>
                  <a:gd name="connsiteX136" fmla="*/ 1271070 w 7286095"/>
                  <a:gd name="connsiteY136" fmla="*/ 3088617 h 5037832"/>
                  <a:gd name="connsiteX137" fmla="*/ 1123636 w 7286095"/>
                  <a:gd name="connsiteY137" fmla="*/ 3005939 h 5037832"/>
                  <a:gd name="connsiteX138" fmla="*/ 1123636 w 7286095"/>
                  <a:gd name="connsiteY138" fmla="*/ 3649279 h 5037832"/>
                  <a:gd name="connsiteX139" fmla="*/ 981938 w 7286095"/>
                  <a:gd name="connsiteY139" fmla="*/ 3565887 h 5037832"/>
                  <a:gd name="connsiteX140" fmla="*/ 981938 w 7286095"/>
                  <a:gd name="connsiteY140" fmla="*/ 2926477 h 5037832"/>
                  <a:gd name="connsiteX141" fmla="*/ 834504 w 7286095"/>
                  <a:gd name="connsiteY141" fmla="*/ 2843800 h 5037832"/>
                  <a:gd name="connsiteX142" fmla="*/ 834504 w 7286095"/>
                  <a:gd name="connsiteY142" fmla="*/ 3479120 h 5037832"/>
                  <a:gd name="connsiteX143" fmla="*/ 692807 w 7286095"/>
                  <a:gd name="connsiteY143" fmla="*/ 3395728 h 5037832"/>
                  <a:gd name="connsiteX144" fmla="*/ 692807 w 7286095"/>
                  <a:gd name="connsiteY144" fmla="*/ 2764337 h 5037832"/>
                  <a:gd name="connsiteX145" fmla="*/ 545373 w 7286095"/>
                  <a:gd name="connsiteY145" fmla="*/ 2681658 h 5037832"/>
                  <a:gd name="connsiteX146" fmla="*/ 545373 w 7286095"/>
                  <a:gd name="connsiteY146" fmla="*/ 3308962 h 5037832"/>
                  <a:gd name="connsiteX147" fmla="*/ 403675 w 7286095"/>
                  <a:gd name="connsiteY147" fmla="*/ 3225570 h 5037832"/>
                  <a:gd name="connsiteX148" fmla="*/ 403675 w 7286095"/>
                  <a:gd name="connsiteY148" fmla="*/ 2602197 h 5037832"/>
                  <a:gd name="connsiteX149" fmla="*/ 256241 w 7286095"/>
                  <a:gd name="connsiteY149" fmla="*/ 2519518 h 5037832"/>
                  <a:gd name="connsiteX150" fmla="*/ 256241 w 7286095"/>
                  <a:gd name="connsiteY150" fmla="*/ 3138802 h 5037832"/>
                  <a:gd name="connsiteX151" fmla="*/ 114543 w 7286095"/>
                  <a:gd name="connsiteY151" fmla="*/ 3055410 h 5037832"/>
                  <a:gd name="connsiteX152" fmla="*/ 114543 w 7286095"/>
                  <a:gd name="connsiteY152" fmla="*/ 2440055 h 5037832"/>
                  <a:gd name="connsiteX153" fmla="*/ 0 w 7286095"/>
                  <a:gd name="connsiteY153" fmla="*/ 2375821 h 5037832"/>
                  <a:gd name="connsiteX154" fmla="*/ 0 w 7286095"/>
                  <a:gd name="connsiteY154" fmla="*/ 1946821 h 5037832"/>
                  <a:gd name="connsiteX155" fmla="*/ 5283 w 7286095"/>
                  <a:gd name="connsiteY155" fmla="*/ 1949813 h 5037832"/>
                  <a:gd name="connsiteX156" fmla="*/ 3789789 w 7286095"/>
                  <a:gd name="connsiteY156" fmla="*/ 0 h 5037832"/>
                  <a:gd name="connsiteX0" fmla="*/ 2681855 w 7286095"/>
                  <a:gd name="connsiteY0" fmla="*/ 2147419 h 5037832"/>
                  <a:gd name="connsiteX1" fmla="*/ 2681855 w 7286095"/>
                  <a:gd name="connsiteY1" fmla="*/ 2235525 h 5037832"/>
                  <a:gd name="connsiteX2" fmla="*/ 3672455 w 7286095"/>
                  <a:gd name="connsiteY2" fmla="*/ 2687963 h 5037832"/>
                  <a:gd name="connsiteX3" fmla="*/ 4160611 w 7286095"/>
                  <a:gd name="connsiteY3" fmla="*/ 2428406 h 5037832"/>
                  <a:gd name="connsiteX4" fmla="*/ 4160611 w 7286095"/>
                  <a:gd name="connsiteY4" fmla="*/ 2337919 h 5037832"/>
                  <a:gd name="connsiteX5" fmla="*/ 2681855 w 7286095"/>
                  <a:gd name="connsiteY5" fmla="*/ 2147419 h 5037832"/>
                  <a:gd name="connsiteX6" fmla="*/ 6858354 w 7286095"/>
                  <a:gd name="connsiteY6" fmla="*/ 1929286 h 5037832"/>
                  <a:gd name="connsiteX7" fmla="*/ 3541261 w 7286095"/>
                  <a:gd name="connsiteY7" fmla="*/ 3836527 h 5037832"/>
                  <a:gd name="connsiteX8" fmla="*/ 43626 w 7286095"/>
                  <a:gd name="connsiteY8" fmla="*/ 1971532 h 5037832"/>
                  <a:gd name="connsiteX9" fmla="*/ 3542717 w 7286095"/>
                  <a:gd name="connsiteY9" fmla="*/ 3953437 h 5037832"/>
                  <a:gd name="connsiteX10" fmla="*/ 6858354 w 7286095"/>
                  <a:gd name="connsiteY10" fmla="*/ 1929286 h 5037832"/>
                  <a:gd name="connsiteX11" fmla="*/ 3521642 w 7286095"/>
                  <a:gd name="connsiteY11" fmla="*/ 1748956 h 5037832"/>
                  <a:gd name="connsiteX12" fmla="*/ 3521642 w 7286095"/>
                  <a:gd name="connsiteY12" fmla="*/ 1818013 h 5037832"/>
                  <a:gd name="connsiteX13" fmla="*/ 4445567 w 7286095"/>
                  <a:gd name="connsiteY13" fmla="*/ 2251400 h 5037832"/>
                  <a:gd name="connsiteX14" fmla="*/ 4931342 w 7286095"/>
                  <a:gd name="connsiteY14" fmla="*/ 1989463 h 5037832"/>
                  <a:gd name="connsiteX15" fmla="*/ 4931342 w 7286095"/>
                  <a:gd name="connsiteY15" fmla="*/ 1918025 h 5037832"/>
                  <a:gd name="connsiteX16" fmla="*/ 3521642 w 7286095"/>
                  <a:gd name="connsiteY16" fmla="*/ 1748956 h 5037832"/>
                  <a:gd name="connsiteX17" fmla="*/ 1567430 w 7286095"/>
                  <a:gd name="connsiteY17" fmla="*/ 1621163 h 5037832"/>
                  <a:gd name="connsiteX18" fmla="*/ 1567430 w 7286095"/>
                  <a:gd name="connsiteY18" fmla="*/ 1704506 h 5037832"/>
                  <a:gd name="connsiteX19" fmla="*/ 2548505 w 7286095"/>
                  <a:gd name="connsiteY19" fmla="*/ 2147419 h 5037832"/>
                  <a:gd name="connsiteX20" fmla="*/ 3046186 w 7286095"/>
                  <a:gd name="connsiteY20" fmla="*/ 1887863 h 5037832"/>
                  <a:gd name="connsiteX21" fmla="*/ 3046186 w 7286095"/>
                  <a:gd name="connsiteY21" fmla="*/ 1809281 h 5037832"/>
                  <a:gd name="connsiteX22" fmla="*/ 1567430 w 7286095"/>
                  <a:gd name="connsiteY22" fmla="*/ 1621163 h 5037832"/>
                  <a:gd name="connsiteX23" fmla="*/ 6182457 w 7286095"/>
                  <a:gd name="connsiteY23" fmla="*/ 1573175 h 5037832"/>
                  <a:gd name="connsiteX24" fmla="*/ 3609060 w 7286095"/>
                  <a:gd name="connsiteY24" fmla="*/ 2987154 h 5037832"/>
                  <a:gd name="connsiteX25" fmla="*/ 1179754 w 7286095"/>
                  <a:gd name="connsiteY25" fmla="*/ 1713292 h 5037832"/>
                  <a:gd name="connsiteX26" fmla="*/ 1179754 w 7286095"/>
                  <a:gd name="connsiteY26" fmla="*/ 1874168 h 5037832"/>
                  <a:gd name="connsiteX27" fmla="*/ 3598688 w 7286095"/>
                  <a:gd name="connsiteY27" fmla="*/ 3163595 h 5037832"/>
                  <a:gd name="connsiteX28" fmla="*/ 6182457 w 7286095"/>
                  <a:gd name="connsiteY28" fmla="*/ 1687345 h 5037832"/>
                  <a:gd name="connsiteX29" fmla="*/ 6182457 w 7286095"/>
                  <a:gd name="connsiteY29" fmla="*/ 1573175 h 5037832"/>
                  <a:gd name="connsiteX30" fmla="*/ 4326505 w 7286095"/>
                  <a:gd name="connsiteY30" fmla="*/ 1372719 h 5037832"/>
                  <a:gd name="connsiteX31" fmla="*/ 4326505 w 7286095"/>
                  <a:gd name="connsiteY31" fmla="*/ 1432250 h 5037832"/>
                  <a:gd name="connsiteX32" fmla="*/ 5226617 w 7286095"/>
                  <a:gd name="connsiteY32" fmla="*/ 1837063 h 5037832"/>
                  <a:gd name="connsiteX33" fmla="*/ 5712392 w 7286095"/>
                  <a:gd name="connsiteY33" fmla="*/ 1577506 h 5037832"/>
                  <a:gd name="connsiteX34" fmla="*/ 5712392 w 7286095"/>
                  <a:gd name="connsiteY34" fmla="*/ 1520356 h 5037832"/>
                  <a:gd name="connsiteX35" fmla="*/ 4326505 w 7286095"/>
                  <a:gd name="connsiteY35" fmla="*/ 1372719 h 5037832"/>
                  <a:gd name="connsiteX36" fmla="*/ 2442936 w 7286095"/>
                  <a:gd name="connsiteY36" fmla="*/ 1241750 h 5037832"/>
                  <a:gd name="connsiteX37" fmla="*/ 2442936 w 7286095"/>
                  <a:gd name="connsiteY37" fmla="*/ 1306044 h 5037832"/>
                  <a:gd name="connsiteX38" fmla="*/ 3371623 w 7286095"/>
                  <a:gd name="connsiteY38" fmla="*/ 1739431 h 5037832"/>
                  <a:gd name="connsiteX39" fmla="*/ 3847873 w 7286095"/>
                  <a:gd name="connsiteY39" fmla="*/ 1475113 h 5037832"/>
                  <a:gd name="connsiteX40" fmla="*/ 3847873 w 7286095"/>
                  <a:gd name="connsiteY40" fmla="*/ 1410819 h 5037832"/>
                  <a:gd name="connsiteX41" fmla="*/ 2442936 w 7286095"/>
                  <a:gd name="connsiteY41" fmla="*/ 1241750 h 5037832"/>
                  <a:gd name="connsiteX42" fmla="*/ 3259705 w 7286095"/>
                  <a:gd name="connsiteY42" fmla="*/ 875038 h 5037832"/>
                  <a:gd name="connsiteX43" fmla="*/ 3257324 w 7286095"/>
                  <a:gd name="connsiteY43" fmla="*/ 934569 h 5037832"/>
                  <a:gd name="connsiteX44" fmla="*/ 4157436 w 7286095"/>
                  <a:gd name="connsiteY44" fmla="*/ 1348906 h 5037832"/>
                  <a:gd name="connsiteX45" fmla="*/ 4647973 w 7286095"/>
                  <a:gd name="connsiteY45" fmla="*/ 1086969 h 5037832"/>
                  <a:gd name="connsiteX46" fmla="*/ 4647973 w 7286095"/>
                  <a:gd name="connsiteY46" fmla="*/ 1017913 h 5037832"/>
                  <a:gd name="connsiteX47" fmla="*/ 3259705 w 7286095"/>
                  <a:gd name="connsiteY47" fmla="*/ 875038 h 5037832"/>
                  <a:gd name="connsiteX48" fmla="*/ 3826413 w 7286095"/>
                  <a:gd name="connsiteY48" fmla="*/ 369202 h 5037832"/>
                  <a:gd name="connsiteX49" fmla="*/ 1662381 w 7286095"/>
                  <a:gd name="connsiteY49" fmla="*/ 1469382 h 5037832"/>
                  <a:gd name="connsiteX50" fmla="*/ 3821224 w 7286095"/>
                  <a:gd name="connsiteY50" fmla="*/ 426288 h 5037832"/>
                  <a:gd name="connsiteX51" fmla="*/ 5513009 w 7286095"/>
                  <a:gd name="connsiteY51" fmla="*/ 1225474 h 5037832"/>
                  <a:gd name="connsiteX52" fmla="*/ 3826413 w 7286095"/>
                  <a:gd name="connsiteY52" fmla="*/ 369202 h 5037832"/>
                  <a:gd name="connsiteX53" fmla="*/ 3789789 w 7286095"/>
                  <a:gd name="connsiteY53" fmla="*/ 0 h 5037832"/>
                  <a:gd name="connsiteX54" fmla="*/ 7284571 w 7286095"/>
                  <a:gd name="connsiteY54" fmla="*/ 1684220 h 5037832"/>
                  <a:gd name="connsiteX55" fmla="*/ 7286095 w 7286095"/>
                  <a:gd name="connsiteY55" fmla="*/ 2057530 h 5037832"/>
                  <a:gd name="connsiteX56" fmla="*/ 7154815 w 7286095"/>
                  <a:gd name="connsiteY56" fmla="*/ 2137797 h 5037832"/>
                  <a:gd name="connsiteX57" fmla="*/ 7154815 w 7286095"/>
                  <a:gd name="connsiteY57" fmla="*/ 2835810 h 5037832"/>
                  <a:gd name="connsiteX58" fmla="*/ 7013117 w 7286095"/>
                  <a:gd name="connsiteY58" fmla="*/ 2924661 h 5037832"/>
                  <a:gd name="connsiteX59" fmla="*/ 7013117 w 7286095"/>
                  <a:gd name="connsiteY59" fmla="*/ 2224434 h 5037832"/>
                  <a:gd name="connsiteX60" fmla="*/ 6848443 w 7286095"/>
                  <a:gd name="connsiteY60" fmla="*/ 2325119 h 5037832"/>
                  <a:gd name="connsiteX61" fmla="*/ 6848443 w 7286095"/>
                  <a:gd name="connsiteY61" fmla="*/ 3027918 h 5037832"/>
                  <a:gd name="connsiteX62" fmla="*/ 6706745 w 7286095"/>
                  <a:gd name="connsiteY62" fmla="*/ 3116769 h 5037832"/>
                  <a:gd name="connsiteX63" fmla="*/ 6706745 w 7286095"/>
                  <a:gd name="connsiteY63" fmla="*/ 2411756 h 5037832"/>
                  <a:gd name="connsiteX64" fmla="*/ 6542073 w 7286095"/>
                  <a:gd name="connsiteY64" fmla="*/ 2512439 h 5037832"/>
                  <a:gd name="connsiteX65" fmla="*/ 6542073 w 7286095"/>
                  <a:gd name="connsiteY65" fmla="*/ 3220024 h 5037832"/>
                  <a:gd name="connsiteX66" fmla="*/ 6400375 w 7286095"/>
                  <a:gd name="connsiteY66" fmla="*/ 3308875 h 5037832"/>
                  <a:gd name="connsiteX67" fmla="*/ 6400375 w 7286095"/>
                  <a:gd name="connsiteY67" fmla="*/ 2599076 h 5037832"/>
                  <a:gd name="connsiteX68" fmla="*/ 6235703 w 7286095"/>
                  <a:gd name="connsiteY68" fmla="*/ 2699759 h 5037832"/>
                  <a:gd name="connsiteX69" fmla="*/ 6235703 w 7286095"/>
                  <a:gd name="connsiteY69" fmla="*/ 3412131 h 5037832"/>
                  <a:gd name="connsiteX70" fmla="*/ 6094005 w 7286095"/>
                  <a:gd name="connsiteY70" fmla="*/ 3500981 h 5037832"/>
                  <a:gd name="connsiteX71" fmla="*/ 6094005 w 7286095"/>
                  <a:gd name="connsiteY71" fmla="*/ 2786396 h 5037832"/>
                  <a:gd name="connsiteX72" fmla="*/ 5929332 w 7286095"/>
                  <a:gd name="connsiteY72" fmla="*/ 2887081 h 5037832"/>
                  <a:gd name="connsiteX73" fmla="*/ 5929332 w 7286095"/>
                  <a:gd name="connsiteY73" fmla="*/ 3604237 h 5037832"/>
                  <a:gd name="connsiteX74" fmla="*/ 5787635 w 7286095"/>
                  <a:gd name="connsiteY74" fmla="*/ 3693086 h 5037832"/>
                  <a:gd name="connsiteX75" fmla="*/ 5787635 w 7286095"/>
                  <a:gd name="connsiteY75" fmla="*/ 2973716 h 5037832"/>
                  <a:gd name="connsiteX76" fmla="*/ 5622962 w 7286095"/>
                  <a:gd name="connsiteY76" fmla="*/ 3074401 h 5037832"/>
                  <a:gd name="connsiteX77" fmla="*/ 5622962 w 7286095"/>
                  <a:gd name="connsiteY77" fmla="*/ 3796343 h 5037832"/>
                  <a:gd name="connsiteX78" fmla="*/ 5481265 w 7286095"/>
                  <a:gd name="connsiteY78" fmla="*/ 3885194 h 5037832"/>
                  <a:gd name="connsiteX79" fmla="*/ 5481265 w 7286095"/>
                  <a:gd name="connsiteY79" fmla="*/ 3161036 h 5037832"/>
                  <a:gd name="connsiteX80" fmla="*/ 5316592 w 7286095"/>
                  <a:gd name="connsiteY80" fmla="*/ 3261721 h 5037832"/>
                  <a:gd name="connsiteX81" fmla="*/ 5316592 w 7286095"/>
                  <a:gd name="connsiteY81" fmla="*/ 3988448 h 5037832"/>
                  <a:gd name="connsiteX82" fmla="*/ 5174895 w 7286095"/>
                  <a:gd name="connsiteY82" fmla="*/ 4077300 h 5037832"/>
                  <a:gd name="connsiteX83" fmla="*/ 5174895 w 7286095"/>
                  <a:gd name="connsiteY83" fmla="*/ 3348358 h 5037832"/>
                  <a:gd name="connsiteX84" fmla="*/ 5010222 w 7286095"/>
                  <a:gd name="connsiteY84" fmla="*/ 3449041 h 5037832"/>
                  <a:gd name="connsiteX85" fmla="*/ 5010222 w 7286095"/>
                  <a:gd name="connsiteY85" fmla="*/ 4180556 h 5037832"/>
                  <a:gd name="connsiteX86" fmla="*/ 4868525 w 7286095"/>
                  <a:gd name="connsiteY86" fmla="*/ 4269405 h 5037832"/>
                  <a:gd name="connsiteX87" fmla="*/ 4868525 w 7286095"/>
                  <a:gd name="connsiteY87" fmla="*/ 3535678 h 5037832"/>
                  <a:gd name="connsiteX88" fmla="*/ 4703852 w 7286095"/>
                  <a:gd name="connsiteY88" fmla="*/ 3636360 h 5037832"/>
                  <a:gd name="connsiteX89" fmla="*/ 4703852 w 7286095"/>
                  <a:gd name="connsiteY89" fmla="*/ 4372662 h 5037832"/>
                  <a:gd name="connsiteX90" fmla="*/ 4562155 w 7286095"/>
                  <a:gd name="connsiteY90" fmla="*/ 4461513 h 5037832"/>
                  <a:gd name="connsiteX91" fmla="*/ 4562155 w 7286095"/>
                  <a:gd name="connsiteY91" fmla="*/ 3722997 h 5037832"/>
                  <a:gd name="connsiteX92" fmla="*/ 4397482 w 7286095"/>
                  <a:gd name="connsiteY92" fmla="*/ 3823680 h 5037832"/>
                  <a:gd name="connsiteX93" fmla="*/ 4397482 w 7286095"/>
                  <a:gd name="connsiteY93" fmla="*/ 4564768 h 5037832"/>
                  <a:gd name="connsiteX94" fmla="*/ 4255785 w 7286095"/>
                  <a:gd name="connsiteY94" fmla="*/ 4653619 h 5037832"/>
                  <a:gd name="connsiteX95" fmla="*/ 4255785 w 7286095"/>
                  <a:gd name="connsiteY95" fmla="*/ 3910317 h 5037832"/>
                  <a:gd name="connsiteX96" fmla="*/ 4091112 w 7286095"/>
                  <a:gd name="connsiteY96" fmla="*/ 4011000 h 5037832"/>
                  <a:gd name="connsiteX97" fmla="*/ 4091112 w 7286095"/>
                  <a:gd name="connsiteY97" fmla="*/ 4756875 h 5037832"/>
                  <a:gd name="connsiteX98" fmla="*/ 3949414 w 7286095"/>
                  <a:gd name="connsiteY98" fmla="*/ 4845724 h 5037832"/>
                  <a:gd name="connsiteX99" fmla="*/ 3949414 w 7286095"/>
                  <a:gd name="connsiteY99" fmla="*/ 4097637 h 5037832"/>
                  <a:gd name="connsiteX100" fmla="*/ 3784742 w 7286095"/>
                  <a:gd name="connsiteY100" fmla="*/ 4198322 h 5037832"/>
                  <a:gd name="connsiteX101" fmla="*/ 3784742 w 7286095"/>
                  <a:gd name="connsiteY101" fmla="*/ 4948981 h 5037832"/>
                  <a:gd name="connsiteX102" fmla="*/ 3643044 w 7286095"/>
                  <a:gd name="connsiteY102" fmla="*/ 5037832 h 5037832"/>
                  <a:gd name="connsiteX103" fmla="*/ 3643044 w 7286095"/>
                  <a:gd name="connsiteY103" fmla="*/ 4284957 h 5037832"/>
                  <a:gd name="connsiteX104" fmla="*/ 3528878 w 7286095"/>
                  <a:gd name="connsiteY104" fmla="*/ 4354761 h 5037832"/>
                  <a:gd name="connsiteX105" fmla="*/ 3436697 w 7286095"/>
                  <a:gd name="connsiteY105" fmla="*/ 4303067 h 5037832"/>
                  <a:gd name="connsiteX106" fmla="*/ 3436697 w 7286095"/>
                  <a:gd name="connsiteY106" fmla="*/ 5010554 h 5037832"/>
                  <a:gd name="connsiteX107" fmla="*/ 3294999 w 7286095"/>
                  <a:gd name="connsiteY107" fmla="*/ 4927162 h 5037832"/>
                  <a:gd name="connsiteX108" fmla="*/ 3294999 w 7286095"/>
                  <a:gd name="connsiteY108" fmla="*/ 4223605 h 5037832"/>
                  <a:gd name="connsiteX109" fmla="*/ 3147557 w 7286095"/>
                  <a:gd name="connsiteY109" fmla="*/ 4140923 h 5037832"/>
                  <a:gd name="connsiteX110" fmla="*/ 3147557 w 7286095"/>
                  <a:gd name="connsiteY110" fmla="*/ 4840389 h 5037832"/>
                  <a:gd name="connsiteX111" fmla="*/ 3005859 w 7286095"/>
                  <a:gd name="connsiteY111" fmla="*/ 4757000 h 5037832"/>
                  <a:gd name="connsiteX112" fmla="*/ 3005859 w 7286095"/>
                  <a:gd name="connsiteY112" fmla="*/ 4061460 h 5037832"/>
                  <a:gd name="connsiteX113" fmla="*/ 2858425 w 7286095"/>
                  <a:gd name="connsiteY113" fmla="*/ 3978781 h 5037832"/>
                  <a:gd name="connsiteX114" fmla="*/ 2858425 w 7286095"/>
                  <a:gd name="connsiteY114" fmla="*/ 4670232 h 5037832"/>
                  <a:gd name="connsiteX115" fmla="*/ 2716727 w 7286095"/>
                  <a:gd name="connsiteY115" fmla="*/ 4586840 h 5037832"/>
                  <a:gd name="connsiteX116" fmla="*/ 2716727 w 7286095"/>
                  <a:gd name="connsiteY116" fmla="*/ 3899320 h 5037832"/>
                  <a:gd name="connsiteX117" fmla="*/ 2569294 w 7286095"/>
                  <a:gd name="connsiteY117" fmla="*/ 3816641 h 5037832"/>
                  <a:gd name="connsiteX118" fmla="*/ 2569294 w 7286095"/>
                  <a:gd name="connsiteY118" fmla="*/ 4500072 h 5037832"/>
                  <a:gd name="connsiteX119" fmla="*/ 2427596 w 7286095"/>
                  <a:gd name="connsiteY119" fmla="*/ 4416680 h 5037832"/>
                  <a:gd name="connsiteX120" fmla="*/ 2427596 w 7286095"/>
                  <a:gd name="connsiteY120" fmla="*/ 3737178 h 5037832"/>
                  <a:gd name="connsiteX121" fmla="*/ 2280162 w 7286095"/>
                  <a:gd name="connsiteY121" fmla="*/ 3654501 h 5037832"/>
                  <a:gd name="connsiteX122" fmla="*/ 2280162 w 7286095"/>
                  <a:gd name="connsiteY122" fmla="*/ 4329914 h 5037832"/>
                  <a:gd name="connsiteX123" fmla="*/ 2138464 w 7286095"/>
                  <a:gd name="connsiteY123" fmla="*/ 4246522 h 5037832"/>
                  <a:gd name="connsiteX124" fmla="*/ 2138464 w 7286095"/>
                  <a:gd name="connsiteY124" fmla="*/ 3575038 h 5037832"/>
                  <a:gd name="connsiteX125" fmla="*/ 1991031 w 7286095"/>
                  <a:gd name="connsiteY125" fmla="*/ 3492361 h 5037832"/>
                  <a:gd name="connsiteX126" fmla="*/ 1991031 w 7286095"/>
                  <a:gd name="connsiteY126" fmla="*/ 4159755 h 5037832"/>
                  <a:gd name="connsiteX127" fmla="*/ 1849333 w 7286095"/>
                  <a:gd name="connsiteY127" fmla="*/ 4076363 h 5037832"/>
                  <a:gd name="connsiteX128" fmla="*/ 1849333 w 7286095"/>
                  <a:gd name="connsiteY128" fmla="*/ 3412899 h 5037832"/>
                  <a:gd name="connsiteX129" fmla="*/ 1701899 w 7286095"/>
                  <a:gd name="connsiteY129" fmla="*/ 3330219 h 5037832"/>
                  <a:gd name="connsiteX130" fmla="*/ 1701899 w 7286095"/>
                  <a:gd name="connsiteY130" fmla="*/ 3989597 h 5037832"/>
                  <a:gd name="connsiteX131" fmla="*/ 1560201 w 7286095"/>
                  <a:gd name="connsiteY131" fmla="*/ 3906205 h 5037832"/>
                  <a:gd name="connsiteX132" fmla="*/ 1560201 w 7286095"/>
                  <a:gd name="connsiteY132" fmla="*/ 3250759 h 5037832"/>
                  <a:gd name="connsiteX133" fmla="*/ 1412767 w 7286095"/>
                  <a:gd name="connsiteY133" fmla="*/ 3168079 h 5037832"/>
                  <a:gd name="connsiteX134" fmla="*/ 1412767 w 7286095"/>
                  <a:gd name="connsiteY134" fmla="*/ 3819437 h 5037832"/>
                  <a:gd name="connsiteX135" fmla="*/ 1271070 w 7286095"/>
                  <a:gd name="connsiteY135" fmla="*/ 3736045 h 5037832"/>
                  <a:gd name="connsiteX136" fmla="*/ 1271070 w 7286095"/>
                  <a:gd name="connsiteY136" fmla="*/ 3088617 h 5037832"/>
                  <a:gd name="connsiteX137" fmla="*/ 1123636 w 7286095"/>
                  <a:gd name="connsiteY137" fmla="*/ 3005939 h 5037832"/>
                  <a:gd name="connsiteX138" fmla="*/ 1123636 w 7286095"/>
                  <a:gd name="connsiteY138" fmla="*/ 3649279 h 5037832"/>
                  <a:gd name="connsiteX139" fmla="*/ 981938 w 7286095"/>
                  <a:gd name="connsiteY139" fmla="*/ 3565887 h 5037832"/>
                  <a:gd name="connsiteX140" fmla="*/ 981938 w 7286095"/>
                  <a:gd name="connsiteY140" fmla="*/ 2926477 h 5037832"/>
                  <a:gd name="connsiteX141" fmla="*/ 834504 w 7286095"/>
                  <a:gd name="connsiteY141" fmla="*/ 2843800 h 5037832"/>
                  <a:gd name="connsiteX142" fmla="*/ 834504 w 7286095"/>
                  <a:gd name="connsiteY142" fmla="*/ 3479120 h 5037832"/>
                  <a:gd name="connsiteX143" fmla="*/ 692807 w 7286095"/>
                  <a:gd name="connsiteY143" fmla="*/ 3395728 h 5037832"/>
                  <a:gd name="connsiteX144" fmla="*/ 692807 w 7286095"/>
                  <a:gd name="connsiteY144" fmla="*/ 2764337 h 5037832"/>
                  <a:gd name="connsiteX145" fmla="*/ 545373 w 7286095"/>
                  <a:gd name="connsiteY145" fmla="*/ 2681658 h 5037832"/>
                  <a:gd name="connsiteX146" fmla="*/ 545373 w 7286095"/>
                  <a:gd name="connsiteY146" fmla="*/ 3308962 h 5037832"/>
                  <a:gd name="connsiteX147" fmla="*/ 403675 w 7286095"/>
                  <a:gd name="connsiteY147" fmla="*/ 3225570 h 5037832"/>
                  <a:gd name="connsiteX148" fmla="*/ 403675 w 7286095"/>
                  <a:gd name="connsiteY148" fmla="*/ 2602197 h 5037832"/>
                  <a:gd name="connsiteX149" fmla="*/ 256241 w 7286095"/>
                  <a:gd name="connsiteY149" fmla="*/ 2519518 h 5037832"/>
                  <a:gd name="connsiteX150" fmla="*/ 256241 w 7286095"/>
                  <a:gd name="connsiteY150" fmla="*/ 3138802 h 5037832"/>
                  <a:gd name="connsiteX151" fmla="*/ 114543 w 7286095"/>
                  <a:gd name="connsiteY151" fmla="*/ 3055410 h 5037832"/>
                  <a:gd name="connsiteX152" fmla="*/ 114543 w 7286095"/>
                  <a:gd name="connsiteY152" fmla="*/ 2440055 h 5037832"/>
                  <a:gd name="connsiteX153" fmla="*/ 0 w 7286095"/>
                  <a:gd name="connsiteY153" fmla="*/ 2375821 h 5037832"/>
                  <a:gd name="connsiteX154" fmla="*/ 0 w 7286095"/>
                  <a:gd name="connsiteY154" fmla="*/ 1946821 h 5037832"/>
                  <a:gd name="connsiteX155" fmla="*/ 5283 w 7286095"/>
                  <a:gd name="connsiteY155" fmla="*/ 1949813 h 5037832"/>
                  <a:gd name="connsiteX156" fmla="*/ 3789789 w 7286095"/>
                  <a:gd name="connsiteY156" fmla="*/ 0 h 5037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Lst>
                <a:rect l="l" t="t" r="r" b="b"/>
                <a:pathLst>
                  <a:path w="7286095" h="5037832">
                    <a:moveTo>
                      <a:pt x="2681855" y="2147419"/>
                    </a:moveTo>
                    <a:lnTo>
                      <a:pt x="2681855" y="2235525"/>
                    </a:lnTo>
                    <a:lnTo>
                      <a:pt x="3672455" y="2687963"/>
                    </a:lnTo>
                    <a:lnTo>
                      <a:pt x="4160611" y="2428406"/>
                    </a:lnTo>
                    <a:lnTo>
                      <a:pt x="4160611" y="2337919"/>
                    </a:lnTo>
                    <a:lnTo>
                      <a:pt x="2681855" y="2147419"/>
                    </a:lnTo>
                    <a:close/>
                    <a:moveTo>
                      <a:pt x="6858354" y="1929286"/>
                    </a:moveTo>
                    <a:lnTo>
                      <a:pt x="3541261" y="3836527"/>
                    </a:lnTo>
                    <a:lnTo>
                      <a:pt x="43626" y="1971532"/>
                    </a:lnTo>
                    <a:lnTo>
                      <a:pt x="3542717" y="3953437"/>
                    </a:lnTo>
                    <a:lnTo>
                      <a:pt x="6858354" y="1929286"/>
                    </a:lnTo>
                    <a:close/>
                    <a:moveTo>
                      <a:pt x="3521642" y="1748956"/>
                    </a:moveTo>
                    <a:lnTo>
                      <a:pt x="3521642" y="1818013"/>
                    </a:lnTo>
                    <a:lnTo>
                      <a:pt x="4445567" y="2251400"/>
                    </a:lnTo>
                    <a:lnTo>
                      <a:pt x="4931342" y="1989463"/>
                    </a:lnTo>
                    <a:lnTo>
                      <a:pt x="4931342" y="1918025"/>
                    </a:lnTo>
                    <a:lnTo>
                      <a:pt x="3521642" y="1748956"/>
                    </a:lnTo>
                    <a:close/>
                    <a:moveTo>
                      <a:pt x="1567430" y="1621163"/>
                    </a:moveTo>
                    <a:lnTo>
                      <a:pt x="1567430" y="1704506"/>
                    </a:lnTo>
                    <a:lnTo>
                      <a:pt x="2548505" y="2147419"/>
                    </a:lnTo>
                    <a:lnTo>
                      <a:pt x="3046186" y="1887863"/>
                    </a:lnTo>
                    <a:lnTo>
                      <a:pt x="3046186" y="1809281"/>
                    </a:lnTo>
                    <a:lnTo>
                      <a:pt x="1567430" y="1621163"/>
                    </a:lnTo>
                    <a:close/>
                    <a:moveTo>
                      <a:pt x="6182457" y="1573175"/>
                    </a:moveTo>
                    <a:lnTo>
                      <a:pt x="3609060" y="2987154"/>
                    </a:lnTo>
                    <a:lnTo>
                      <a:pt x="1179754" y="1713292"/>
                    </a:lnTo>
                    <a:lnTo>
                      <a:pt x="1179754" y="1874168"/>
                    </a:lnTo>
                    <a:lnTo>
                      <a:pt x="3598688" y="3163595"/>
                    </a:lnTo>
                    <a:cubicBezTo>
                      <a:pt x="4467069" y="2699997"/>
                      <a:pt x="5314076" y="2150943"/>
                      <a:pt x="6182457" y="1687345"/>
                    </a:cubicBezTo>
                    <a:lnTo>
                      <a:pt x="6182457" y="1573175"/>
                    </a:lnTo>
                    <a:close/>
                    <a:moveTo>
                      <a:pt x="4326505" y="1372719"/>
                    </a:moveTo>
                    <a:lnTo>
                      <a:pt x="4326505" y="1432250"/>
                    </a:lnTo>
                    <a:lnTo>
                      <a:pt x="5226617" y="1837063"/>
                    </a:lnTo>
                    <a:lnTo>
                      <a:pt x="5712392" y="1577506"/>
                    </a:lnTo>
                    <a:lnTo>
                      <a:pt x="5712392" y="1520356"/>
                    </a:lnTo>
                    <a:lnTo>
                      <a:pt x="4326505" y="1372719"/>
                    </a:lnTo>
                    <a:close/>
                    <a:moveTo>
                      <a:pt x="2442936" y="1241750"/>
                    </a:moveTo>
                    <a:lnTo>
                      <a:pt x="2442936" y="1306044"/>
                    </a:lnTo>
                    <a:lnTo>
                      <a:pt x="3371623" y="1739431"/>
                    </a:lnTo>
                    <a:lnTo>
                      <a:pt x="3847873" y="1475113"/>
                    </a:lnTo>
                    <a:lnTo>
                      <a:pt x="3847873" y="1410819"/>
                    </a:lnTo>
                    <a:lnTo>
                      <a:pt x="2442936" y="1241750"/>
                    </a:lnTo>
                    <a:close/>
                    <a:moveTo>
                      <a:pt x="3259705" y="875038"/>
                    </a:moveTo>
                    <a:cubicBezTo>
                      <a:pt x="3258911" y="894882"/>
                      <a:pt x="3258118" y="914725"/>
                      <a:pt x="3257324" y="934569"/>
                    </a:cubicBezTo>
                    <a:lnTo>
                      <a:pt x="4157436" y="1348906"/>
                    </a:lnTo>
                    <a:lnTo>
                      <a:pt x="4647973" y="1086969"/>
                    </a:lnTo>
                    <a:lnTo>
                      <a:pt x="4647973" y="1017913"/>
                    </a:lnTo>
                    <a:lnTo>
                      <a:pt x="3259705" y="875038"/>
                    </a:lnTo>
                    <a:close/>
                    <a:moveTo>
                      <a:pt x="3826413" y="369202"/>
                    </a:moveTo>
                    <a:lnTo>
                      <a:pt x="1662381" y="1469382"/>
                    </a:lnTo>
                    <a:lnTo>
                      <a:pt x="3821224" y="426288"/>
                    </a:lnTo>
                    <a:lnTo>
                      <a:pt x="5513009" y="1225474"/>
                    </a:lnTo>
                    <a:lnTo>
                      <a:pt x="3826413" y="369202"/>
                    </a:lnTo>
                    <a:close/>
                    <a:moveTo>
                      <a:pt x="3789789" y="0"/>
                    </a:moveTo>
                    <a:lnTo>
                      <a:pt x="7284571" y="1684220"/>
                    </a:lnTo>
                    <a:cubicBezTo>
                      <a:pt x="7287385" y="1808658"/>
                      <a:pt x="7283281" y="1933093"/>
                      <a:pt x="7286095" y="2057530"/>
                    </a:cubicBezTo>
                    <a:lnTo>
                      <a:pt x="7154815" y="2137797"/>
                    </a:lnTo>
                    <a:lnTo>
                      <a:pt x="7154815" y="2835810"/>
                    </a:lnTo>
                    <a:lnTo>
                      <a:pt x="7013117" y="2924661"/>
                    </a:lnTo>
                    <a:lnTo>
                      <a:pt x="7013117" y="2224434"/>
                    </a:lnTo>
                    <a:lnTo>
                      <a:pt x="6848443" y="2325119"/>
                    </a:lnTo>
                    <a:lnTo>
                      <a:pt x="6848443" y="3027918"/>
                    </a:lnTo>
                    <a:lnTo>
                      <a:pt x="6706745" y="3116769"/>
                    </a:lnTo>
                    <a:lnTo>
                      <a:pt x="6706745" y="2411756"/>
                    </a:lnTo>
                    <a:lnTo>
                      <a:pt x="6542073" y="2512439"/>
                    </a:lnTo>
                    <a:lnTo>
                      <a:pt x="6542073" y="3220024"/>
                    </a:lnTo>
                    <a:lnTo>
                      <a:pt x="6400375" y="3308875"/>
                    </a:lnTo>
                    <a:lnTo>
                      <a:pt x="6400375" y="2599076"/>
                    </a:lnTo>
                    <a:lnTo>
                      <a:pt x="6235703" y="2699759"/>
                    </a:lnTo>
                    <a:lnTo>
                      <a:pt x="6235703" y="3412131"/>
                    </a:lnTo>
                    <a:lnTo>
                      <a:pt x="6094005" y="3500981"/>
                    </a:lnTo>
                    <a:lnTo>
                      <a:pt x="6094005" y="2786396"/>
                    </a:lnTo>
                    <a:lnTo>
                      <a:pt x="5929332" y="2887081"/>
                    </a:lnTo>
                    <a:lnTo>
                      <a:pt x="5929332" y="3604237"/>
                    </a:lnTo>
                    <a:lnTo>
                      <a:pt x="5787635" y="3693086"/>
                    </a:lnTo>
                    <a:lnTo>
                      <a:pt x="5787635" y="2973716"/>
                    </a:lnTo>
                    <a:lnTo>
                      <a:pt x="5622962" y="3074401"/>
                    </a:lnTo>
                    <a:lnTo>
                      <a:pt x="5622962" y="3796343"/>
                    </a:lnTo>
                    <a:lnTo>
                      <a:pt x="5481265" y="3885194"/>
                    </a:lnTo>
                    <a:lnTo>
                      <a:pt x="5481265" y="3161036"/>
                    </a:lnTo>
                    <a:lnTo>
                      <a:pt x="5316592" y="3261721"/>
                    </a:lnTo>
                    <a:lnTo>
                      <a:pt x="5316592" y="3988448"/>
                    </a:lnTo>
                    <a:lnTo>
                      <a:pt x="5174895" y="4077300"/>
                    </a:lnTo>
                    <a:lnTo>
                      <a:pt x="5174895" y="3348358"/>
                    </a:lnTo>
                    <a:lnTo>
                      <a:pt x="5010222" y="3449041"/>
                    </a:lnTo>
                    <a:lnTo>
                      <a:pt x="5010222" y="4180556"/>
                    </a:lnTo>
                    <a:lnTo>
                      <a:pt x="4868525" y="4269405"/>
                    </a:lnTo>
                    <a:lnTo>
                      <a:pt x="4868525" y="3535678"/>
                    </a:lnTo>
                    <a:lnTo>
                      <a:pt x="4703852" y="3636360"/>
                    </a:lnTo>
                    <a:lnTo>
                      <a:pt x="4703852" y="4372662"/>
                    </a:lnTo>
                    <a:lnTo>
                      <a:pt x="4562155" y="4461513"/>
                    </a:lnTo>
                    <a:lnTo>
                      <a:pt x="4562155" y="3722997"/>
                    </a:lnTo>
                    <a:lnTo>
                      <a:pt x="4397482" y="3823680"/>
                    </a:lnTo>
                    <a:lnTo>
                      <a:pt x="4397482" y="4564768"/>
                    </a:lnTo>
                    <a:lnTo>
                      <a:pt x="4255785" y="4653619"/>
                    </a:lnTo>
                    <a:lnTo>
                      <a:pt x="4255785" y="3910317"/>
                    </a:lnTo>
                    <a:lnTo>
                      <a:pt x="4091112" y="4011000"/>
                    </a:lnTo>
                    <a:lnTo>
                      <a:pt x="4091112" y="4756875"/>
                    </a:lnTo>
                    <a:lnTo>
                      <a:pt x="3949414" y="4845724"/>
                    </a:lnTo>
                    <a:lnTo>
                      <a:pt x="3949414" y="4097637"/>
                    </a:lnTo>
                    <a:lnTo>
                      <a:pt x="3784742" y="4198322"/>
                    </a:lnTo>
                    <a:lnTo>
                      <a:pt x="3784742" y="4948981"/>
                    </a:lnTo>
                    <a:lnTo>
                      <a:pt x="3643044" y="5037832"/>
                    </a:lnTo>
                    <a:lnTo>
                      <a:pt x="3643044" y="4284957"/>
                    </a:lnTo>
                    <a:lnTo>
                      <a:pt x="3528878" y="4354761"/>
                    </a:lnTo>
                    <a:lnTo>
                      <a:pt x="3436697" y="4303067"/>
                    </a:lnTo>
                    <a:lnTo>
                      <a:pt x="3436697" y="5010554"/>
                    </a:lnTo>
                    <a:lnTo>
                      <a:pt x="3294999" y="4927162"/>
                    </a:lnTo>
                    <a:lnTo>
                      <a:pt x="3294999" y="4223605"/>
                    </a:lnTo>
                    <a:lnTo>
                      <a:pt x="3147557" y="4140923"/>
                    </a:lnTo>
                    <a:lnTo>
                      <a:pt x="3147557" y="4840389"/>
                    </a:lnTo>
                    <a:lnTo>
                      <a:pt x="3005859" y="4757000"/>
                    </a:lnTo>
                    <a:lnTo>
                      <a:pt x="3005859" y="4061460"/>
                    </a:lnTo>
                    <a:lnTo>
                      <a:pt x="2858425" y="3978781"/>
                    </a:lnTo>
                    <a:lnTo>
                      <a:pt x="2858425" y="4670232"/>
                    </a:lnTo>
                    <a:lnTo>
                      <a:pt x="2716727" y="4586840"/>
                    </a:lnTo>
                    <a:lnTo>
                      <a:pt x="2716727" y="3899320"/>
                    </a:lnTo>
                    <a:lnTo>
                      <a:pt x="2569294" y="3816641"/>
                    </a:lnTo>
                    <a:lnTo>
                      <a:pt x="2569294" y="4500072"/>
                    </a:lnTo>
                    <a:lnTo>
                      <a:pt x="2427596" y="4416680"/>
                    </a:lnTo>
                    <a:lnTo>
                      <a:pt x="2427596" y="3737178"/>
                    </a:lnTo>
                    <a:lnTo>
                      <a:pt x="2280162" y="3654501"/>
                    </a:lnTo>
                    <a:lnTo>
                      <a:pt x="2280162" y="4329914"/>
                    </a:lnTo>
                    <a:lnTo>
                      <a:pt x="2138464" y="4246522"/>
                    </a:lnTo>
                    <a:lnTo>
                      <a:pt x="2138464" y="3575038"/>
                    </a:lnTo>
                    <a:lnTo>
                      <a:pt x="1991031" y="3492361"/>
                    </a:lnTo>
                    <a:lnTo>
                      <a:pt x="1991031" y="4159755"/>
                    </a:lnTo>
                    <a:lnTo>
                      <a:pt x="1849333" y="4076363"/>
                    </a:lnTo>
                    <a:lnTo>
                      <a:pt x="1849333" y="3412899"/>
                    </a:lnTo>
                    <a:lnTo>
                      <a:pt x="1701899" y="3330219"/>
                    </a:lnTo>
                    <a:lnTo>
                      <a:pt x="1701899" y="3989597"/>
                    </a:lnTo>
                    <a:lnTo>
                      <a:pt x="1560201" y="3906205"/>
                    </a:lnTo>
                    <a:lnTo>
                      <a:pt x="1560201" y="3250759"/>
                    </a:lnTo>
                    <a:lnTo>
                      <a:pt x="1412767" y="3168079"/>
                    </a:lnTo>
                    <a:lnTo>
                      <a:pt x="1412767" y="3819437"/>
                    </a:lnTo>
                    <a:lnTo>
                      <a:pt x="1271070" y="3736045"/>
                    </a:lnTo>
                    <a:lnTo>
                      <a:pt x="1271070" y="3088617"/>
                    </a:lnTo>
                    <a:lnTo>
                      <a:pt x="1123636" y="3005939"/>
                    </a:lnTo>
                    <a:lnTo>
                      <a:pt x="1123636" y="3649279"/>
                    </a:lnTo>
                    <a:lnTo>
                      <a:pt x="981938" y="3565887"/>
                    </a:lnTo>
                    <a:lnTo>
                      <a:pt x="981938" y="2926477"/>
                    </a:lnTo>
                    <a:lnTo>
                      <a:pt x="834504" y="2843800"/>
                    </a:lnTo>
                    <a:lnTo>
                      <a:pt x="834504" y="3479120"/>
                    </a:lnTo>
                    <a:lnTo>
                      <a:pt x="692807" y="3395728"/>
                    </a:lnTo>
                    <a:lnTo>
                      <a:pt x="692807" y="2764337"/>
                    </a:lnTo>
                    <a:lnTo>
                      <a:pt x="545373" y="2681658"/>
                    </a:lnTo>
                    <a:lnTo>
                      <a:pt x="545373" y="3308962"/>
                    </a:lnTo>
                    <a:lnTo>
                      <a:pt x="403675" y="3225570"/>
                    </a:lnTo>
                    <a:lnTo>
                      <a:pt x="403675" y="2602197"/>
                    </a:lnTo>
                    <a:lnTo>
                      <a:pt x="256241" y="2519518"/>
                    </a:lnTo>
                    <a:lnTo>
                      <a:pt x="256241" y="3138802"/>
                    </a:lnTo>
                    <a:lnTo>
                      <a:pt x="114543" y="3055410"/>
                    </a:lnTo>
                    <a:lnTo>
                      <a:pt x="114543" y="2440055"/>
                    </a:lnTo>
                    <a:lnTo>
                      <a:pt x="0" y="2375821"/>
                    </a:lnTo>
                    <a:lnTo>
                      <a:pt x="0" y="1946821"/>
                    </a:lnTo>
                    <a:lnTo>
                      <a:pt x="5283" y="1949813"/>
                    </a:lnTo>
                    <a:lnTo>
                      <a:pt x="3789789" y="0"/>
                    </a:lnTo>
                    <a:close/>
                  </a:path>
                </a:pathLst>
              </a:custGeom>
              <a:solidFill>
                <a:srgbClr val="000000">
                  <a:lumMod val="50000"/>
                  <a:lumOff val="5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1" name="Rectangle 20"/>
              <p:cNvSpPr/>
              <p:nvPr/>
            </p:nvSpPr>
            <p:spPr>
              <a:xfrm>
                <a:off x="5303764" y="1811419"/>
                <a:ext cx="1472511" cy="687994"/>
              </a:xfrm>
              <a:custGeom>
                <a:avLst/>
                <a:gdLst>
                  <a:gd name="connsiteX0" fmla="*/ 0 w 402622"/>
                  <a:gd name="connsiteY0" fmla="*/ 0 h 252985"/>
                  <a:gd name="connsiteX1" fmla="*/ 402622 w 402622"/>
                  <a:gd name="connsiteY1" fmla="*/ 0 h 252985"/>
                  <a:gd name="connsiteX2" fmla="*/ 402622 w 402622"/>
                  <a:gd name="connsiteY2" fmla="*/ 252985 h 252985"/>
                  <a:gd name="connsiteX3" fmla="*/ 0 w 402622"/>
                  <a:gd name="connsiteY3" fmla="*/ 252985 h 252985"/>
                  <a:gd name="connsiteX4" fmla="*/ 0 w 402622"/>
                  <a:gd name="connsiteY4" fmla="*/ 0 h 252985"/>
                  <a:gd name="connsiteX0" fmla="*/ 0 w 402622"/>
                  <a:gd name="connsiteY0" fmla="*/ 114300 h 367285"/>
                  <a:gd name="connsiteX1" fmla="*/ 348647 w 402622"/>
                  <a:gd name="connsiteY1" fmla="*/ 0 h 367285"/>
                  <a:gd name="connsiteX2" fmla="*/ 402622 w 402622"/>
                  <a:gd name="connsiteY2" fmla="*/ 367285 h 367285"/>
                  <a:gd name="connsiteX3" fmla="*/ 0 w 402622"/>
                  <a:gd name="connsiteY3" fmla="*/ 367285 h 367285"/>
                  <a:gd name="connsiteX4" fmla="*/ 0 w 402622"/>
                  <a:gd name="connsiteY4" fmla="*/ 114300 h 367285"/>
                  <a:gd name="connsiteX0" fmla="*/ 0 w 643922"/>
                  <a:gd name="connsiteY0" fmla="*/ 114300 h 367285"/>
                  <a:gd name="connsiteX1" fmla="*/ 348647 w 643922"/>
                  <a:gd name="connsiteY1" fmla="*/ 0 h 367285"/>
                  <a:gd name="connsiteX2" fmla="*/ 643922 w 643922"/>
                  <a:gd name="connsiteY2" fmla="*/ 195835 h 367285"/>
                  <a:gd name="connsiteX3" fmla="*/ 0 w 643922"/>
                  <a:gd name="connsiteY3" fmla="*/ 367285 h 367285"/>
                  <a:gd name="connsiteX4" fmla="*/ 0 w 643922"/>
                  <a:gd name="connsiteY4" fmla="*/ 114300 h 367285"/>
                  <a:gd name="connsiteX0" fmla="*/ 0 w 643922"/>
                  <a:gd name="connsiteY0" fmla="*/ 114300 h 443485"/>
                  <a:gd name="connsiteX1" fmla="*/ 348647 w 643922"/>
                  <a:gd name="connsiteY1" fmla="*/ 0 h 443485"/>
                  <a:gd name="connsiteX2" fmla="*/ 643922 w 643922"/>
                  <a:gd name="connsiteY2" fmla="*/ 195835 h 443485"/>
                  <a:gd name="connsiteX3" fmla="*/ 320675 w 643922"/>
                  <a:gd name="connsiteY3" fmla="*/ 443485 h 443485"/>
                  <a:gd name="connsiteX4" fmla="*/ 0 w 643922"/>
                  <a:gd name="connsiteY4" fmla="*/ 114300 h 443485"/>
                  <a:gd name="connsiteX0" fmla="*/ 0 w 659797"/>
                  <a:gd name="connsiteY0" fmla="*/ 276225 h 443485"/>
                  <a:gd name="connsiteX1" fmla="*/ 364522 w 659797"/>
                  <a:gd name="connsiteY1" fmla="*/ 0 h 443485"/>
                  <a:gd name="connsiteX2" fmla="*/ 659797 w 659797"/>
                  <a:gd name="connsiteY2" fmla="*/ 195835 h 443485"/>
                  <a:gd name="connsiteX3" fmla="*/ 336550 w 659797"/>
                  <a:gd name="connsiteY3" fmla="*/ 443485 h 443485"/>
                  <a:gd name="connsiteX4" fmla="*/ 0 w 659797"/>
                  <a:gd name="connsiteY4" fmla="*/ 276225 h 443485"/>
                  <a:gd name="connsiteX0" fmla="*/ 0 w 720122"/>
                  <a:gd name="connsiteY0" fmla="*/ 203200 h 443485"/>
                  <a:gd name="connsiteX1" fmla="*/ 424847 w 720122"/>
                  <a:gd name="connsiteY1" fmla="*/ 0 h 443485"/>
                  <a:gd name="connsiteX2" fmla="*/ 720122 w 720122"/>
                  <a:gd name="connsiteY2" fmla="*/ 195835 h 443485"/>
                  <a:gd name="connsiteX3" fmla="*/ 396875 w 720122"/>
                  <a:gd name="connsiteY3" fmla="*/ 443485 h 443485"/>
                  <a:gd name="connsiteX4" fmla="*/ 0 w 720122"/>
                  <a:gd name="connsiteY4" fmla="*/ 203200 h 443485"/>
                  <a:gd name="connsiteX0" fmla="*/ 0 w 720122"/>
                  <a:gd name="connsiteY0" fmla="*/ 120650 h 360935"/>
                  <a:gd name="connsiteX1" fmla="*/ 250222 w 720122"/>
                  <a:gd name="connsiteY1" fmla="*/ 0 h 360935"/>
                  <a:gd name="connsiteX2" fmla="*/ 720122 w 720122"/>
                  <a:gd name="connsiteY2" fmla="*/ 113285 h 360935"/>
                  <a:gd name="connsiteX3" fmla="*/ 396875 w 720122"/>
                  <a:gd name="connsiteY3" fmla="*/ 360935 h 360935"/>
                  <a:gd name="connsiteX4" fmla="*/ 0 w 720122"/>
                  <a:gd name="connsiteY4" fmla="*/ 120650 h 360935"/>
                  <a:gd name="connsiteX0" fmla="*/ 0 w 612172"/>
                  <a:gd name="connsiteY0" fmla="*/ 120650 h 360935"/>
                  <a:gd name="connsiteX1" fmla="*/ 250222 w 612172"/>
                  <a:gd name="connsiteY1" fmla="*/ 0 h 360935"/>
                  <a:gd name="connsiteX2" fmla="*/ 612172 w 612172"/>
                  <a:gd name="connsiteY2" fmla="*/ 237110 h 360935"/>
                  <a:gd name="connsiteX3" fmla="*/ 396875 w 612172"/>
                  <a:gd name="connsiteY3" fmla="*/ 360935 h 360935"/>
                  <a:gd name="connsiteX4" fmla="*/ 0 w 612172"/>
                  <a:gd name="connsiteY4" fmla="*/ 120650 h 360935"/>
                  <a:gd name="connsiteX0" fmla="*/ 0 w 650272"/>
                  <a:gd name="connsiteY0" fmla="*/ 161925 h 360935"/>
                  <a:gd name="connsiteX1" fmla="*/ 288322 w 650272"/>
                  <a:gd name="connsiteY1" fmla="*/ 0 h 360935"/>
                  <a:gd name="connsiteX2" fmla="*/ 650272 w 650272"/>
                  <a:gd name="connsiteY2" fmla="*/ 237110 h 360935"/>
                  <a:gd name="connsiteX3" fmla="*/ 434975 w 650272"/>
                  <a:gd name="connsiteY3" fmla="*/ 360935 h 360935"/>
                  <a:gd name="connsiteX4" fmla="*/ 0 w 650272"/>
                  <a:gd name="connsiteY4" fmla="*/ 161925 h 360935"/>
                  <a:gd name="connsiteX0" fmla="*/ 0 w 650272"/>
                  <a:gd name="connsiteY0" fmla="*/ 123825 h 322835"/>
                  <a:gd name="connsiteX1" fmla="*/ 231172 w 650272"/>
                  <a:gd name="connsiteY1" fmla="*/ 0 h 322835"/>
                  <a:gd name="connsiteX2" fmla="*/ 650272 w 650272"/>
                  <a:gd name="connsiteY2" fmla="*/ 199010 h 322835"/>
                  <a:gd name="connsiteX3" fmla="*/ 434975 w 650272"/>
                  <a:gd name="connsiteY3" fmla="*/ 322835 h 322835"/>
                  <a:gd name="connsiteX4" fmla="*/ 0 w 650272"/>
                  <a:gd name="connsiteY4" fmla="*/ 123825 h 322835"/>
                  <a:gd name="connsiteX0" fmla="*/ 0 w 675672"/>
                  <a:gd name="connsiteY0" fmla="*/ 111125 h 322835"/>
                  <a:gd name="connsiteX1" fmla="*/ 256572 w 675672"/>
                  <a:gd name="connsiteY1" fmla="*/ 0 h 322835"/>
                  <a:gd name="connsiteX2" fmla="*/ 675672 w 675672"/>
                  <a:gd name="connsiteY2" fmla="*/ 199010 h 322835"/>
                  <a:gd name="connsiteX3" fmla="*/ 460375 w 675672"/>
                  <a:gd name="connsiteY3" fmla="*/ 322835 h 322835"/>
                  <a:gd name="connsiteX4" fmla="*/ 0 w 675672"/>
                  <a:gd name="connsiteY4" fmla="*/ 111125 h 322835"/>
                  <a:gd name="connsiteX0" fmla="*/ 0 w 675672"/>
                  <a:gd name="connsiteY0" fmla="*/ 111125 h 313310"/>
                  <a:gd name="connsiteX1" fmla="*/ 256572 w 675672"/>
                  <a:gd name="connsiteY1" fmla="*/ 0 h 313310"/>
                  <a:gd name="connsiteX2" fmla="*/ 675672 w 675672"/>
                  <a:gd name="connsiteY2" fmla="*/ 199010 h 313310"/>
                  <a:gd name="connsiteX3" fmla="*/ 447675 w 675672"/>
                  <a:gd name="connsiteY3" fmla="*/ 313310 h 313310"/>
                  <a:gd name="connsiteX4" fmla="*/ 0 w 675672"/>
                  <a:gd name="connsiteY4" fmla="*/ 111125 h 313310"/>
                  <a:gd name="connsiteX0" fmla="*/ 0 w 675672"/>
                  <a:gd name="connsiteY0" fmla="*/ 106362 h 308547"/>
                  <a:gd name="connsiteX1" fmla="*/ 247047 w 675672"/>
                  <a:gd name="connsiteY1" fmla="*/ 0 h 308547"/>
                  <a:gd name="connsiteX2" fmla="*/ 675672 w 675672"/>
                  <a:gd name="connsiteY2" fmla="*/ 194247 h 308547"/>
                  <a:gd name="connsiteX3" fmla="*/ 447675 w 675672"/>
                  <a:gd name="connsiteY3" fmla="*/ 308547 h 308547"/>
                  <a:gd name="connsiteX4" fmla="*/ 0 w 675672"/>
                  <a:gd name="connsiteY4" fmla="*/ 106362 h 308547"/>
                  <a:gd name="connsiteX0" fmla="*/ 0 w 675672"/>
                  <a:gd name="connsiteY0" fmla="*/ 113506 h 315691"/>
                  <a:gd name="connsiteX1" fmla="*/ 249428 w 675672"/>
                  <a:gd name="connsiteY1" fmla="*/ 0 h 315691"/>
                  <a:gd name="connsiteX2" fmla="*/ 675672 w 675672"/>
                  <a:gd name="connsiteY2" fmla="*/ 201391 h 315691"/>
                  <a:gd name="connsiteX3" fmla="*/ 447675 w 675672"/>
                  <a:gd name="connsiteY3" fmla="*/ 315691 h 315691"/>
                  <a:gd name="connsiteX4" fmla="*/ 0 w 675672"/>
                  <a:gd name="connsiteY4" fmla="*/ 113506 h 3156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672" h="315691">
                    <a:moveTo>
                      <a:pt x="0" y="113506"/>
                    </a:moveTo>
                    <a:lnTo>
                      <a:pt x="249428" y="0"/>
                    </a:lnTo>
                    <a:lnTo>
                      <a:pt x="675672" y="201391"/>
                    </a:lnTo>
                    <a:lnTo>
                      <a:pt x="447675" y="315691"/>
                    </a:lnTo>
                    <a:lnTo>
                      <a:pt x="0" y="113506"/>
                    </a:lnTo>
                    <a:close/>
                  </a:path>
                </a:pathLst>
              </a:custGeom>
              <a:solidFill>
                <a:schemeClr val="tx1">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2" name="Rectangle 20"/>
              <p:cNvSpPr/>
              <p:nvPr/>
            </p:nvSpPr>
            <p:spPr>
              <a:xfrm>
                <a:off x="4188015" y="1300299"/>
                <a:ext cx="1472511" cy="672427"/>
              </a:xfrm>
              <a:custGeom>
                <a:avLst/>
                <a:gdLst>
                  <a:gd name="connsiteX0" fmla="*/ 0 w 402622"/>
                  <a:gd name="connsiteY0" fmla="*/ 0 h 252985"/>
                  <a:gd name="connsiteX1" fmla="*/ 402622 w 402622"/>
                  <a:gd name="connsiteY1" fmla="*/ 0 h 252985"/>
                  <a:gd name="connsiteX2" fmla="*/ 402622 w 402622"/>
                  <a:gd name="connsiteY2" fmla="*/ 252985 h 252985"/>
                  <a:gd name="connsiteX3" fmla="*/ 0 w 402622"/>
                  <a:gd name="connsiteY3" fmla="*/ 252985 h 252985"/>
                  <a:gd name="connsiteX4" fmla="*/ 0 w 402622"/>
                  <a:gd name="connsiteY4" fmla="*/ 0 h 252985"/>
                  <a:gd name="connsiteX0" fmla="*/ 0 w 402622"/>
                  <a:gd name="connsiteY0" fmla="*/ 114300 h 367285"/>
                  <a:gd name="connsiteX1" fmla="*/ 348647 w 402622"/>
                  <a:gd name="connsiteY1" fmla="*/ 0 h 367285"/>
                  <a:gd name="connsiteX2" fmla="*/ 402622 w 402622"/>
                  <a:gd name="connsiteY2" fmla="*/ 367285 h 367285"/>
                  <a:gd name="connsiteX3" fmla="*/ 0 w 402622"/>
                  <a:gd name="connsiteY3" fmla="*/ 367285 h 367285"/>
                  <a:gd name="connsiteX4" fmla="*/ 0 w 402622"/>
                  <a:gd name="connsiteY4" fmla="*/ 114300 h 367285"/>
                  <a:gd name="connsiteX0" fmla="*/ 0 w 643922"/>
                  <a:gd name="connsiteY0" fmla="*/ 114300 h 367285"/>
                  <a:gd name="connsiteX1" fmla="*/ 348647 w 643922"/>
                  <a:gd name="connsiteY1" fmla="*/ 0 h 367285"/>
                  <a:gd name="connsiteX2" fmla="*/ 643922 w 643922"/>
                  <a:gd name="connsiteY2" fmla="*/ 195835 h 367285"/>
                  <a:gd name="connsiteX3" fmla="*/ 0 w 643922"/>
                  <a:gd name="connsiteY3" fmla="*/ 367285 h 367285"/>
                  <a:gd name="connsiteX4" fmla="*/ 0 w 643922"/>
                  <a:gd name="connsiteY4" fmla="*/ 114300 h 367285"/>
                  <a:gd name="connsiteX0" fmla="*/ 0 w 643922"/>
                  <a:gd name="connsiteY0" fmla="*/ 114300 h 443485"/>
                  <a:gd name="connsiteX1" fmla="*/ 348647 w 643922"/>
                  <a:gd name="connsiteY1" fmla="*/ 0 h 443485"/>
                  <a:gd name="connsiteX2" fmla="*/ 643922 w 643922"/>
                  <a:gd name="connsiteY2" fmla="*/ 195835 h 443485"/>
                  <a:gd name="connsiteX3" fmla="*/ 320675 w 643922"/>
                  <a:gd name="connsiteY3" fmla="*/ 443485 h 443485"/>
                  <a:gd name="connsiteX4" fmla="*/ 0 w 643922"/>
                  <a:gd name="connsiteY4" fmla="*/ 114300 h 443485"/>
                  <a:gd name="connsiteX0" fmla="*/ 0 w 659797"/>
                  <a:gd name="connsiteY0" fmla="*/ 276225 h 443485"/>
                  <a:gd name="connsiteX1" fmla="*/ 364522 w 659797"/>
                  <a:gd name="connsiteY1" fmla="*/ 0 h 443485"/>
                  <a:gd name="connsiteX2" fmla="*/ 659797 w 659797"/>
                  <a:gd name="connsiteY2" fmla="*/ 195835 h 443485"/>
                  <a:gd name="connsiteX3" fmla="*/ 336550 w 659797"/>
                  <a:gd name="connsiteY3" fmla="*/ 443485 h 443485"/>
                  <a:gd name="connsiteX4" fmla="*/ 0 w 659797"/>
                  <a:gd name="connsiteY4" fmla="*/ 276225 h 443485"/>
                  <a:gd name="connsiteX0" fmla="*/ 0 w 720122"/>
                  <a:gd name="connsiteY0" fmla="*/ 203200 h 443485"/>
                  <a:gd name="connsiteX1" fmla="*/ 424847 w 720122"/>
                  <a:gd name="connsiteY1" fmla="*/ 0 h 443485"/>
                  <a:gd name="connsiteX2" fmla="*/ 720122 w 720122"/>
                  <a:gd name="connsiteY2" fmla="*/ 195835 h 443485"/>
                  <a:gd name="connsiteX3" fmla="*/ 396875 w 720122"/>
                  <a:gd name="connsiteY3" fmla="*/ 443485 h 443485"/>
                  <a:gd name="connsiteX4" fmla="*/ 0 w 720122"/>
                  <a:gd name="connsiteY4" fmla="*/ 203200 h 443485"/>
                  <a:gd name="connsiteX0" fmla="*/ 0 w 720122"/>
                  <a:gd name="connsiteY0" fmla="*/ 120650 h 360935"/>
                  <a:gd name="connsiteX1" fmla="*/ 250222 w 720122"/>
                  <a:gd name="connsiteY1" fmla="*/ 0 h 360935"/>
                  <a:gd name="connsiteX2" fmla="*/ 720122 w 720122"/>
                  <a:gd name="connsiteY2" fmla="*/ 113285 h 360935"/>
                  <a:gd name="connsiteX3" fmla="*/ 396875 w 720122"/>
                  <a:gd name="connsiteY3" fmla="*/ 360935 h 360935"/>
                  <a:gd name="connsiteX4" fmla="*/ 0 w 720122"/>
                  <a:gd name="connsiteY4" fmla="*/ 120650 h 360935"/>
                  <a:gd name="connsiteX0" fmla="*/ 0 w 612172"/>
                  <a:gd name="connsiteY0" fmla="*/ 120650 h 360935"/>
                  <a:gd name="connsiteX1" fmla="*/ 250222 w 612172"/>
                  <a:gd name="connsiteY1" fmla="*/ 0 h 360935"/>
                  <a:gd name="connsiteX2" fmla="*/ 612172 w 612172"/>
                  <a:gd name="connsiteY2" fmla="*/ 237110 h 360935"/>
                  <a:gd name="connsiteX3" fmla="*/ 396875 w 612172"/>
                  <a:gd name="connsiteY3" fmla="*/ 360935 h 360935"/>
                  <a:gd name="connsiteX4" fmla="*/ 0 w 612172"/>
                  <a:gd name="connsiteY4" fmla="*/ 120650 h 360935"/>
                  <a:gd name="connsiteX0" fmla="*/ 0 w 650272"/>
                  <a:gd name="connsiteY0" fmla="*/ 161925 h 360935"/>
                  <a:gd name="connsiteX1" fmla="*/ 288322 w 650272"/>
                  <a:gd name="connsiteY1" fmla="*/ 0 h 360935"/>
                  <a:gd name="connsiteX2" fmla="*/ 650272 w 650272"/>
                  <a:gd name="connsiteY2" fmla="*/ 237110 h 360935"/>
                  <a:gd name="connsiteX3" fmla="*/ 434975 w 650272"/>
                  <a:gd name="connsiteY3" fmla="*/ 360935 h 360935"/>
                  <a:gd name="connsiteX4" fmla="*/ 0 w 650272"/>
                  <a:gd name="connsiteY4" fmla="*/ 161925 h 360935"/>
                  <a:gd name="connsiteX0" fmla="*/ 0 w 650272"/>
                  <a:gd name="connsiteY0" fmla="*/ 123825 h 322835"/>
                  <a:gd name="connsiteX1" fmla="*/ 231172 w 650272"/>
                  <a:gd name="connsiteY1" fmla="*/ 0 h 322835"/>
                  <a:gd name="connsiteX2" fmla="*/ 650272 w 650272"/>
                  <a:gd name="connsiteY2" fmla="*/ 199010 h 322835"/>
                  <a:gd name="connsiteX3" fmla="*/ 434975 w 650272"/>
                  <a:gd name="connsiteY3" fmla="*/ 322835 h 322835"/>
                  <a:gd name="connsiteX4" fmla="*/ 0 w 650272"/>
                  <a:gd name="connsiteY4" fmla="*/ 123825 h 322835"/>
                  <a:gd name="connsiteX0" fmla="*/ 0 w 675672"/>
                  <a:gd name="connsiteY0" fmla="*/ 111125 h 322835"/>
                  <a:gd name="connsiteX1" fmla="*/ 256572 w 675672"/>
                  <a:gd name="connsiteY1" fmla="*/ 0 h 322835"/>
                  <a:gd name="connsiteX2" fmla="*/ 675672 w 675672"/>
                  <a:gd name="connsiteY2" fmla="*/ 199010 h 322835"/>
                  <a:gd name="connsiteX3" fmla="*/ 460375 w 675672"/>
                  <a:gd name="connsiteY3" fmla="*/ 322835 h 322835"/>
                  <a:gd name="connsiteX4" fmla="*/ 0 w 675672"/>
                  <a:gd name="connsiteY4" fmla="*/ 111125 h 322835"/>
                  <a:gd name="connsiteX0" fmla="*/ 0 w 675672"/>
                  <a:gd name="connsiteY0" fmla="*/ 111125 h 313310"/>
                  <a:gd name="connsiteX1" fmla="*/ 256572 w 675672"/>
                  <a:gd name="connsiteY1" fmla="*/ 0 h 313310"/>
                  <a:gd name="connsiteX2" fmla="*/ 675672 w 675672"/>
                  <a:gd name="connsiteY2" fmla="*/ 199010 h 313310"/>
                  <a:gd name="connsiteX3" fmla="*/ 447675 w 675672"/>
                  <a:gd name="connsiteY3" fmla="*/ 313310 h 313310"/>
                  <a:gd name="connsiteX4" fmla="*/ 0 w 675672"/>
                  <a:gd name="connsiteY4" fmla="*/ 111125 h 313310"/>
                  <a:gd name="connsiteX0" fmla="*/ 0 w 675672"/>
                  <a:gd name="connsiteY0" fmla="*/ 106363 h 308548"/>
                  <a:gd name="connsiteX1" fmla="*/ 242285 w 675672"/>
                  <a:gd name="connsiteY1" fmla="*/ 0 h 308548"/>
                  <a:gd name="connsiteX2" fmla="*/ 675672 w 675672"/>
                  <a:gd name="connsiteY2" fmla="*/ 194248 h 308548"/>
                  <a:gd name="connsiteX3" fmla="*/ 447675 w 675672"/>
                  <a:gd name="connsiteY3" fmla="*/ 308548 h 308548"/>
                  <a:gd name="connsiteX4" fmla="*/ 0 w 675672"/>
                  <a:gd name="connsiteY4" fmla="*/ 106363 h 308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672" h="308548">
                    <a:moveTo>
                      <a:pt x="0" y="106363"/>
                    </a:moveTo>
                    <a:lnTo>
                      <a:pt x="242285" y="0"/>
                    </a:lnTo>
                    <a:lnTo>
                      <a:pt x="675672" y="194248"/>
                    </a:lnTo>
                    <a:lnTo>
                      <a:pt x="447675" y="308548"/>
                    </a:lnTo>
                    <a:lnTo>
                      <a:pt x="0" y="106363"/>
                    </a:lnTo>
                    <a:close/>
                  </a:path>
                </a:pathLst>
              </a:custGeom>
              <a:solidFill>
                <a:schemeClr val="tx1">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3" name="Rectangle 20"/>
              <p:cNvSpPr/>
              <p:nvPr/>
            </p:nvSpPr>
            <p:spPr>
              <a:xfrm>
                <a:off x="6144139" y="1422209"/>
                <a:ext cx="1399859" cy="656858"/>
              </a:xfrm>
              <a:custGeom>
                <a:avLst/>
                <a:gdLst>
                  <a:gd name="connsiteX0" fmla="*/ 0 w 402622"/>
                  <a:gd name="connsiteY0" fmla="*/ 0 h 252985"/>
                  <a:gd name="connsiteX1" fmla="*/ 402622 w 402622"/>
                  <a:gd name="connsiteY1" fmla="*/ 0 h 252985"/>
                  <a:gd name="connsiteX2" fmla="*/ 402622 w 402622"/>
                  <a:gd name="connsiteY2" fmla="*/ 252985 h 252985"/>
                  <a:gd name="connsiteX3" fmla="*/ 0 w 402622"/>
                  <a:gd name="connsiteY3" fmla="*/ 252985 h 252985"/>
                  <a:gd name="connsiteX4" fmla="*/ 0 w 402622"/>
                  <a:gd name="connsiteY4" fmla="*/ 0 h 252985"/>
                  <a:gd name="connsiteX0" fmla="*/ 0 w 402622"/>
                  <a:gd name="connsiteY0" fmla="*/ 114300 h 367285"/>
                  <a:gd name="connsiteX1" fmla="*/ 348647 w 402622"/>
                  <a:gd name="connsiteY1" fmla="*/ 0 h 367285"/>
                  <a:gd name="connsiteX2" fmla="*/ 402622 w 402622"/>
                  <a:gd name="connsiteY2" fmla="*/ 367285 h 367285"/>
                  <a:gd name="connsiteX3" fmla="*/ 0 w 402622"/>
                  <a:gd name="connsiteY3" fmla="*/ 367285 h 367285"/>
                  <a:gd name="connsiteX4" fmla="*/ 0 w 402622"/>
                  <a:gd name="connsiteY4" fmla="*/ 114300 h 367285"/>
                  <a:gd name="connsiteX0" fmla="*/ 0 w 643922"/>
                  <a:gd name="connsiteY0" fmla="*/ 114300 h 367285"/>
                  <a:gd name="connsiteX1" fmla="*/ 348647 w 643922"/>
                  <a:gd name="connsiteY1" fmla="*/ 0 h 367285"/>
                  <a:gd name="connsiteX2" fmla="*/ 643922 w 643922"/>
                  <a:gd name="connsiteY2" fmla="*/ 195835 h 367285"/>
                  <a:gd name="connsiteX3" fmla="*/ 0 w 643922"/>
                  <a:gd name="connsiteY3" fmla="*/ 367285 h 367285"/>
                  <a:gd name="connsiteX4" fmla="*/ 0 w 643922"/>
                  <a:gd name="connsiteY4" fmla="*/ 114300 h 367285"/>
                  <a:gd name="connsiteX0" fmla="*/ 0 w 643922"/>
                  <a:gd name="connsiteY0" fmla="*/ 114300 h 443485"/>
                  <a:gd name="connsiteX1" fmla="*/ 348647 w 643922"/>
                  <a:gd name="connsiteY1" fmla="*/ 0 h 443485"/>
                  <a:gd name="connsiteX2" fmla="*/ 643922 w 643922"/>
                  <a:gd name="connsiteY2" fmla="*/ 195835 h 443485"/>
                  <a:gd name="connsiteX3" fmla="*/ 320675 w 643922"/>
                  <a:gd name="connsiteY3" fmla="*/ 443485 h 443485"/>
                  <a:gd name="connsiteX4" fmla="*/ 0 w 643922"/>
                  <a:gd name="connsiteY4" fmla="*/ 114300 h 443485"/>
                  <a:gd name="connsiteX0" fmla="*/ 0 w 659797"/>
                  <a:gd name="connsiteY0" fmla="*/ 276225 h 443485"/>
                  <a:gd name="connsiteX1" fmla="*/ 364522 w 659797"/>
                  <a:gd name="connsiteY1" fmla="*/ 0 h 443485"/>
                  <a:gd name="connsiteX2" fmla="*/ 659797 w 659797"/>
                  <a:gd name="connsiteY2" fmla="*/ 195835 h 443485"/>
                  <a:gd name="connsiteX3" fmla="*/ 336550 w 659797"/>
                  <a:gd name="connsiteY3" fmla="*/ 443485 h 443485"/>
                  <a:gd name="connsiteX4" fmla="*/ 0 w 659797"/>
                  <a:gd name="connsiteY4" fmla="*/ 276225 h 443485"/>
                  <a:gd name="connsiteX0" fmla="*/ 0 w 720122"/>
                  <a:gd name="connsiteY0" fmla="*/ 203200 h 443485"/>
                  <a:gd name="connsiteX1" fmla="*/ 424847 w 720122"/>
                  <a:gd name="connsiteY1" fmla="*/ 0 h 443485"/>
                  <a:gd name="connsiteX2" fmla="*/ 720122 w 720122"/>
                  <a:gd name="connsiteY2" fmla="*/ 195835 h 443485"/>
                  <a:gd name="connsiteX3" fmla="*/ 396875 w 720122"/>
                  <a:gd name="connsiteY3" fmla="*/ 443485 h 443485"/>
                  <a:gd name="connsiteX4" fmla="*/ 0 w 720122"/>
                  <a:gd name="connsiteY4" fmla="*/ 203200 h 443485"/>
                  <a:gd name="connsiteX0" fmla="*/ 0 w 720122"/>
                  <a:gd name="connsiteY0" fmla="*/ 120650 h 360935"/>
                  <a:gd name="connsiteX1" fmla="*/ 250222 w 720122"/>
                  <a:gd name="connsiteY1" fmla="*/ 0 h 360935"/>
                  <a:gd name="connsiteX2" fmla="*/ 720122 w 720122"/>
                  <a:gd name="connsiteY2" fmla="*/ 113285 h 360935"/>
                  <a:gd name="connsiteX3" fmla="*/ 396875 w 720122"/>
                  <a:gd name="connsiteY3" fmla="*/ 360935 h 360935"/>
                  <a:gd name="connsiteX4" fmla="*/ 0 w 720122"/>
                  <a:gd name="connsiteY4" fmla="*/ 120650 h 360935"/>
                  <a:gd name="connsiteX0" fmla="*/ 0 w 612172"/>
                  <a:gd name="connsiteY0" fmla="*/ 120650 h 360935"/>
                  <a:gd name="connsiteX1" fmla="*/ 250222 w 612172"/>
                  <a:gd name="connsiteY1" fmla="*/ 0 h 360935"/>
                  <a:gd name="connsiteX2" fmla="*/ 612172 w 612172"/>
                  <a:gd name="connsiteY2" fmla="*/ 237110 h 360935"/>
                  <a:gd name="connsiteX3" fmla="*/ 396875 w 612172"/>
                  <a:gd name="connsiteY3" fmla="*/ 360935 h 360935"/>
                  <a:gd name="connsiteX4" fmla="*/ 0 w 612172"/>
                  <a:gd name="connsiteY4" fmla="*/ 120650 h 360935"/>
                  <a:gd name="connsiteX0" fmla="*/ 0 w 650272"/>
                  <a:gd name="connsiteY0" fmla="*/ 161925 h 360935"/>
                  <a:gd name="connsiteX1" fmla="*/ 288322 w 650272"/>
                  <a:gd name="connsiteY1" fmla="*/ 0 h 360935"/>
                  <a:gd name="connsiteX2" fmla="*/ 650272 w 650272"/>
                  <a:gd name="connsiteY2" fmla="*/ 237110 h 360935"/>
                  <a:gd name="connsiteX3" fmla="*/ 434975 w 650272"/>
                  <a:gd name="connsiteY3" fmla="*/ 360935 h 360935"/>
                  <a:gd name="connsiteX4" fmla="*/ 0 w 650272"/>
                  <a:gd name="connsiteY4" fmla="*/ 161925 h 360935"/>
                  <a:gd name="connsiteX0" fmla="*/ 0 w 650272"/>
                  <a:gd name="connsiteY0" fmla="*/ 123825 h 322835"/>
                  <a:gd name="connsiteX1" fmla="*/ 231172 w 650272"/>
                  <a:gd name="connsiteY1" fmla="*/ 0 h 322835"/>
                  <a:gd name="connsiteX2" fmla="*/ 650272 w 650272"/>
                  <a:gd name="connsiteY2" fmla="*/ 199010 h 322835"/>
                  <a:gd name="connsiteX3" fmla="*/ 434975 w 650272"/>
                  <a:gd name="connsiteY3" fmla="*/ 322835 h 322835"/>
                  <a:gd name="connsiteX4" fmla="*/ 0 w 650272"/>
                  <a:gd name="connsiteY4" fmla="*/ 123825 h 322835"/>
                  <a:gd name="connsiteX0" fmla="*/ 0 w 675672"/>
                  <a:gd name="connsiteY0" fmla="*/ 111125 h 322835"/>
                  <a:gd name="connsiteX1" fmla="*/ 256572 w 675672"/>
                  <a:gd name="connsiteY1" fmla="*/ 0 h 322835"/>
                  <a:gd name="connsiteX2" fmla="*/ 675672 w 675672"/>
                  <a:gd name="connsiteY2" fmla="*/ 199010 h 322835"/>
                  <a:gd name="connsiteX3" fmla="*/ 460375 w 675672"/>
                  <a:gd name="connsiteY3" fmla="*/ 322835 h 322835"/>
                  <a:gd name="connsiteX4" fmla="*/ 0 w 675672"/>
                  <a:gd name="connsiteY4" fmla="*/ 111125 h 322835"/>
                  <a:gd name="connsiteX0" fmla="*/ 0 w 675672"/>
                  <a:gd name="connsiteY0" fmla="*/ 111125 h 313310"/>
                  <a:gd name="connsiteX1" fmla="*/ 256572 w 675672"/>
                  <a:gd name="connsiteY1" fmla="*/ 0 h 313310"/>
                  <a:gd name="connsiteX2" fmla="*/ 675672 w 675672"/>
                  <a:gd name="connsiteY2" fmla="*/ 199010 h 313310"/>
                  <a:gd name="connsiteX3" fmla="*/ 447675 w 675672"/>
                  <a:gd name="connsiteY3" fmla="*/ 313310 h 313310"/>
                  <a:gd name="connsiteX4" fmla="*/ 0 w 675672"/>
                  <a:gd name="connsiteY4" fmla="*/ 111125 h 313310"/>
                  <a:gd name="connsiteX0" fmla="*/ 0 w 675672"/>
                  <a:gd name="connsiteY0" fmla="*/ 106362 h 308547"/>
                  <a:gd name="connsiteX1" fmla="*/ 247047 w 675672"/>
                  <a:gd name="connsiteY1" fmla="*/ 0 h 308547"/>
                  <a:gd name="connsiteX2" fmla="*/ 675672 w 675672"/>
                  <a:gd name="connsiteY2" fmla="*/ 194247 h 308547"/>
                  <a:gd name="connsiteX3" fmla="*/ 447675 w 675672"/>
                  <a:gd name="connsiteY3" fmla="*/ 308547 h 308547"/>
                  <a:gd name="connsiteX4" fmla="*/ 0 w 675672"/>
                  <a:gd name="connsiteY4" fmla="*/ 106362 h 308547"/>
                  <a:gd name="connsiteX0" fmla="*/ 0 w 647097"/>
                  <a:gd name="connsiteY0" fmla="*/ 115887 h 308547"/>
                  <a:gd name="connsiteX1" fmla="*/ 218472 w 647097"/>
                  <a:gd name="connsiteY1" fmla="*/ 0 h 308547"/>
                  <a:gd name="connsiteX2" fmla="*/ 647097 w 647097"/>
                  <a:gd name="connsiteY2" fmla="*/ 194247 h 308547"/>
                  <a:gd name="connsiteX3" fmla="*/ 419100 w 647097"/>
                  <a:gd name="connsiteY3" fmla="*/ 308547 h 308547"/>
                  <a:gd name="connsiteX4" fmla="*/ 0 w 647097"/>
                  <a:gd name="connsiteY4" fmla="*/ 115887 h 308547"/>
                  <a:gd name="connsiteX0" fmla="*/ 0 w 647097"/>
                  <a:gd name="connsiteY0" fmla="*/ 108744 h 301404"/>
                  <a:gd name="connsiteX1" fmla="*/ 232759 w 647097"/>
                  <a:gd name="connsiteY1" fmla="*/ 0 h 301404"/>
                  <a:gd name="connsiteX2" fmla="*/ 647097 w 647097"/>
                  <a:gd name="connsiteY2" fmla="*/ 187104 h 301404"/>
                  <a:gd name="connsiteX3" fmla="*/ 419100 w 647097"/>
                  <a:gd name="connsiteY3" fmla="*/ 301404 h 301404"/>
                  <a:gd name="connsiteX4" fmla="*/ 0 w 647097"/>
                  <a:gd name="connsiteY4" fmla="*/ 108744 h 301404"/>
                  <a:gd name="connsiteX0" fmla="*/ 0 w 642335"/>
                  <a:gd name="connsiteY0" fmla="*/ 108744 h 301404"/>
                  <a:gd name="connsiteX1" fmla="*/ 232759 w 642335"/>
                  <a:gd name="connsiteY1" fmla="*/ 0 h 301404"/>
                  <a:gd name="connsiteX2" fmla="*/ 642335 w 642335"/>
                  <a:gd name="connsiteY2" fmla="*/ 187104 h 301404"/>
                  <a:gd name="connsiteX3" fmla="*/ 419100 w 642335"/>
                  <a:gd name="connsiteY3" fmla="*/ 301404 h 301404"/>
                  <a:gd name="connsiteX4" fmla="*/ 0 w 642335"/>
                  <a:gd name="connsiteY4" fmla="*/ 108744 h 301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335" h="301404">
                    <a:moveTo>
                      <a:pt x="0" y="108744"/>
                    </a:moveTo>
                    <a:lnTo>
                      <a:pt x="232759" y="0"/>
                    </a:lnTo>
                    <a:lnTo>
                      <a:pt x="642335" y="187104"/>
                    </a:lnTo>
                    <a:lnTo>
                      <a:pt x="419100" y="301404"/>
                    </a:lnTo>
                    <a:lnTo>
                      <a:pt x="0" y="108744"/>
                    </a:lnTo>
                    <a:close/>
                  </a:path>
                </a:pathLst>
              </a:custGeom>
              <a:solidFill>
                <a:schemeClr val="tx1">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4" name="Rectangle 20"/>
              <p:cNvSpPr/>
              <p:nvPr/>
            </p:nvSpPr>
            <p:spPr>
              <a:xfrm>
                <a:off x="6948185" y="1032989"/>
                <a:ext cx="1384290" cy="646478"/>
              </a:xfrm>
              <a:custGeom>
                <a:avLst/>
                <a:gdLst>
                  <a:gd name="connsiteX0" fmla="*/ 0 w 402622"/>
                  <a:gd name="connsiteY0" fmla="*/ 0 h 252985"/>
                  <a:gd name="connsiteX1" fmla="*/ 402622 w 402622"/>
                  <a:gd name="connsiteY1" fmla="*/ 0 h 252985"/>
                  <a:gd name="connsiteX2" fmla="*/ 402622 w 402622"/>
                  <a:gd name="connsiteY2" fmla="*/ 252985 h 252985"/>
                  <a:gd name="connsiteX3" fmla="*/ 0 w 402622"/>
                  <a:gd name="connsiteY3" fmla="*/ 252985 h 252985"/>
                  <a:gd name="connsiteX4" fmla="*/ 0 w 402622"/>
                  <a:gd name="connsiteY4" fmla="*/ 0 h 252985"/>
                  <a:gd name="connsiteX0" fmla="*/ 0 w 402622"/>
                  <a:gd name="connsiteY0" fmla="*/ 114300 h 367285"/>
                  <a:gd name="connsiteX1" fmla="*/ 348647 w 402622"/>
                  <a:gd name="connsiteY1" fmla="*/ 0 h 367285"/>
                  <a:gd name="connsiteX2" fmla="*/ 402622 w 402622"/>
                  <a:gd name="connsiteY2" fmla="*/ 367285 h 367285"/>
                  <a:gd name="connsiteX3" fmla="*/ 0 w 402622"/>
                  <a:gd name="connsiteY3" fmla="*/ 367285 h 367285"/>
                  <a:gd name="connsiteX4" fmla="*/ 0 w 402622"/>
                  <a:gd name="connsiteY4" fmla="*/ 114300 h 367285"/>
                  <a:gd name="connsiteX0" fmla="*/ 0 w 643922"/>
                  <a:gd name="connsiteY0" fmla="*/ 114300 h 367285"/>
                  <a:gd name="connsiteX1" fmla="*/ 348647 w 643922"/>
                  <a:gd name="connsiteY1" fmla="*/ 0 h 367285"/>
                  <a:gd name="connsiteX2" fmla="*/ 643922 w 643922"/>
                  <a:gd name="connsiteY2" fmla="*/ 195835 h 367285"/>
                  <a:gd name="connsiteX3" fmla="*/ 0 w 643922"/>
                  <a:gd name="connsiteY3" fmla="*/ 367285 h 367285"/>
                  <a:gd name="connsiteX4" fmla="*/ 0 w 643922"/>
                  <a:gd name="connsiteY4" fmla="*/ 114300 h 367285"/>
                  <a:gd name="connsiteX0" fmla="*/ 0 w 643922"/>
                  <a:gd name="connsiteY0" fmla="*/ 114300 h 443485"/>
                  <a:gd name="connsiteX1" fmla="*/ 348647 w 643922"/>
                  <a:gd name="connsiteY1" fmla="*/ 0 h 443485"/>
                  <a:gd name="connsiteX2" fmla="*/ 643922 w 643922"/>
                  <a:gd name="connsiteY2" fmla="*/ 195835 h 443485"/>
                  <a:gd name="connsiteX3" fmla="*/ 320675 w 643922"/>
                  <a:gd name="connsiteY3" fmla="*/ 443485 h 443485"/>
                  <a:gd name="connsiteX4" fmla="*/ 0 w 643922"/>
                  <a:gd name="connsiteY4" fmla="*/ 114300 h 443485"/>
                  <a:gd name="connsiteX0" fmla="*/ 0 w 659797"/>
                  <a:gd name="connsiteY0" fmla="*/ 276225 h 443485"/>
                  <a:gd name="connsiteX1" fmla="*/ 364522 w 659797"/>
                  <a:gd name="connsiteY1" fmla="*/ 0 h 443485"/>
                  <a:gd name="connsiteX2" fmla="*/ 659797 w 659797"/>
                  <a:gd name="connsiteY2" fmla="*/ 195835 h 443485"/>
                  <a:gd name="connsiteX3" fmla="*/ 336550 w 659797"/>
                  <a:gd name="connsiteY3" fmla="*/ 443485 h 443485"/>
                  <a:gd name="connsiteX4" fmla="*/ 0 w 659797"/>
                  <a:gd name="connsiteY4" fmla="*/ 276225 h 443485"/>
                  <a:gd name="connsiteX0" fmla="*/ 0 w 720122"/>
                  <a:gd name="connsiteY0" fmla="*/ 203200 h 443485"/>
                  <a:gd name="connsiteX1" fmla="*/ 424847 w 720122"/>
                  <a:gd name="connsiteY1" fmla="*/ 0 h 443485"/>
                  <a:gd name="connsiteX2" fmla="*/ 720122 w 720122"/>
                  <a:gd name="connsiteY2" fmla="*/ 195835 h 443485"/>
                  <a:gd name="connsiteX3" fmla="*/ 396875 w 720122"/>
                  <a:gd name="connsiteY3" fmla="*/ 443485 h 443485"/>
                  <a:gd name="connsiteX4" fmla="*/ 0 w 720122"/>
                  <a:gd name="connsiteY4" fmla="*/ 203200 h 443485"/>
                  <a:gd name="connsiteX0" fmla="*/ 0 w 720122"/>
                  <a:gd name="connsiteY0" fmla="*/ 120650 h 360935"/>
                  <a:gd name="connsiteX1" fmla="*/ 250222 w 720122"/>
                  <a:gd name="connsiteY1" fmla="*/ 0 h 360935"/>
                  <a:gd name="connsiteX2" fmla="*/ 720122 w 720122"/>
                  <a:gd name="connsiteY2" fmla="*/ 113285 h 360935"/>
                  <a:gd name="connsiteX3" fmla="*/ 396875 w 720122"/>
                  <a:gd name="connsiteY3" fmla="*/ 360935 h 360935"/>
                  <a:gd name="connsiteX4" fmla="*/ 0 w 720122"/>
                  <a:gd name="connsiteY4" fmla="*/ 120650 h 360935"/>
                  <a:gd name="connsiteX0" fmla="*/ 0 w 612172"/>
                  <a:gd name="connsiteY0" fmla="*/ 120650 h 360935"/>
                  <a:gd name="connsiteX1" fmla="*/ 250222 w 612172"/>
                  <a:gd name="connsiteY1" fmla="*/ 0 h 360935"/>
                  <a:gd name="connsiteX2" fmla="*/ 612172 w 612172"/>
                  <a:gd name="connsiteY2" fmla="*/ 237110 h 360935"/>
                  <a:gd name="connsiteX3" fmla="*/ 396875 w 612172"/>
                  <a:gd name="connsiteY3" fmla="*/ 360935 h 360935"/>
                  <a:gd name="connsiteX4" fmla="*/ 0 w 612172"/>
                  <a:gd name="connsiteY4" fmla="*/ 120650 h 360935"/>
                  <a:gd name="connsiteX0" fmla="*/ 0 w 650272"/>
                  <a:gd name="connsiteY0" fmla="*/ 161925 h 360935"/>
                  <a:gd name="connsiteX1" fmla="*/ 288322 w 650272"/>
                  <a:gd name="connsiteY1" fmla="*/ 0 h 360935"/>
                  <a:gd name="connsiteX2" fmla="*/ 650272 w 650272"/>
                  <a:gd name="connsiteY2" fmla="*/ 237110 h 360935"/>
                  <a:gd name="connsiteX3" fmla="*/ 434975 w 650272"/>
                  <a:gd name="connsiteY3" fmla="*/ 360935 h 360935"/>
                  <a:gd name="connsiteX4" fmla="*/ 0 w 650272"/>
                  <a:gd name="connsiteY4" fmla="*/ 161925 h 360935"/>
                  <a:gd name="connsiteX0" fmla="*/ 0 w 650272"/>
                  <a:gd name="connsiteY0" fmla="*/ 123825 h 322835"/>
                  <a:gd name="connsiteX1" fmla="*/ 231172 w 650272"/>
                  <a:gd name="connsiteY1" fmla="*/ 0 h 322835"/>
                  <a:gd name="connsiteX2" fmla="*/ 650272 w 650272"/>
                  <a:gd name="connsiteY2" fmla="*/ 199010 h 322835"/>
                  <a:gd name="connsiteX3" fmla="*/ 434975 w 650272"/>
                  <a:gd name="connsiteY3" fmla="*/ 322835 h 322835"/>
                  <a:gd name="connsiteX4" fmla="*/ 0 w 650272"/>
                  <a:gd name="connsiteY4" fmla="*/ 123825 h 322835"/>
                  <a:gd name="connsiteX0" fmla="*/ 0 w 675672"/>
                  <a:gd name="connsiteY0" fmla="*/ 111125 h 322835"/>
                  <a:gd name="connsiteX1" fmla="*/ 256572 w 675672"/>
                  <a:gd name="connsiteY1" fmla="*/ 0 h 322835"/>
                  <a:gd name="connsiteX2" fmla="*/ 675672 w 675672"/>
                  <a:gd name="connsiteY2" fmla="*/ 199010 h 322835"/>
                  <a:gd name="connsiteX3" fmla="*/ 460375 w 675672"/>
                  <a:gd name="connsiteY3" fmla="*/ 322835 h 322835"/>
                  <a:gd name="connsiteX4" fmla="*/ 0 w 675672"/>
                  <a:gd name="connsiteY4" fmla="*/ 111125 h 322835"/>
                  <a:gd name="connsiteX0" fmla="*/ 0 w 675672"/>
                  <a:gd name="connsiteY0" fmla="*/ 111125 h 313310"/>
                  <a:gd name="connsiteX1" fmla="*/ 256572 w 675672"/>
                  <a:gd name="connsiteY1" fmla="*/ 0 h 313310"/>
                  <a:gd name="connsiteX2" fmla="*/ 675672 w 675672"/>
                  <a:gd name="connsiteY2" fmla="*/ 199010 h 313310"/>
                  <a:gd name="connsiteX3" fmla="*/ 447675 w 675672"/>
                  <a:gd name="connsiteY3" fmla="*/ 313310 h 313310"/>
                  <a:gd name="connsiteX4" fmla="*/ 0 w 675672"/>
                  <a:gd name="connsiteY4" fmla="*/ 111125 h 313310"/>
                  <a:gd name="connsiteX0" fmla="*/ 0 w 675672"/>
                  <a:gd name="connsiteY0" fmla="*/ 106362 h 308547"/>
                  <a:gd name="connsiteX1" fmla="*/ 247047 w 675672"/>
                  <a:gd name="connsiteY1" fmla="*/ 0 h 308547"/>
                  <a:gd name="connsiteX2" fmla="*/ 675672 w 675672"/>
                  <a:gd name="connsiteY2" fmla="*/ 194247 h 308547"/>
                  <a:gd name="connsiteX3" fmla="*/ 447675 w 675672"/>
                  <a:gd name="connsiteY3" fmla="*/ 308547 h 308547"/>
                  <a:gd name="connsiteX4" fmla="*/ 0 w 675672"/>
                  <a:gd name="connsiteY4" fmla="*/ 106362 h 308547"/>
                  <a:gd name="connsiteX0" fmla="*/ 0 w 635191"/>
                  <a:gd name="connsiteY0" fmla="*/ 125412 h 308547"/>
                  <a:gd name="connsiteX1" fmla="*/ 206566 w 635191"/>
                  <a:gd name="connsiteY1" fmla="*/ 0 h 308547"/>
                  <a:gd name="connsiteX2" fmla="*/ 635191 w 635191"/>
                  <a:gd name="connsiteY2" fmla="*/ 194247 h 308547"/>
                  <a:gd name="connsiteX3" fmla="*/ 407194 w 635191"/>
                  <a:gd name="connsiteY3" fmla="*/ 308547 h 308547"/>
                  <a:gd name="connsiteX4" fmla="*/ 0 w 635191"/>
                  <a:gd name="connsiteY4" fmla="*/ 125412 h 308547"/>
                  <a:gd name="connsiteX0" fmla="*/ 0 w 635191"/>
                  <a:gd name="connsiteY0" fmla="*/ 113506 h 296641"/>
                  <a:gd name="connsiteX1" fmla="*/ 242285 w 635191"/>
                  <a:gd name="connsiteY1" fmla="*/ 0 h 296641"/>
                  <a:gd name="connsiteX2" fmla="*/ 635191 w 635191"/>
                  <a:gd name="connsiteY2" fmla="*/ 182341 h 296641"/>
                  <a:gd name="connsiteX3" fmla="*/ 407194 w 635191"/>
                  <a:gd name="connsiteY3" fmla="*/ 296641 h 296641"/>
                  <a:gd name="connsiteX4" fmla="*/ 0 w 635191"/>
                  <a:gd name="connsiteY4" fmla="*/ 113506 h 296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191" h="296641">
                    <a:moveTo>
                      <a:pt x="0" y="113506"/>
                    </a:moveTo>
                    <a:lnTo>
                      <a:pt x="242285" y="0"/>
                    </a:lnTo>
                    <a:lnTo>
                      <a:pt x="635191" y="182341"/>
                    </a:lnTo>
                    <a:lnTo>
                      <a:pt x="407194" y="296641"/>
                    </a:lnTo>
                    <a:lnTo>
                      <a:pt x="0" y="113506"/>
                    </a:lnTo>
                    <a:close/>
                  </a:path>
                </a:pathLst>
              </a:custGeom>
              <a:solidFill>
                <a:schemeClr val="tx1">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5" name="Rectangle 20"/>
              <p:cNvSpPr/>
              <p:nvPr/>
            </p:nvSpPr>
            <p:spPr>
              <a:xfrm>
                <a:off x="5065047" y="916611"/>
                <a:ext cx="1399859" cy="656858"/>
              </a:xfrm>
              <a:custGeom>
                <a:avLst/>
                <a:gdLst>
                  <a:gd name="connsiteX0" fmla="*/ 0 w 402622"/>
                  <a:gd name="connsiteY0" fmla="*/ 0 h 252985"/>
                  <a:gd name="connsiteX1" fmla="*/ 402622 w 402622"/>
                  <a:gd name="connsiteY1" fmla="*/ 0 h 252985"/>
                  <a:gd name="connsiteX2" fmla="*/ 402622 w 402622"/>
                  <a:gd name="connsiteY2" fmla="*/ 252985 h 252985"/>
                  <a:gd name="connsiteX3" fmla="*/ 0 w 402622"/>
                  <a:gd name="connsiteY3" fmla="*/ 252985 h 252985"/>
                  <a:gd name="connsiteX4" fmla="*/ 0 w 402622"/>
                  <a:gd name="connsiteY4" fmla="*/ 0 h 252985"/>
                  <a:gd name="connsiteX0" fmla="*/ 0 w 402622"/>
                  <a:gd name="connsiteY0" fmla="*/ 114300 h 367285"/>
                  <a:gd name="connsiteX1" fmla="*/ 348647 w 402622"/>
                  <a:gd name="connsiteY1" fmla="*/ 0 h 367285"/>
                  <a:gd name="connsiteX2" fmla="*/ 402622 w 402622"/>
                  <a:gd name="connsiteY2" fmla="*/ 367285 h 367285"/>
                  <a:gd name="connsiteX3" fmla="*/ 0 w 402622"/>
                  <a:gd name="connsiteY3" fmla="*/ 367285 h 367285"/>
                  <a:gd name="connsiteX4" fmla="*/ 0 w 402622"/>
                  <a:gd name="connsiteY4" fmla="*/ 114300 h 367285"/>
                  <a:gd name="connsiteX0" fmla="*/ 0 w 643922"/>
                  <a:gd name="connsiteY0" fmla="*/ 114300 h 367285"/>
                  <a:gd name="connsiteX1" fmla="*/ 348647 w 643922"/>
                  <a:gd name="connsiteY1" fmla="*/ 0 h 367285"/>
                  <a:gd name="connsiteX2" fmla="*/ 643922 w 643922"/>
                  <a:gd name="connsiteY2" fmla="*/ 195835 h 367285"/>
                  <a:gd name="connsiteX3" fmla="*/ 0 w 643922"/>
                  <a:gd name="connsiteY3" fmla="*/ 367285 h 367285"/>
                  <a:gd name="connsiteX4" fmla="*/ 0 w 643922"/>
                  <a:gd name="connsiteY4" fmla="*/ 114300 h 367285"/>
                  <a:gd name="connsiteX0" fmla="*/ 0 w 643922"/>
                  <a:gd name="connsiteY0" fmla="*/ 114300 h 443485"/>
                  <a:gd name="connsiteX1" fmla="*/ 348647 w 643922"/>
                  <a:gd name="connsiteY1" fmla="*/ 0 h 443485"/>
                  <a:gd name="connsiteX2" fmla="*/ 643922 w 643922"/>
                  <a:gd name="connsiteY2" fmla="*/ 195835 h 443485"/>
                  <a:gd name="connsiteX3" fmla="*/ 320675 w 643922"/>
                  <a:gd name="connsiteY3" fmla="*/ 443485 h 443485"/>
                  <a:gd name="connsiteX4" fmla="*/ 0 w 643922"/>
                  <a:gd name="connsiteY4" fmla="*/ 114300 h 443485"/>
                  <a:gd name="connsiteX0" fmla="*/ 0 w 659797"/>
                  <a:gd name="connsiteY0" fmla="*/ 276225 h 443485"/>
                  <a:gd name="connsiteX1" fmla="*/ 364522 w 659797"/>
                  <a:gd name="connsiteY1" fmla="*/ 0 h 443485"/>
                  <a:gd name="connsiteX2" fmla="*/ 659797 w 659797"/>
                  <a:gd name="connsiteY2" fmla="*/ 195835 h 443485"/>
                  <a:gd name="connsiteX3" fmla="*/ 336550 w 659797"/>
                  <a:gd name="connsiteY3" fmla="*/ 443485 h 443485"/>
                  <a:gd name="connsiteX4" fmla="*/ 0 w 659797"/>
                  <a:gd name="connsiteY4" fmla="*/ 276225 h 443485"/>
                  <a:gd name="connsiteX0" fmla="*/ 0 w 720122"/>
                  <a:gd name="connsiteY0" fmla="*/ 203200 h 443485"/>
                  <a:gd name="connsiteX1" fmla="*/ 424847 w 720122"/>
                  <a:gd name="connsiteY1" fmla="*/ 0 h 443485"/>
                  <a:gd name="connsiteX2" fmla="*/ 720122 w 720122"/>
                  <a:gd name="connsiteY2" fmla="*/ 195835 h 443485"/>
                  <a:gd name="connsiteX3" fmla="*/ 396875 w 720122"/>
                  <a:gd name="connsiteY3" fmla="*/ 443485 h 443485"/>
                  <a:gd name="connsiteX4" fmla="*/ 0 w 720122"/>
                  <a:gd name="connsiteY4" fmla="*/ 203200 h 443485"/>
                  <a:gd name="connsiteX0" fmla="*/ 0 w 720122"/>
                  <a:gd name="connsiteY0" fmla="*/ 120650 h 360935"/>
                  <a:gd name="connsiteX1" fmla="*/ 250222 w 720122"/>
                  <a:gd name="connsiteY1" fmla="*/ 0 h 360935"/>
                  <a:gd name="connsiteX2" fmla="*/ 720122 w 720122"/>
                  <a:gd name="connsiteY2" fmla="*/ 113285 h 360935"/>
                  <a:gd name="connsiteX3" fmla="*/ 396875 w 720122"/>
                  <a:gd name="connsiteY3" fmla="*/ 360935 h 360935"/>
                  <a:gd name="connsiteX4" fmla="*/ 0 w 720122"/>
                  <a:gd name="connsiteY4" fmla="*/ 120650 h 360935"/>
                  <a:gd name="connsiteX0" fmla="*/ 0 w 612172"/>
                  <a:gd name="connsiteY0" fmla="*/ 120650 h 360935"/>
                  <a:gd name="connsiteX1" fmla="*/ 250222 w 612172"/>
                  <a:gd name="connsiteY1" fmla="*/ 0 h 360935"/>
                  <a:gd name="connsiteX2" fmla="*/ 612172 w 612172"/>
                  <a:gd name="connsiteY2" fmla="*/ 237110 h 360935"/>
                  <a:gd name="connsiteX3" fmla="*/ 396875 w 612172"/>
                  <a:gd name="connsiteY3" fmla="*/ 360935 h 360935"/>
                  <a:gd name="connsiteX4" fmla="*/ 0 w 612172"/>
                  <a:gd name="connsiteY4" fmla="*/ 120650 h 360935"/>
                  <a:gd name="connsiteX0" fmla="*/ 0 w 650272"/>
                  <a:gd name="connsiteY0" fmla="*/ 161925 h 360935"/>
                  <a:gd name="connsiteX1" fmla="*/ 288322 w 650272"/>
                  <a:gd name="connsiteY1" fmla="*/ 0 h 360935"/>
                  <a:gd name="connsiteX2" fmla="*/ 650272 w 650272"/>
                  <a:gd name="connsiteY2" fmla="*/ 237110 h 360935"/>
                  <a:gd name="connsiteX3" fmla="*/ 434975 w 650272"/>
                  <a:gd name="connsiteY3" fmla="*/ 360935 h 360935"/>
                  <a:gd name="connsiteX4" fmla="*/ 0 w 650272"/>
                  <a:gd name="connsiteY4" fmla="*/ 161925 h 360935"/>
                  <a:gd name="connsiteX0" fmla="*/ 0 w 650272"/>
                  <a:gd name="connsiteY0" fmla="*/ 123825 h 322835"/>
                  <a:gd name="connsiteX1" fmla="*/ 231172 w 650272"/>
                  <a:gd name="connsiteY1" fmla="*/ 0 h 322835"/>
                  <a:gd name="connsiteX2" fmla="*/ 650272 w 650272"/>
                  <a:gd name="connsiteY2" fmla="*/ 199010 h 322835"/>
                  <a:gd name="connsiteX3" fmla="*/ 434975 w 650272"/>
                  <a:gd name="connsiteY3" fmla="*/ 322835 h 322835"/>
                  <a:gd name="connsiteX4" fmla="*/ 0 w 650272"/>
                  <a:gd name="connsiteY4" fmla="*/ 123825 h 322835"/>
                  <a:gd name="connsiteX0" fmla="*/ 0 w 675672"/>
                  <a:gd name="connsiteY0" fmla="*/ 111125 h 322835"/>
                  <a:gd name="connsiteX1" fmla="*/ 256572 w 675672"/>
                  <a:gd name="connsiteY1" fmla="*/ 0 h 322835"/>
                  <a:gd name="connsiteX2" fmla="*/ 675672 w 675672"/>
                  <a:gd name="connsiteY2" fmla="*/ 199010 h 322835"/>
                  <a:gd name="connsiteX3" fmla="*/ 460375 w 675672"/>
                  <a:gd name="connsiteY3" fmla="*/ 322835 h 322835"/>
                  <a:gd name="connsiteX4" fmla="*/ 0 w 675672"/>
                  <a:gd name="connsiteY4" fmla="*/ 111125 h 322835"/>
                  <a:gd name="connsiteX0" fmla="*/ 0 w 675672"/>
                  <a:gd name="connsiteY0" fmla="*/ 111125 h 313310"/>
                  <a:gd name="connsiteX1" fmla="*/ 256572 w 675672"/>
                  <a:gd name="connsiteY1" fmla="*/ 0 h 313310"/>
                  <a:gd name="connsiteX2" fmla="*/ 675672 w 675672"/>
                  <a:gd name="connsiteY2" fmla="*/ 199010 h 313310"/>
                  <a:gd name="connsiteX3" fmla="*/ 447675 w 675672"/>
                  <a:gd name="connsiteY3" fmla="*/ 313310 h 313310"/>
                  <a:gd name="connsiteX4" fmla="*/ 0 w 675672"/>
                  <a:gd name="connsiteY4" fmla="*/ 111125 h 313310"/>
                  <a:gd name="connsiteX0" fmla="*/ 0 w 675672"/>
                  <a:gd name="connsiteY0" fmla="*/ 106362 h 308547"/>
                  <a:gd name="connsiteX1" fmla="*/ 247047 w 675672"/>
                  <a:gd name="connsiteY1" fmla="*/ 0 h 308547"/>
                  <a:gd name="connsiteX2" fmla="*/ 675672 w 675672"/>
                  <a:gd name="connsiteY2" fmla="*/ 194247 h 308547"/>
                  <a:gd name="connsiteX3" fmla="*/ 447675 w 675672"/>
                  <a:gd name="connsiteY3" fmla="*/ 308547 h 308547"/>
                  <a:gd name="connsiteX4" fmla="*/ 0 w 675672"/>
                  <a:gd name="connsiteY4" fmla="*/ 106362 h 308547"/>
                  <a:gd name="connsiteX0" fmla="*/ 0 w 647097"/>
                  <a:gd name="connsiteY0" fmla="*/ 115887 h 308547"/>
                  <a:gd name="connsiteX1" fmla="*/ 218472 w 647097"/>
                  <a:gd name="connsiteY1" fmla="*/ 0 h 308547"/>
                  <a:gd name="connsiteX2" fmla="*/ 647097 w 647097"/>
                  <a:gd name="connsiteY2" fmla="*/ 194247 h 308547"/>
                  <a:gd name="connsiteX3" fmla="*/ 419100 w 647097"/>
                  <a:gd name="connsiteY3" fmla="*/ 308547 h 308547"/>
                  <a:gd name="connsiteX4" fmla="*/ 0 w 647097"/>
                  <a:gd name="connsiteY4" fmla="*/ 115887 h 308547"/>
                  <a:gd name="connsiteX0" fmla="*/ 0 w 647097"/>
                  <a:gd name="connsiteY0" fmla="*/ 108744 h 301404"/>
                  <a:gd name="connsiteX1" fmla="*/ 232759 w 647097"/>
                  <a:gd name="connsiteY1" fmla="*/ 0 h 301404"/>
                  <a:gd name="connsiteX2" fmla="*/ 647097 w 647097"/>
                  <a:gd name="connsiteY2" fmla="*/ 187104 h 301404"/>
                  <a:gd name="connsiteX3" fmla="*/ 419100 w 647097"/>
                  <a:gd name="connsiteY3" fmla="*/ 301404 h 301404"/>
                  <a:gd name="connsiteX4" fmla="*/ 0 w 647097"/>
                  <a:gd name="connsiteY4" fmla="*/ 108744 h 301404"/>
                  <a:gd name="connsiteX0" fmla="*/ 0 w 642335"/>
                  <a:gd name="connsiteY0" fmla="*/ 108744 h 301404"/>
                  <a:gd name="connsiteX1" fmla="*/ 232759 w 642335"/>
                  <a:gd name="connsiteY1" fmla="*/ 0 h 301404"/>
                  <a:gd name="connsiteX2" fmla="*/ 642335 w 642335"/>
                  <a:gd name="connsiteY2" fmla="*/ 187104 h 301404"/>
                  <a:gd name="connsiteX3" fmla="*/ 419100 w 642335"/>
                  <a:gd name="connsiteY3" fmla="*/ 301404 h 301404"/>
                  <a:gd name="connsiteX4" fmla="*/ 0 w 642335"/>
                  <a:gd name="connsiteY4" fmla="*/ 108744 h 301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335" h="301404">
                    <a:moveTo>
                      <a:pt x="0" y="108744"/>
                    </a:moveTo>
                    <a:lnTo>
                      <a:pt x="232759" y="0"/>
                    </a:lnTo>
                    <a:lnTo>
                      <a:pt x="642335" y="187104"/>
                    </a:lnTo>
                    <a:lnTo>
                      <a:pt x="419100" y="301404"/>
                    </a:lnTo>
                    <a:lnTo>
                      <a:pt x="0" y="108744"/>
                    </a:lnTo>
                    <a:close/>
                  </a:path>
                </a:pathLst>
              </a:custGeom>
              <a:solidFill>
                <a:schemeClr val="tx1">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6" name="Rectangle 20"/>
              <p:cNvSpPr/>
              <p:nvPr/>
            </p:nvSpPr>
            <p:spPr>
              <a:xfrm>
                <a:off x="5881077" y="534784"/>
                <a:ext cx="1384290" cy="646478"/>
              </a:xfrm>
              <a:custGeom>
                <a:avLst/>
                <a:gdLst>
                  <a:gd name="connsiteX0" fmla="*/ 0 w 402622"/>
                  <a:gd name="connsiteY0" fmla="*/ 0 h 252985"/>
                  <a:gd name="connsiteX1" fmla="*/ 402622 w 402622"/>
                  <a:gd name="connsiteY1" fmla="*/ 0 h 252985"/>
                  <a:gd name="connsiteX2" fmla="*/ 402622 w 402622"/>
                  <a:gd name="connsiteY2" fmla="*/ 252985 h 252985"/>
                  <a:gd name="connsiteX3" fmla="*/ 0 w 402622"/>
                  <a:gd name="connsiteY3" fmla="*/ 252985 h 252985"/>
                  <a:gd name="connsiteX4" fmla="*/ 0 w 402622"/>
                  <a:gd name="connsiteY4" fmla="*/ 0 h 252985"/>
                  <a:gd name="connsiteX0" fmla="*/ 0 w 402622"/>
                  <a:gd name="connsiteY0" fmla="*/ 114300 h 367285"/>
                  <a:gd name="connsiteX1" fmla="*/ 348647 w 402622"/>
                  <a:gd name="connsiteY1" fmla="*/ 0 h 367285"/>
                  <a:gd name="connsiteX2" fmla="*/ 402622 w 402622"/>
                  <a:gd name="connsiteY2" fmla="*/ 367285 h 367285"/>
                  <a:gd name="connsiteX3" fmla="*/ 0 w 402622"/>
                  <a:gd name="connsiteY3" fmla="*/ 367285 h 367285"/>
                  <a:gd name="connsiteX4" fmla="*/ 0 w 402622"/>
                  <a:gd name="connsiteY4" fmla="*/ 114300 h 367285"/>
                  <a:gd name="connsiteX0" fmla="*/ 0 w 643922"/>
                  <a:gd name="connsiteY0" fmla="*/ 114300 h 367285"/>
                  <a:gd name="connsiteX1" fmla="*/ 348647 w 643922"/>
                  <a:gd name="connsiteY1" fmla="*/ 0 h 367285"/>
                  <a:gd name="connsiteX2" fmla="*/ 643922 w 643922"/>
                  <a:gd name="connsiteY2" fmla="*/ 195835 h 367285"/>
                  <a:gd name="connsiteX3" fmla="*/ 0 w 643922"/>
                  <a:gd name="connsiteY3" fmla="*/ 367285 h 367285"/>
                  <a:gd name="connsiteX4" fmla="*/ 0 w 643922"/>
                  <a:gd name="connsiteY4" fmla="*/ 114300 h 367285"/>
                  <a:gd name="connsiteX0" fmla="*/ 0 w 643922"/>
                  <a:gd name="connsiteY0" fmla="*/ 114300 h 443485"/>
                  <a:gd name="connsiteX1" fmla="*/ 348647 w 643922"/>
                  <a:gd name="connsiteY1" fmla="*/ 0 h 443485"/>
                  <a:gd name="connsiteX2" fmla="*/ 643922 w 643922"/>
                  <a:gd name="connsiteY2" fmla="*/ 195835 h 443485"/>
                  <a:gd name="connsiteX3" fmla="*/ 320675 w 643922"/>
                  <a:gd name="connsiteY3" fmla="*/ 443485 h 443485"/>
                  <a:gd name="connsiteX4" fmla="*/ 0 w 643922"/>
                  <a:gd name="connsiteY4" fmla="*/ 114300 h 443485"/>
                  <a:gd name="connsiteX0" fmla="*/ 0 w 659797"/>
                  <a:gd name="connsiteY0" fmla="*/ 276225 h 443485"/>
                  <a:gd name="connsiteX1" fmla="*/ 364522 w 659797"/>
                  <a:gd name="connsiteY1" fmla="*/ 0 h 443485"/>
                  <a:gd name="connsiteX2" fmla="*/ 659797 w 659797"/>
                  <a:gd name="connsiteY2" fmla="*/ 195835 h 443485"/>
                  <a:gd name="connsiteX3" fmla="*/ 336550 w 659797"/>
                  <a:gd name="connsiteY3" fmla="*/ 443485 h 443485"/>
                  <a:gd name="connsiteX4" fmla="*/ 0 w 659797"/>
                  <a:gd name="connsiteY4" fmla="*/ 276225 h 443485"/>
                  <a:gd name="connsiteX0" fmla="*/ 0 w 720122"/>
                  <a:gd name="connsiteY0" fmla="*/ 203200 h 443485"/>
                  <a:gd name="connsiteX1" fmla="*/ 424847 w 720122"/>
                  <a:gd name="connsiteY1" fmla="*/ 0 h 443485"/>
                  <a:gd name="connsiteX2" fmla="*/ 720122 w 720122"/>
                  <a:gd name="connsiteY2" fmla="*/ 195835 h 443485"/>
                  <a:gd name="connsiteX3" fmla="*/ 396875 w 720122"/>
                  <a:gd name="connsiteY3" fmla="*/ 443485 h 443485"/>
                  <a:gd name="connsiteX4" fmla="*/ 0 w 720122"/>
                  <a:gd name="connsiteY4" fmla="*/ 203200 h 443485"/>
                  <a:gd name="connsiteX0" fmla="*/ 0 w 720122"/>
                  <a:gd name="connsiteY0" fmla="*/ 120650 h 360935"/>
                  <a:gd name="connsiteX1" fmla="*/ 250222 w 720122"/>
                  <a:gd name="connsiteY1" fmla="*/ 0 h 360935"/>
                  <a:gd name="connsiteX2" fmla="*/ 720122 w 720122"/>
                  <a:gd name="connsiteY2" fmla="*/ 113285 h 360935"/>
                  <a:gd name="connsiteX3" fmla="*/ 396875 w 720122"/>
                  <a:gd name="connsiteY3" fmla="*/ 360935 h 360935"/>
                  <a:gd name="connsiteX4" fmla="*/ 0 w 720122"/>
                  <a:gd name="connsiteY4" fmla="*/ 120650 h 360935"/>
                  <a:gd name="connsiteX0" fmla="*/ 0 w 612172"/>
                  <a:gd name="connsiteY0" fmla="*/ 120650 h 360935"/>
                  <a:gd name="connsiteX1" fmla="*/ 250222 w 612172"/>
                  <a:gd name="connsiteY1" fmla="*/ 0 h 360935"/>
                  <a:gd name="connsiteX2" fmla="*/ 612172 w 612172"/>
                  <a:gd name="connsiteY2" fmla="*/ 237110 h 360935"/>
                  <a:gd name="connsiteX3" fmla="*/ 396875 w 612172"/>
                  <a:gd name="connsiteY3" fmla="*/ 360935 h 360935"/>
                  <a:gd name="connsiteX4" fmla="*/ 0 w 612172"/>
                  <a:gd name="connsiteY4" fmla="*/ 120650 h 360935"/>
                  <a:gd name="connsiteX0" fmla="*/ 0 w 650272"/>
                  <a:gd name="connsiteY0" fmla="*/ 161925 h 360935"/>
                  <a:gd name="connsiteX1" fmla="*/ 288322 w 650272"/>
                  <a:gd name="connsiteY1" fmla="*/ 0 h 360935"/>
                  <a:gd name="connsiteX2" fmla="*/ 650272 w 650272"/>
                  <a:gd name="connsiteY2" fmla="*/ 237110 h 360935"/>
                  <a:gd name="connsiteX3" fmla="*/ 434975 w 650272"/>
                  <a:gd name="connsiteY3" fmla="*/ 360935 h 360935"/>
                  <a:gd name="connsiteX4" fmla="*/ 0 w 650272"/>
                  <a:gd name="connsiteY4" fmla="*/ 161925 h 360935"/>
                  <a:gd name="connsiteX0" fmla="*/ 0 w 650272"/>
                  <a:gd name="connsiteY0" fmla="*/ 123825 h 322835"/>
                  <a:gd name="connsiteX1" fmla="*/ 231172 w 650272"/>
                  <a:gd name="connsiteY1" fmla="*/ 0 h 322835"/>
                  <a:gd name="connsiteX2" fmla="*/ 650272 w 650272"/>
                  <a:gd name="connsiteY2" fmla="*/ 199010 h 322835"/>
                  <a:gd name="connsiteX3" fmla="*/ 434975 w 650272"/>
                  <a:gd name="connsiteY3" fmla="*/ 322835 h 322835"/>
                  <a:gd name="connsiteX4" fmla="*/ 0 w 650272"/>
                  <a:gd name="connsiteY4" fmla="*/ 123825 h 322835"/>
                  <a:gd name="connsiteX0" fmla="*/ 0 w 675672"/>
                  <a:gd name="connsiteY0" fmla="*/ 111125 h 322835"/>
                  <a:gd name="connsiteX1" fmla="*/ 256572 w 675672"/>
                  <a:gd name="connsiteY1" fmla="*/ 0 h 322835"/>
                  <a:gd name="connsiteX2" fmla="*/ 675672 w 675672"/>
                  <a:gd name="connsiteY2" fmla="*/ 199010 h 322835"/>
                  <a:gd name="connsiteX3" fmla="*/ 460375 w 675672"/>
                  <a:gd name="connsiteY3" fmla="*/ 322835 h 322835"/>
                  <a:gd name="connsiteX4" fmla="*/ 0 w 675672"/>
                  <a:gd name="connsiteY4" fmla="*/ 111125 h 322835"/>
                  <a:gd name="connsiteX0" fmla="*/ 0 w 675672"/>
                  <a:gd name="connsiteY0" fmla="*/ 111125 h 313310"/>
                  <a:gd name="connsiteX1" fmla="*/ 256572 w 675672"/>
                  <a:gd name="connsiteY1" fmla="*/ 0 h 313310"/>
                  <a:gd name="connsiteX2" fmla="*/ 675672 w 675672"/>
                  <a:gd name="connsiteY2" fmla="*/ 199010 h 313310"/>
                  <a:gd name="connsiteX3" fmla="*/ 447675 w 675672"/>
                  <a:gd name="connsiteY3" fmla="*/ 313310 h 313310"/>
                  <a:gd name="connsiteX4" fmla="*/ 0 w 675672"/>
                  <a:gd name="connsiteY4" fmla="*/ 111125 h 313310"/>
                  <a:gd name="connsiteX0" fmla="*/ 0 w 675672"/>
                  <a:gd name="connsiteY0" fmla="*/ 106362 h 308547"/>
                  <a:gd name="connsiteX1" fmla="*/ 247047 w 675672"/>
                  <a:gd name="connsiteY1" fmla="*/ 0 h 308547"/>
                  <a:gd name="connsiteX2" fmla="*/ 675672 w 675672"/>
                  <a:gd name="connsiteY2" fmla="*/ 194247 h 308547"/>
                  <a:gd name="connsiteX3" fmla="*/ 447675 w 675672"/>
                  <a:gd name="connsiteY3" fmla="*/ 308547 h 308547"/>
                  <a:gd name="connsiteX4" fmla="*/ 0 w 675672"/>
                  <a:gd name="connsiteY4" fmla="*/ 106362 h 308547"/>
                  <a:gd name="connsiteX0" fmla="*/ 0 w 635191"/>
                  <a:gd name="connsiteY0" fmla="*/ 125412 h 308547"/>
                  <a:gd name="connsiteX1" fmla="*/ 206566 w 635191"/>
                  <a:gd name="connsiteY1" fmla="*/ 0 h 308547"/>
                  <a:gd name="connsiteX2" fmla="*/ 635191 w 635191"/>
                  <a:gd name="connsiteY2" fmla="*/ 194247 h 308547"/>
                  <a:gd name="connsiteX3" fmla="*/ 407194 w 635191"/>
                  <a:gd name="connsiteY3" fmla="*/ 308547 h 308547"/>
                  <a:gd name="connsiteX4" fmla="*/ 0 w 635191"/>
                  <a:gd name="connsiteY4" fmla="*/ 125412 h 308547"/>
                  <a:gd name="connsiteX0" fmla="*/ 0 w 635191"/>
                  <a:gd name="connsiteY0" fmla="*/ 113506 h 296641"/>
                  <a:gd name="connsiteX1" fmla="*/ 242285 w 635191"/>
                  <a:gd name="connsiteY1" fmla="*/ 0 h 296641"/>
                  <a:gd name="connsiteX2" fmla="*/ 635191 w 635191"/>
                  <a:gd name="connsiteY2" fmla="*/ 182341 h 296641"/>
                  <a:gd name="connsiteX3" fmla="*/ 407194 w 635191"/>
                  <a:gd name="connsiteY3" fmla="*/ 296641 h 296641"/>
                  <a:gd name="connsiteX4" fmla="*/ 0 w 635191"/>
                  <a:gd name="connsiteY4" fmla="*/ 113506 h 296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191" h="296641">
                    <a:moveTo>
                      <a:pt x="0" y="113506"/>
                    </a:moveTo>
                    <a:lnTo>
                      <a:pt x="242285" y="0"/>
                    </a:lnTo>
                    <a:lnTo>
                      <a:pt x="635191" y="182341"/>
                    </a:lnTo>
                    <a:lnTo>
                      <a:pt x="407194" y="296641"/>
                    </a:lnTo>
                    <a:lnTo>
                      <a:pt x="0" y="113506"/>
                    </a:lnTo>
                    <a:close/>
                  </a:path>
                </a:pathLst>
              </a:custGeom>
              <a:solidFill>
                <a:schemeClr val="tx1">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11" name="Group 10"/>
            <p:cNvGrpSpPr/>
            <p:nvPr/>
          </p:nvGrpSpPr>
          <p:grpSpPr>
            <a:xfrm>
              <a:off x="6952129" y="2729419"/>
              <a:ext cx="665640" cy="460245"/>
              <a:chOff x="2621983" y="-89225"/>
              <a:chExt cx="7286095" cy="5037832"/>
            </a:xfrm>
          </p:grpSpPr>
          <p:sp>
            <p:nvSpPr>
              <p:cNvPr id="33" name="Freeform 32"/>
              <p:cNvSpPr/>
              <p:nvPr/>
            </p:nvSpPr>
            <p:spPr>
              <a:xfrm>
                <a:off x="2621983" y="-89225"/>
                <a:ext cx="7286095" cy="5037832"/>
              </a:xfrm>
              <a:custGeom>
                <a:avLst/>
                <a:gdLst>
                  <a:gd name="connsiteX0" fmla="*/ 2681855 w 7286095"/>
                  <a:gd name="connsiteY0" fmla="*/ 2147419 h 5037832"/>
                  <a:gd name="connsiteX1" fmla="*/ 2681855 w 7286095"/>
                  <a:gd name="connsiteY1" fmla="*/ 2235525 h 5037832"/>
                  <a:gd name="connsiteX2" fmla="*/ 3672455 w 7286095"/>
                  <a:gd name="connsiteY2" fmla="*/ 2687963 h 5037832"/>
                  <a:gd name="connsiteX3" fmla="*/ 4160611 w 7286095"/>
                  <a:gd name="connsiteY3" fmla="*/ 2428406 h 5037832"/>
                  <a:gd name="connsiteX4" fmla="*/ 4160611 w 7286095"/>
                  <a:gd name="connsiteY4" fmla="*/ 2337919 h 5037832"/>
                  <a:gd name="connsiteX5" fmla="*/ 2681855 w 7286095"/>
                  <a:gd name="connsiteY5" fmla="*/ 2147419 h 5037832"/>
                  <a:gd name="connsiteX6" fmla="*/ 6858354 w 7286095"/>
                  <a:gd name="connsiteY6" fmla="*/ 1929286 h 5037832"/>
                  <a:gd name="connsiteX7" fmla="*/ 3541261 w 7286095"/>
                  <a:gd name="connsiteY7" fmla="*/ 3836527 h 5037832"/>
                  <a:gd name="connsiteX8" fmla="*/ 43626 w 7286095"/>
                  <a:gd name="connsiteY8" fmla="*/ 1971532 h 5037832"/>
                  <a:gd name="connsiteX9" fmla="*/ 3542717 w 7286095"/>
                  <a:gd name="connsiteY9" fmla="*/ 3953437 h 5037832"/>
                  <a:gd name="connsiteX10" fmla="*/ 6858354 w 7286095"/>
                  <a:gd name="connsiteY10" fmla="*/ 1929286 h 5037832"/>
                  <a:gd name="connsiteX11" fmla="*/ 3521642 w 7286095"/>
                  <a:gd name="connsiteY11" fmla="*/ 1748956 h 5037832"/>
                  <a:gd name="connsiteX12" fmla="*/ 3521642 w 7286095"/>
                  <a:gd name="connsiteY12" fmla="*/ 1818013 h 5037832"/>
                  <a:gd name="connsiteX13" fmla="*/ 4445567 w 7286095"/>
                  <a:gd name="connsiteY13" fmla="*/ 2251400 h 5037832"/>
                  <a:gd name="connsiteX14" fmla="*/ 4931342 w 7286095"/>
                  <a:gd name="connsiteY14" fmla="*/ 1989463 h 5037832"/>
                  <a:gd name="connsiteX15" fmla="*/ 4931342 w 7286095"/>
                  <a:gd name="connsiteY15" fmla="*/ 1918025 h 5037832"/>
                  <a:gd name="connsiteX16" fmla="*/ 3521642 w 7286095"/>
                  <a:gd name="connsiteY16" fmla="*/ 1748956 h 5037832"/>
                  <a:gd name="connsiteX17" fmla="*/ 1567430 w 7286095"/>
                  <a:gd name="connsiteY17" fmla="*/ 1621163 h 5037832"/>
                  <a:gd name="connsiteX18" fmla="*/ 1567430 w 7286095"/>
                  <a:gd name="connsiteY18" fmla="*/ 1704506 h 5037832"/>
                  <a:gd name="connsiteX19" fmla="*/ 2548505 w 7286095"/>
                  <a:gd name="connsiteY19" fmla="*/ 2147419 h 5037832"/>
                  <a:gd name="connsiteX20" fmla="*/ 3046186 w 7286095"/>
                  <a:gd name="connsiteY20" fmla="*/ 1887863 h 5037832"/>
                  <a:gd name="connsiteX21" fmla="*/ 3046186 w 7286095"/>
                  <a:gd name="connsiteY21" fmla="*/ 1809281 h 5037832"/>
                  <a:gd name="connsiteX22" fmla="*/ 1567430 w 7286095"/>
                  <a:gd name="connsiteY22" fmla="*/ 1621163 h 5037832"/>
                  <a:gd name="connsiteX23" fmla="*/ 6182457 w 7286095"/>
                  <a:gd name="connsiteY23" fmla="*/ 1573175 h 5037832"/>
                  <a:gd name="connsiteX24" fmla="*/ 3587694 w 7286095"/>
                  <a:gd name="connsiteY24" fmla="*/ 2901693 h 5037832"/>
                  <a:gd name="connsiteX25" fmla="*/ 1179754 w 7286095"/>
                  <a:gd name="connsiteY25" fmla="*/ 1713292 h 5037832"/>
                  <a:gd name="connsiteX26" fmla="*/ 1179754 w 7286095"/>
                  <a:gd name="connsiteY26" fmla="*/ 1874168 h 5037832"/>
                  <a:gd name="connsiteX27" fmla="*/ 3598688 w 7286095"/>
                  <a:gd name="connsiteY27" fmla="*/ 3163595 h 5037832"/>
                  <a:gd name="connsiteX28" fmla="*/ 6182457 w 7286095"/>
                  <a:gd name="connsiteY28" fmla="*/ 1687345 h 5037832"/>
                  <a:gd name="connsiteX29" fmla="*/ 6182457 w 7286095"/>
                  <a:gd name="connsiteY29" fmla="*/ 1573175 h 5037832"/>
                  <a:gd name="connsiteX30" fmla="*/ 4326505 w 7286095"/>
                  <a:gd name="connsiteY30" fmla="*/ 1372719 h 5037832"/>
                  <a:gd name="connsiteX31" fmla="*/ 4326505 w 7286095"/>
                  <a:gd name="connsiteY31" fmla="*/ 1432250 h 5037832"/>
                  <a:gd name="connsiteX32" fmla="*/ 5226617 w 7286095"/>
                  <a:gd name="connsiteY32" fmla="*/ 1837063 h 5037832"/>
                  <a:gd name="connsiteX33" fmla="*/ 5712392 w 7286095"/>
                  <a:gd name="connsiteY33" fmla="*/ 1577506 h 5037832"/>
                  <a:gd name="connsiteX34" fmla="*/ 5712392 w 7286095"/>
                  <a:gd name="connsiteY34" fmla="*/ 1520356 h 5037832"/>
                  <a:gd name="connsiteX35" fmla="*/ 4326505 w 7286095"/>
                  <a:gd name="connsiteY35" fmla="*/ 1372719 h 5037832"/>
                  <a:gd name="connsiteX36" fmla="*/ 2442936 w 7286095"/>
                  <a:gd name="connsiteY36" fmla="*/ 1241750 h 5037832"/>
                  <a:gd name="connsiteX37" fmla="*/ 2442936 w 7286095"/>
                  <a:gd name="connsiteY37" fmla="*/ 1306044 h 5037832"/>
                  <a:gd name="connsiteX38" fmla="*/ 3371623 w 7286095"/>
                  <a:gd name="connsiteY38" fmla="*/ 1739431 h 5037832"/>
                  <a:gd name="connsiteX39" fmla="*/ 3847873 w 7286095"/>
                  <a:gd name="connsiteY39" fmla="*/ 1475113 h 5037832"/>
                  <a:gd name="connsiteX40" fmla="*/ 3847873 w 7286095"/>
                  <a:gd name="connsiteY40" fmla="*/ 1410819 h 5037832"/>
                  <a:gd name="connsiteX41" fmla="*/ 2442936 w 7286095"/>
                  <a:gd name="connsiteY41" fmla="*/ 1241750 h 5037832"/>
                  <a:gd name="connsiteX42" fmla="*/ 3259705 w 7286095"/>
                  <a:gd name="connsiteY42" fmla="*/ 875038 h 5037832"/>
                  <a:gd name="connsiteX43" fmla="*/ 3257324 w 7286095"/>
                  <a:gd name="connsiteY43" fmla="*/ 934569 h 5037832"/>
                  <a:gd name="connsiteX44" fmla="*/ 4157436 w 7286095"/>
                  <a:gd name="connsiteY44" fmla="*/ 1348906 h 5037832"/>
                  <a:gd name="connsiteX45" fmla="*/ 4647973 w 7286095"/>
                  <a:gd name="connsiteY45" fmla="*/ 1086969 h 5037832"/>
                  <a:gd name="connsiteX46" fmla="*/ 4647973 w 7286095"/>
                  <a:gd name="connsiteY46" fmla="*/ 1017913 h 5037832"/>
                  <a:gd name="connsiteX47" fmla="*/ 3259705 w 7286095"/>
                  <a:gd name="connsiteY47" fmla="*/ 875038 h 5037832"/>
                  <a:gd name="connsiteX48" fmla="*/ 3826413 w 7286095"/>
                  <a:gd name="connsiteY48" fmla="*/ 369202 h 5037832"/>
                  <a:gd name="connsiteX49" fmla="*/ 1662381 w 7286095"/>
                  <a:gd name="connsiteY49" fmla="*/ 1469382 h 5037832"/>
                  <a:gd name="connsiteX50" fmla="*/ 3821224 w 7286095"/>
                  <a:gd name="connsiteY50" fmla="*/ 426288 h 5037832"/>
                  <a:gd name="connsiteX51" fmla="*/ 5513009 w 7286095"/>
                  <a:gd name="connsiteY51" fmla="*/ 1225474 h 5037832"/>
                  <a:gd name="connsiteX52" fmla="*/ 3826413 w 7286095"/>
                  <a:gd name="connsiteY52" fmla="*/ 369202 h 5037832"/>
                  <a:gd name="connsiteX53" fmla="*/ 3789789 w 7286095"/>
                  <a:gd name="connsiteY53" fmla="*/ 0 h 5037832"/>
                  <a:gd name="connsiteX54" fmla="*/ 7284571 w 7286095"/>
                  <a:gd name="connsiteY54" fmla="*/ 1684220 h 5037832"/>
                  <a:gd name="connsiteX55" fmla="*/ 7286095 w 7286095"/>
                  <a:gd name="connsiteY55" fmla="*/ 2057530 h 5037832"/>
                  <a:gd name="connsiteX56" fmla="*/ 7154815 w 7286095"/>
                  <a:gd name="connsiteY56" fmla="*/ 2137797 h 5037832"/>
                  <a:gd name="connsiteX57" fmla="*/ 7154815 w 7286095"/>
                  <a:gd name="connsiteY57" fmla="*/ 2835810 h 5037832"/>
                  <a:gd name="connsiteX58" fmla="*/ 7013117 w 7286095"/>
                  <a:gd name="connsiteY58" fmla="*/ 2924661 h 5037832"/>
                  <a:gd name="connsiteX59" fmla="*/ 7013117 w 7286095"/>
                  <a:gd name="connsiteY59" fmla="*/ 2224434 h 5037832"/>
                  <a:gd name="connsiteX60" fmla="*/ 6848443 w 7286095"/>
                  <a:gd name="connsiteY60" fmla="*/ 2325119 h 5037832"/>
                  <a:gd name="connsiteX61" fmla="*/ 6848443 w 7286095"/>
                  <a:gd name="connsiteY61" fmla="*/ 3027918 h 5037832"/>
                  <a:gd name="connsiteX62" fmla="*/ 6706745 w 7286095"/>
                  <a:gd name="connsiteY62" fmla="*/ 3116769 h 5037832"/>
                  <a:gd name="connsiteX63" fmla="*/ 6706745 w 7286095"/>
                  <a:gd name="connsiteY63" fmla="*/ 2411756 h 5037832"/>
                  <a:gd name="connsiteX64" fmla="*/ 6542073 w 7286095"/>
                  <a:gd name="connsiteY64" fmla="*/ 2512439 h 5037832"/>
                  <a:gd name="connsiteX65" fmla="*/ 6542073 w 7286095"/>
                  <a:gd name="connsiteY65" fmla="*/ 3220024 h 5037832"/>
                  <a:gd name="connsiteX66" fmla="*/ 6400375 w 7286095"/>
                  <a:gd name="connsiteY66" fmla="*/ 3308875 h 5037832"/>
                  <a:gd name="connsiteX67" fmla="*/ 6400375 w 7286095"/>
                  <a:gd name="connsiteY67" fmla="*/ 2599076 h 5037832"/>
                  <a:gd name="connsiteX68" fmla="*/ 6235703 w 7286095"/>
                  <a:gd name="connsiteY68" fmla="*/ 2699759 h 5037832"/>
                  <a:gd name="connsiteX69" fmla="*/ 6235703 w 7286095"/>
                  <a:gd name="connsiteY69" fmla="*/ 3412131 h 5037832"/>
                  <a:gd name="connsiteX70" fmla="*/ 6094005 w 7286095"/>
                  <a:gd name="connsiteY70" fmla="*/ 3500981 h 5037832"/>
                  <a:gd name="connsiteX71" fmla="*/ 6094005 w 7286095"/>
                  <a:gd name="connsiteY71" fmla="*/ 2786396 h 5037832"/>
                  <a:gd name="connsiteX72" fmla="*/ 5929332 w 7286095"/>
                  <a:gd name="connsiteY72" fmla="*/ 2887081 h 5037832"/>
                  <a:gd name="connsiteX73" fmla="*/ 5929332 w 7286095"/>
                  <a:gd name="connsiteY73" fmla="*/ 3604237 h 5037832"/>
                  <a:gd name="connsiteX74" fmla="*/ 5787635 w 7286095"/>
                  <a:gd name="connsiteY74" fmla="*/ 3693086 h 5037832"/>
                  <a:gd name="connsiteX75" fmla="*/ 5787635 w 7286095"/>
                  <a:gd name="connsiteY75" fmla="*/ 2973716 h 5037832"/>
                  <a:gd name="connsiteX76" fmla="*/ 5622962 w 7286095"/>
                  <a:gd name="connsiteY76" fmla="*/ 3074401 h 5037832"/>
                  <a:gd name="connsiteX77" fmla="*/ 5622962 w 7286095"/>
                  <a:gd name="connsiteY77" fmla="*/ 3796343 h 5037832"/>
                  <a:gd name="connsiteX78" fmla="*/ 5481265 w 7286095"/>
                  <a:gd name="connsiteY78" fmla="*/ 3885194 h 5037832"/>
                  <a:gd name="connsiteX79" fmla="*/ 5481265 w 7286095"/>
                  <a:gd name="connsiteY79" fmla="*/ 3161036 h 5037832"/>
                  <a:gd name="connsiteX80" fmla="*/ 5316592 w 7286095"/>
                  <a:gd name="connsiteY80" fmla="*/ 3261721 h 5037832"/>
                  <a:gd name="connsiteX81" fmla="*/ 5316592 w 7286095"/>
                  <a:gd name="connsiteY81" fmla="*/ 3988448 h 5037832"/>
                  <a:gd name="connsiteX82" fmla="*/ 5174895 w 7286095"/>
                  <a:gd name="connsiteY82" fmla="*/ 4077300 h 5037832"/>
                  <a:gd name="connsiteX83" fmla="*/ 5174895 w 7286095"/>
                  <a:gd name="connsiteY83" fmla="*/ 3348358 h 5037832"/>
                  <a:gd name="connsiteX84" fmla="*/ 5010222 w 7286095"/>
                  <a:gd name="connsiteY84" fmla="*/ 3449041 h 5037832"/>
                  <a:gd name="connsiteX85" fmla="*/ 5010222 w 7286095"/>
                  <a:gd name="connsiteY85" fmla="*/ 4180556 h 5037832"/>
                  <a:gd name="connsiteX86" fmla="*/ 4868525 w 7286095"/>
                  <a:gd name="connsiteY86" fmla="*/ 4269405 h 5037832"/>
                  <a:gd name="connsiteX87" fmla="*/ 4868525 w 7286095"/>
                  <a:gd name="connsiteY87" fmla="*/ 3535678 h 5037832"/>
                  <a:gd name="connsiteX88" fmla="*/ 4703852 w 7286095"/>
                  <a:gd name="connsiteY88" fmla="*/ 3636360 h 5037832"/>
                  <a:gd name="connsiteX89" fmla="*/ 4703852 w 7286095"/>
                  <a:gd name="connsiteY89" fmla="*/ 4372662 h 5037832"/>
                  <a:gd name="connsiteX90" fmla="*/ 4562155 w 7286095"/>
                  <a:gd name="connsiteY90" fmla="*/ 4461513 h 5037832"/>
                  <a:gd name="connsiteX91" fmla="*/ 4562155 w 7286095"/>
                  <a:gd name="connsiteY91" fmla="*/ 3722997 h 5037832"/>
                  <a:gd name="connsiteX92" fmla="*/ 4397482 w 7286095"/>
                  <a:gd name="connsiteY92" fmla="*/ 3823680 h 5037832"/>
                  <a:gd name="connsiteX93" fmla="*/ 4397482 w 7286095"/>
                  <a:gd name="connsiteY93" fmla="*/ 4564768 h 5037832"/>
                  <a:gd name="connsiteX94" fmla="*/ 4255785 w 7286095"/>
                  <a:gd name="connsiteY94" fmla="*/ 4653619 h 5037832"/>
                  <a:gd name="connsiteX95" fmla="*/ 4255785 w 7286095"/>
                  <a:gd name="connsiteY95" fmla="*/ 3910317 h 5037832"/>
                  <a:gd name="connsiteX96" fmla="*/ 4091112 w 7286095"/>
                  <a:gd name="connsiteY96" fmla="*/ 4011000 h 5037832"/>
                  <a:gd name="connsiteX97" fmla="*/ 4091112 w 7286095"/>
                  <a:gd name="connsiteY97" fmla="*/ 4756875 h 5037832"/>
                  <a:gd name="connsiteX98" fmla="*/ 3949414 w 7286095"/>
                  <a:gd name="connsiteY98" fmla="*/ 4845724 h 5037832"/>
                  <a:gd name="connsiteX99" fmla="*/ 3949414 w 7286095"/>
                  <a:gd name="connsiteY99" fmla="*/ 4097637 h 5037832"/>
                  <a:gd name="connsiteX100" fmla="*/ 3784742 w 7286095"/>
                  <a:gd name="connsiteY100" fmla="*/ 4198322 h 5037832"/>
                  <a:gd name="connsiteX101" fmla="*/ 3784742 w 7286095"/>
                  <a:gd name="connsiteY101" fmla="*/ 4948981 h 5037832"/>
                  <a:gd name="connsiteX102" fmla="*/ 3643044 w 7286095"/>
                  <a:gd name="connsiteY102" fmla="*/ 5037832 h 5037832"/>
                  <a:gd name="connsiteX103" fmla="*/ 3643044 w 7286095"/>
                  <a:gd name="connsiteY103" fmla="*/ 4284957 h 5037832"/>
                  <a:gd name="connsiteX104" fmla="*/ 3528878 w 7286095"/>
                  <a:gd name="connsiteY104" fmla="*/ 4354761 h 5037832"/>
                  <a:gd name="connsiteX105" fmla="*/ 3436697 w 7286095"/>
                  <a:gd name="connsiteY105" fmla="*/ 4303067 h 5037832"/>
                  <a:gd name="connsiteX106" fmla="*/ 3436697 w 7286095"/>
                  <a:gd name="connsiteY106" fmla="*/ 5010554 h 5037832"/>
                  <a:gd name="connsiteX107" fmla="*/ 3294999 w 7286095"/>
                  <a:gd name="connsiteY107" fmla="*/ 4927162 h 5037832"/>
                  <a:gd name="connsiteX108" fmla="*/ 3294999 w 7286095"/>
                  <a:gd name="connsiteY108" fmla="*/ 4223605 h 5037832"/>
                  <a:gd name="connsiteX109" fmla="*/ 3147557 w 7286095"/>
                  <a:gd name="connsiteY109" fmla="*/ 4140923 h 5037832"/>
                  <a:gd name="connsiteX110" fmla="*/ 3147557 w 7286095"/>
                  <a:gd name="connsiteY110" fmla="*/ 4840389 h 5037832"/>
                  <a:gd name="connsiteX111" fmla="*/ 3005859 w 7286095"/>
                  <a:gd name="connsiteY111" fmla="*/ 4757000 h 5037832"/>
                  <a:gd name="connsiteX112" fmla="*/ 3005859 w 7286095"/>
                  <a:gd name="connsiteY112" fmla="*/ 4061460 h 5037832"/>
                  <a:gd name="connsiteX113" fmla="*/ 2858425 w 7286095"/>
                  <a:gd name="connsiteY113" fmla="*/ 3978781 h 5037832"/>
                  <a:gd name="connsiteX114" fmla="*/ 2858425 w 7286095"/>
                  <a:gd name="connsiteY114" fmla="*/ 4670232 h 5037832"/>
                  <a:gd name="connsiteX115" fmla="*/ 2716727 w 7286095"/>
                  <a:gd name="connsiteY115" fmla="*/ 4586840 h 5037832"/>
                  <a:gd name="connsiteX116" fmla="*/ 2716727 w 7286095"/>
                  <a:gd name="connsiteY116" fmla="*/ 3899320 h 5037832"/>
                  <a:gd name="connsiteX117" fmla="*/ 2569294 w 7286095"/>
                  <a:gd name="connsiteY117" fmla="*/ 3816641 h 5037832"/>
                  <a:gd name="connsiteX118" fmla="*/ 2569294 w 7286095"/>
                  <a:gd name="connsiteY118" fmla="*/ 4500072 h 5037832"/>
                  <a:gd name="connsiteX119" fmla="*/ 2427596 w 7286095"/>
                  <a:gd name="connsiteY119" fmla="*/ 4416680 h 5037832"/>
                  <a:gd name="connsiteX120" fmla="*/ 2427596 w 7286095"/>
                  <a:gd name="connsiteY120" fmla="*/ 3737178 h 5037832"/>
                  <a:gd name="connsiteX121" fmla="*/ 2280162 w 7286095"/>
                  <a:gd name="connsiteY121" fmla="*/ 3654501 h 5037832"/>
                  <a:gd name="connsiteX122" fmla="*/ 2280162 w 7286095"/>
                  <a:gd name="connsiteY122" fmla="*/ 4329914 h 5037832"/>
                  <a:gd name="connsiteX123" fmla="*/ 2138464 w 7286095"/>
                  <a:gd name="connsiteY123" fmla="*/ 4246522 h 5037832"/>
                  <a:gd name="connsiteX124" fmla="*/ 2138464 w 7286095"/>
                  <a:gd name="connsiteY124" fmla="*/ 3575038 h 5037832"/>
                  <a:gd name="connsiteX125" fmla="*/ 1991031 w 7286095"/>
                  <a:gd name="connsiteY125" fmla="*/ 3492361 h 5037832"/>
                  <a:gd name="connsiteX126" fmla="*/ 1991031 w 7286095"/>
                  <a:gd name="connsiteY126" fmla="*/ 4159755 h 5037832"/>
                  <a:gd name="connsiteX127" fmla="*/ 1849333 w 7286095"/>
                  <a:gd name="connsiteY127" fmla="*/ 4076363 h 5037832"/>
                  <a:gd name="connsiteX128" fmla="*/ 1849333 w 7286095"/>
                  <a:gd name="connsiteY128" fmla="*/ 3412899 h 5037832"/>
                  <a:gd name="connsiteX129" fmla="*/ 1701899 w 7286095"/>
                  <a:gd name="connsiteY129" fmla="*/ 3330219 h 5037832"/>
                  <a:gd name="connsiteX130" fmla="*/ 1701899 w 7286095"/>
                  <a:gd name="connsiteY130" fmla="*/ 3989597 h 5037832"/>
                  <a:gd name="connsiteX131" fmla="*/ 1560201 w 7286095"/>
                  <a:gd name="connsiteY131" fmla="*/ 3906205 h 5037832"/>
                  <a:gd name="connsiteX132" fmla="*/ 1560201 w 7286095"/>
                  <a:gd name="connsiteY132" fmla="*/ 3250759 h 5037832"/>
                  <a:gd name="connsiteX133" fmla="*/ 1412767 w 7286095"/>
                  <a:gd name="connsiteY133" fmla="*/ 3168079 h 5037832"/>
                  <a:gd name="connsiteX134" fmla="*/ 1412767 w 7286095"/>
                  <a:gd name="connsiteY134" fmla="*/ 3819437 h 5037832"/>
                  <a:gd name="connsiteX135" fmla="*/ 1271070 w 7286095"/>
                  <a:gd name="connsiteY135" fmla="*/ 3736045 h 5037832"/>
                  <a:gd name="connsiteX136" fmla="*/ 1271070 w 7286095"/>
                  <a:gd name="connsiteY136" fmla="*/ 3088617 h 5037832"/>
                  <a:gd name="connsiteX137" fmla="*/ 1123636 w 7286095"/>
                  <a:gd name="connsiteY137" fmla="*/ 3005939 h 5037832"/>
                  <a:gd name="connsiteX138" fmla="*/ 1123636 w 7286095"/>
                  <a:gd name="connsiteY138" fmla="*/ 3649279 h 5037832"/>
                  <a:gd name="connsiteX139" fmla="*/ 981938 w 7286095"/>
                  <a:gd name="connsiteY139" fmla="*/ 3565887 h 5037832"/>
                  <a:gd name="connsiteX140" fmla="*/ 981938 w 7286095"/>
                  <a:gd name="connsiteY140" fmla="*/ 2926477 h 5037832"/>
                  <a:gd name="connsiteX141" fmla="*/ 834504 w 7286095"/>
                  <a:gd name="connsiteY141" fmla="*/ 2843800 h 5037832"/>
                  <a:gd name="connsiteX142" fmla="*/ 834504 w 7286095"/>
                  <a:gd name="connsiteY142" fmla="*/ 3479120 h 5037832"/>
                  <a:gd name="connsiteX143" fmla="*/ 692807 w 7286095"/>
                  <a:gd name="connsiteY143" fmla="*/ 3395728 h 5037832"/>
                  <a:gd name="connsiteX144" fmla="*/ 692807 w 7286095"/>
                  <a:gd name="connsiteY144" fmla="*/ 2764337 h 5037832"/>
                  <a:gd name="connsiteX145" fmla="*/ 545373 w 7286095"/>
                  <a:gd name="connsiteY145" fmla="*/ 2681658 h 5037832"/>
                  <a:gd name="connsiteX146" fmla="*/ 545373 w 7286095"/>
                  <a:gd name="connsiteY146" fmla="*/ 3308962 h 5037832"/>
                  <a:gd name="connsiteX147" fmla="*/ 403675 w 7286095"/>
                  <a:gd name="connsiteY147" fmla="*/ 3225570 h 5037832"/>
                  <a:gd name="connsiteX148" fmla="*/ 403675 w 7286095"/>
                  <a:gd name="connsiteY148" fmla="*/ 2602197 h 5037832"/>
                  <a:gd name="connsiteX149" fmla="*/ 256241 w 7286095"/>
                  <a:gd name="connsiteY149" fmla="*/ 2519518 h 5037832"/>
                  <a:gd name="connsiteX150" fmla="*/ 256241 w 7286095"/>
                  <a:gd name="connsiteY150" fmla="*/ 3138802 h 5037832"/>
                  <a:gd name="connsiteX151" fmla="*/ 114543 w 7286095"/>
                  <a:gd name="connsiteY151" fmla="*/ 3055410 h 5037832"/>
                  <a:gd name="connsiteX152" fmla="*/ 114543 w 7286095"/>
                  <a:gd name="connsiteY152" fmla="*/ 2440055 h 5037832"/>
                  <a:gd name="connsiteX153" fmla="*/ 0 w 7286095"/>
                  <a:gd name="connsiteY153" fmla="*/ 2375821 h 5037832"/>
                  <a:gd name="connsiteX154" fmla="*/ 0 w 7286095"/>
                  <a:gd name="connsiteY154" fmla="*/ 1946821 h 5037832"/>
                  <a:gd name="connsiteX155" fmla="*/ 5283 w 7286095"/>
                  <a:gd name="connsiteY155" fmla="*/ 1949813 h 5037832"/>
                  <a:gd name="connsiteX156" fmla="*/ 3789789 w 7286095"/>
                  <a:gd name="connsiteY156" fmla="*/ 0 h 5037832"/>
                  <a:gd name="connsiteX0" fmla="*/ 2681855 w 7286095"/>
                  <a:gd name="connsiteY0" fmla="*/ 2147419 h 5037832"/>
                  <a:gd name="connsiteX1" fmla="*/ 2681855 w 7286095"/>
                  <a:gd name="connsiteY1" fmla="*/ 2235525 h 5037832"/>
                  <a:gd name="connsiteX2" fmla="*/ 3672455 w 7286095"/>
                  <a:gd name="connsiteY2" fmla="*/ 2687963 h 5037832"/>
                  <a:gd name="connsiteX3" fmla="*/ 4160611 w 7286095"/>
                  <a:gd name="connsiteY3" fmla="*/ 2428406 h 5037832"/>
                  <a:gd name="connsiteX4" fmla="*/ 4160611 w 7286095"/>
                  <a:gd name="connsiteY4" fmla="*/ 2337919 h 5037832"/>
                  <a:gd name="connsiteX5" fmla="*/ 2681855 w 7286095"/>
                  <a:gd name="connsiteY5" fmla="*/ 2147419 h 5037832"/>
                  <a:gd name="connsiteX6" fmla="*/ 6858354 w 7286095"/>
                  <a:gd name="connsiteY6" fmla="*/ 1929286 h 5037832"/>
                  <a:gd name="connsiteX7" fmla="*/ 3541261 w 7286095"/>
                  <a:gd name="connsiteY7" fmla="*/ 3836527 h 5037832"/>
                  <a:gd name="connsiteX8" fmla="*/ 43626 w 7286095"/>
                  <a:gd name="connsiteY8" fmla="*/ 1971532 h 5037832"/>
                  <a:gd name="connsiteX9" fmla="*/ 3542717 w 7286095"/>
                  <a:gd name="connsiteY9" fmla="*/ 3953437 h 5037832"/>
                  <a:gd name="connsiteX10" fmla="*/ 6858354 w 7286095"/>
                  <a:gd name="connsiteY10" fmla="*/ 1929286 h 5037832"/>
                  <a:gd name="connsiteX11" fmla="*/ 3521642 w 7286095"/>
                  <a:gd name="connsiteY11" fmla="*/ 1748956 h 5037832"/>
                  <a:gd name="connsiteX12" fmla="*/ 3521642 w 7286095"/>
                  <a:gd name="connsiteY12" fmla="*/ 1818013 h 5037832"/>
                  <a:gd name="connsiteX13" fmla="*/ 4445567 w 7286095"/>
                  <a:gd name="connsiteY13" fmla="*/ 2251400 h 5037832"/>
                  <a:gd name="connsiteX14" fmla="*/ 4931342 w 7286095"/>
                  <a:gd name="connsiteY14" fmla="*/ 1989463 h 5037832"/>
                  <a:gd name="connsiteX15" fmla="*/ 4931342 w 7286095"/>
                  <a:gd name="connsiteY15" fmla="*/ 1918025 h 5037832"/>
                  <a:gd name="connsiteX16" fmla="*/ 3521642 w 7286095"/>
                  <a:gd name="connsiteY16" fmla="*/ 1748956 h 5037832"/>
                  <a:gd name="connsiteX17" fmla="*/ 1567430 w 7286095"/>
                  <a:gd name="connsiteY17" fmla="*/ 1621163 h 5037832"/>
                  <a:gd name="connsiteX18" fmla="*/ 1567430 w 7286095"/>
                  <a:gd name="connsiteY18" fmla="*/ 1704506 h 5037832"/>
                  <a:gd name="connsiteX19" fmla="*/ 2548505 w 7286095"/>
                  <a:gd name="connsiteY19" fmla="*/ 2147419 h 5037832"/>
                  <a:gd name="connsiteX20" fmla="*/ 3046186 w 7286095"/>
                  <a:gd name="connsiteY20" fmla="*/ 1887863 h 5037832"/>
                  <a:gd name="connsiteX21" fmla="*/ 3046186 w 7286095"/>
                  <a:gd name="connsiteY21" fmla="*/ 1809281 h 5037832"/>
                  <a:gd name="connsiteX22" fmla="*/ 1567430 w 7286095"/>
                  <a:gd name="connsiteY22" fmla="*/ 1621163 h 5037832"/>
                  <a:gd name="connsiteX23" fmla="*/ 6182457 w 7286095"/>
                  <a:gd name="connsiteY23" fmla="*/ 1573175 h 5037832"/>
                  <a:gd name="connsiteX24" fmla="*/ 3609060 w 7286095"/>
                  <a:gd name="connsiteY24" fmla="*/ 2987154 h 5037832"/>
                  <a:gd name="connsiteX25" fmla="*/ 1179754 w 7286095"/>
                  <a:gd name="connsiteY25" fmla="*/ 1713292 h 5037832"/>
                  <a:gd name="connsiteX26" fmla="*/ 1179754 w 7286095"/>
                  <a:gd name="connsiteY26" fmla="*/ 1874168 h 5037832"/>
                  <a:gd name="connsiteX27" fmla="*/ 3598688 w 7286095"/>
                  <a:gd name="connsiteY27" fmla="*/ 3163595 h 5037832"/>
                  <a:gd name="connsiteX28" fmla="*/ 6182457 w 7286095"/>
                  <a:gd name="connsiteY28" fmla="*/ 1687345 h 5037832"/>
                  <a:gd name="connsiteX29" fmla="*/ 6182457 w 7286095"/>
                  <a:gd name="connsiteY29" fmla="*/ 1573175 h 5037832"/>
                  <a:gd name="connsiteX30" fmla="*/ 4326505 w 7286095"/>
                  <a:gd name="connsiteY30" fmla="*/ 1372719 h 5037832"/>
                  <a:gd name="connsiteX31" fmla="*/ 4326505 w 7286095"/>
                  <a:gd name="connsiteY31" fmla="*/ 1432250 h 5037832"/>
                  <a:gd name="connsiteX32" fmla="*/ 5226617 w 7286095"/>
                  <a:gd name="connsiteY32" fmla="*/ 1837063 h 5037832"/>
                  <a:gd name="connsiteX33" fmla="*/ 5712392 w 7286095"/>
                  <a:gd name="connsiteY33" fmla="*/ 1577506 h 5037832"/>
                  <a:gd name="connsiteX34" fmla="*/ 5712392 w 7286095"/>
                  <a:gd name="connsiteY34" fmla="*/ 1520356 h 5037832"/>
                  <a:gd name="connsiteX35" fmla="*/ 4326505 w 7286095"/>
                  <a:gd name="connsiteY35" fmla="*/ 1372719 h 5037832"/>
                  <a:gd name="connsiteX36" fmla="*/ 2442936 w 7286095"/>
                  <a:gd name="connsiteY36" fmla="*/ 1241750 h 5037832"/>
                  <a:gd name="connsiteX37" fmla="*/ 2442936 w 7286095"/>
                  <a:gd name="connsiteY37" fmla="*/ 1306044 h 5037832"/>
                  <a:gd name="connsiteX38" fmla="*/ 3371623 w 7286095"/>
                  <a:gd name="connsiteY38" fmla="*/ 1739431 h 5037832"/>
                  <a:gd name="connsiteX39" fmla="*/ 3847873 w 7286095"/>
                  <a:gd name="connsiteY39" fmla="*/ 1475113 h 5037832"/>
                  <a:gd name="connsiteX40" fmla="*/ 3847873 w 7286095"/>
                  <a:gd name="connsiteY40" fmla="*/ 1410819 h 5037832"/>
                  <a:gd name="connsiteX41" fmla="*/ 2442936 w 7286095"/>
                  <a:gd name="connsiteY41" fmla="*/ 1241750 h 5037832"/>
                  <a:gd name="connsiteX42" fmla="*/ 3259705 w 7286095"/>
                  <a:gd name="connsiteY42" fmla="*/ 875038 h 5037832"/>
                  <a:gd name="connsiteX43" fmla="*/ 3257324 w 7286095"/>
                  <a:gd name="connsiteY43" fmla="*/ 934569 h 5037832"/>
                  <a:gd name="connsiteX44" fmla="*/ 4157436 w 7286095"/>
                  <a:gd name="connsiteY44" fmla="*/ 1348906 h 5037832"/>
                  <a:gd name="connsiteX45" fmla="*/ 4647973 w 7286095"/>
                  <a:gd name="connsiteY45" fmla="*/ 1086969 h 5037832"/>
                  <a:gd name="connsiteX46" fmla="*/ 4647973 w 7286095"/>
                  <a:gd name="connsiteY46" fmla="*/ 1017913 h 5037832"/>
                  <a:gd name="connsiteX47" fmla="*/ 3259705 w 7286095"/>
                  <a:gd name="connsiteY47" fmla="*/ 875038 h 5037832"/>
                  <a:gd name="connsiteX48" fmla="*/ 3826413 w 7286095"/>
                  <a:gd name="connsiteY48" fmla="*/ 369202 h 5037832"/>
                  <a:gd name="connsiteX49" fmla="*/ 1662381 w 7286095"/>
                  <a:gd name="connsiteY49" fmla="*/ 1469382 h 5037832"/>
                  <a:gd name="connsiteX50" fmla="*/ 3821224 w 7286095"/>
                  <a:gd name="connsiteY50" fmla="*/ 426288 h 5037832"/>
                  <a:gd name="connsiteX51" fmla="*/ 5513009 w 7286095"/>
                  <a:gd name="connsiteY51" fmla="*/ 1225474 h 5037832"/>
                  <a:gd name="connsiteX52" fmla="*/ 3826413 w 7286095"/>
                  <a:gd name="connsiteY52" fmla="*/ 369202 h 5037832"/>
                  <a:gd name="connsiteX53" fmla="*/ 3789789 w 7286095"/>
                  <a:gd name="connsiteY53" fmla="*/ 0 h 5037832"/>
                  <a:gd name="connsiteX54" fmla="*/ 7284571 w 7286095"/>
                  <a:gd name="connsiteY54" fmla="*/ 1684220 h 5037832"/>
                  <a:gd name="connsiteX55" fmla="*/ 7286095 w 7286095"/>
                  <a:gd name="connsiteY55" fmla="*/ 2057530 h 5037832"/>
                  <a:gd name="connsiteX56" fmla="*/ 7154815 w 7286095"/>
                  <a:gd name="connsiteY56" fmla="*/ 2137797 h 5037832"/>
                  <a:gd name="connsiteX57" fmla="*/ 7154815 w 7286095"/>
                  <a:gd name="connsiteY57" fmla="*/ 2835810 h 5037832"/>
                  <a:gd name="connsiteX58" fmla="*/ 7013117 w 7286095"/>
                  <a:gd name="connsiteY58" fmla="*/ 2924661 h 5037832"/>
                  <a:gd name="connsiteX59" fmla="*/ 7013117 w 7286095"/>
                  <a:gd name="connsiteY59" fmla="*/ 2224434 h 5037832"/>
                  <a:gd name="connsiteX60" fmla="*/ 6848443 w 7286095"/>
                  <a:gd name="connsiteY60" fmla="*/ 2325119 h 5037832"/>
                  <a:gd name="connsiteX61" fmla="*/ 6848443 w 7286095"/>
                  <a:gd name="connsiteY61" fmla="*/ 3027918 h 5037832"/>
                  <a:gd name="connsiteX62" fmla="*/ 6706745 w 7286095"/>
                  <a:gd name="connsiteY62" fmla="*/ 3116769 h 5037832"/>
                  <a:gd name="connsiteX63" fmla="*/ 6706745 w 7286095"/>
                  <a:gd name="connsiteY63" fmla="*/ 2411756 h 5037832"/>
                  <a:gd name="connsiteX64" fmla="*/ 6542073 w 7286095"/>
                  <a:gd name="connsiteY64" fmla="*/ 2512439 h 5037832"/>
                  <a:gd name="connsiteX65" fmla="*/ 6542073 w 7286095"/>
                  <a:gd name="connsiteY65" fmla="*/ 3220024 h 5037832"/>
                  <a:gd name="connsiteX66" fmla="*/ 6400375 w 7286095"/>
                  <a:gd name="connsiteY66" fmla="*/ 3308875 h 5037832"/>
                  <a:gd name="connsiteX67" fmla="*/ 6400375 w 7286095"/>
                  <a:gd name="connsiteY67" fmla="*/ 2599076 h 5037832"/>
                  <a:gd name="connsiteX68" fmla="*/ 6235703 w 7286095"/>
                  <a:gd name="connsiteY68" fmla="*/ 2699759 h 5037832"/>
                  <a:gd name="connsiteX69" fmla="*/ 6235703 w 7286095"/>
                  <a:gd name="connsiteY69" fmla="*/ 3412131 h 5037832"/>
                  <a:gd name="connsiteX70" fmla="*/ 6094005 w 7286095"/>
                  <a:gd name="connsiteY70" fmla="*/ 3500981 h 5037832"/>
                  <a:gd name="connsiteX71" fmla="*/ 6094005 w 7286095"/>
                  <a:gd name="connsiteY71" fmla="*/ 2786396 h 5037832"/>
                  <a:gd name="connsiteX72" fmla="*/ 5929332 w 7286095"/>
                  <a:gd name="connsiteY72" fmla="*/ 2887081 h 5037832"/>
                  <a:gd name="connsiteX73" fmla="*/ 5929332 w 7286095"/>
                  <a:gd name="connsiteY73" fmla="*/ 3604237 h 5037832"/>
                  <a:gd name="connsiteX74" fmla="*/ 5787635 w 7286095"/>
                  <a:gd name="connsiteY74" fmla="*/ 3693086 h 5037832"/>
                  <a:gd name="connsiteX75" fmla="*/ 5787635 w 7286095"/>
                  <a:gd name="connsiteY75" fmla="*/ 2973716 h 5037832"/>
                  <a:gd name="connsiteX76" fmla="*/ 5622962 w 7286095"/>
                  <a:gd name="connsiteY76" fmla="*/ 3074401 h 5037832"/>
                  <a:gd name="connsiteX77" fmla="*/ 5622962 w 7286095"/>
                  <a:gd name="connsiteY77" fmla="*/ 3796343 h 5037832"/>
                  <a:gd name="connsiteX78" fmla="*/ 5481265 w 7286095"/>
                  <a:gd name="connsiteY78" fmla="*/ 3885194 h 5037832"/>
                  <a:gd name="connsiteX79" fmla="*/ 5481265 w 7286095"/>
                  <a:gd name="connsiteY79" fmla="*/ 3161036 h 5037832"/>
                  <a:gd name="connsiteX80" fmla="*/ 5316592 w 7286095"/>
                  <a:gd name="connsiteY80" fmla="*/ 3261721 h 5037832"/>
                  <a:gd name="connsiteX81" fmla="*/ 5316592 w 7286095"/>
                  <a:gd name="connsiteY81" fmla="*/ 3988448 h 5037832"/>
                  <a:gd name="connsiteX82" fmla="*/ 5174895 w 7286095"/>
                  <a:gd name="connsiteY82" fmla="*/ 4077300 h 5037832"/>
                  <a:gd name="connsiteX83" fmla="*/ 5174895 w 7286095"/>
                  <a:gd name="connsiteY83" fmla="*/ 3348358 h 5037832"/>
                  <a:gd name="connsiteX84" fmla="*/ 5010222 w 7286095"/>
                  <a:gd name="connsiteY84" fmla="*/ 3449041 h 5037832"/>
                  <a:gd name="connsiteX85" fmla="*/ 5010222 w 7286095"/>
                  <a:gd name="connsiteY85" fmla="*/ 4180556 h 5037832"/>
                  <a:gd name="connsiteX86" fmla="*/ 4868525 w 7286095"/>
                  <a:gd name="connsiteY86" fmla="*/ 4269405 h 5037832"/>
                  <a:gd name="connsiteX87" fmla="*/ 4868525 w 7286095"/>
                  <a:gd name="connsiteY87" fmla="*/ 3535678 h 5037832"/>
                  <a:gd name="connsiteX88" fmla="*/ 4703852 w 7286095"/>
                  <a:gd name="connsiteY88" fmla="*/ 3636360 h 5037832"/>
                  <a:gd name="connsiteX89" fmla="*/ 4703852 w 7286095"/>
                  <a:gd name="connsiteY89" fmla="*/ 4372662 h 5037832"/>
                  <a:gd name="connsiteX90" fmla="*/ 4562155 w 7286095"/>
                  <a:gd name="connsiteY90" fmla="*/ 4461513 h 5037832"/>
                  <a:gd name="connsiteX91" fmla="*/ 4562155 w 7286095"/>
                  <a:gd name="connsiteY91" fmla="*/ 3722997 h 5037832"/>
                  <a:gd name="connsiteX92" fmla="*/ 4397482 w 7286095"/>
                  <a:gd name="connsiteY92" fmla="*/ 3823680 h 5037832"/>
                  <a:gd name="connsiteX93" fmla="*/ 4397482 w 7286095"/>
                  <a:gd name="connsiteY93" fmla="*/ 4564768 h 5037832"/>
                  <a:gd name="connsiteX94" fmla="*/ 4255785 w 7286095"/>
                  <a:gd name="connsiteY94" fmla="*/ 4653619 h 5037832"/>
                  <a:gd name="connsiteX95" fmla="*/ 4255785 w 7286095"/>
                  <a:gd name="connsiteY95" fmla="*/ 3910317 h 5037832"/>
                  <a:gd name="connsiteX96" fmla="*/ 4091112 w 7286095"/>
                  <a:gd name="connsiteY96" fmla="*/ 4011000 h 5037832"/>
                  <a:gd name="connsiteX97" fmla="*/ 4091112 w 7286095"/>
                  <a:gd name="connsiteY97" fmla="*/ 4756875 h 5037832"/>
                  <a:gd name="connsiteX98" fmla="*/ 3949414 w 7286095"/>
                  <a:gd name="connsiteY98" fmla="*/ 4845724 h 5037832"/>
                  <a:gd name="connsiteX99" fmla="*/ 3949414 w 7286095"/>
                  <a:gd name="connsiteY99" fmla="*/ 4097637 h 5037832"/>
                  <a:gd name="connsiteX100" fmla="*/ 3784742 w 7286095"/>
                  <a:gd name="connsiteY100" fmla="*/ 4198322 h 5037832"/>
                  <a:gd name="connsiteX101" fmla="*/ 3784742 w 7286095"/>
                  <a:gd name="connsiteY101" fmla="*/ 4948981 h 5037832"/>
                  <a:gd name="connsiteX102" fmla="*/ 3643044 w 7286095"/>
                  <a:gd name="connsiteY102" fmla="*/ 5037832 h 5037832"/>
                  <a:gd name="connsiteX103" fmla="*/ 3643044 w 7286095"/>
                  <a:gd name="connsiteY103" fmla="*/ 4284957 h 5037832"/>
                  <a:gd name="connsiteX104" fmla="*/ 3528878 w 7286095"/>
                  <a:gd name="connsiteY104" fmla="*/ 4354761 h 5037832"/>
                  <a:gd name="connsiteX105" fmla="*/ 3436697 w 7286095"/>
                  <a:gd name="connsiteY105" fmla="*/ 4303067 h 5037832"/>
                  <a:gd name="connsiteX106" fmla="*/ 3436697 w 7286095"/>
                  <a:gd name="connsiteY106" fmla="*/ 5010554 h 5037832"/>
                  <a:gd name="connsiteX107" fmla="*/ 3294999 w 7286095"/>
                  <a:gd name="connsiteY107" fmla="*/ 4927162 h 5037832"/>
                  <a:gd name="connsiteX108" fmla="*/ 3294999 w 7286095"/>
                  <a:gd name="connsiteY108" fmla="*/ 4223605 h 5037832"/>
                  <a:gd name="connsiteX109" fmla="*/ 3147557 w 7286095"/>
                  <a:gd name="connsiteY109" fmla="*/ 4140923 h 5037832"/>
                  <a:gd name="connsiteX110" fmla="*/ 3147557 w 7286095"/>
                  <a:gd name="connsiteY110" fmla="*/ 4840389 h 5037832"/>
                  <a:gd name="connsiteX111" fmla="*/ 3005859 w 7286095"/>
                  <a:gd name="connsiteY111" fmla="*/ 4757000 h 5037832"/>
                  <a:gd name="connsiteX112" fmla="*/ 3005859 w 7286095"/>
                  <a:gd name="connsiteY112" fmla="*/ 4061460 h 5037832"/>
                  <a:gd name="connsiteX113" fmla="*/ 2858425 w 7286095"/>
                  <a:gd name="connsiteY113" fmla="*/ 3978781 h 5037832"/>
                  <a:gd name="connsiteX114" fmla="*/ 2858425 w 7286095"/>
                  <a:gd name="connsiteY114" fmla="*/ 4670232 h 5037832"/>
                  <a:gd name="connsiteX115" fmla="*/ 2716727 w 7286095"/>
                  <a:gd name="connsiteY115" fmla="*/ 4586840 h 5037832"/>
                  <a:gd name="connsiteX116" fmla="*/ 2716727 w 7286095"/>
                  <a:gd name="connsiteY116" fmla="*/ 3899320 h 5037832"/>
                  <a:gd name="connsiteX117" fmla="*/ 2569294 w 7286095"/>
                  <a:gd name="connsiteY117" fmla="*/ 3816641 h 5037832"/>
                  <a:gd name="connsiteX118" fmla="*/ 2569294 w 7286095"/>
                  <a:gd name="connsiteY118" fmla="*/ 4500072 h 5037832"/>
                  <a:gd name="connsiteX119" fmla="*/ 2427596 w 7286095"/>
                  <a:gd name="connsiteY119" fmla="*/ 4416680 h 5037832"/>
                  <a:gd name="connsiteX120" fmla="*/ 2427596 w 7286095"/>
                  <a:gd name="connsiteY120" fmla="*/ 3737178 h 5037832"/>
                  <a:gd name="connsiteX121" fmla="*/ 2280162 w 7286095"/>
                  <a:gd name="connsiteY121" fmla="*/ 3654501 h 5037832"/>
                  <a:gd name="connsiteX122" fmla="*/ 2280162 w 7286095"/>
                  <a:gd name="connsiteY122" fmla="*/ 4329914 h 5037832"/>
                  <a:gd name="connsiteX123" fmla="*/ 2138464 w 7286095"/>
                  <a:gd name="connsiteY123" fmla="*/ 4246522 h 5037832"/>
                  <a:gd name="connsiteX124" fmla="*/ 2138464 w 7286095"/>
                  <a:gd name="connsiteY124" fmla="*/ 3575038 h 5037832"/>
                  <a:gd name="connsiteX125" fmla="*/ 1991031 w 7286095"/>
                  <a:gd name="connsiteY125" fmla="*/ 3492361 h 5037832"/>
                  <a:gd name="connsiteX126" fmla="*/ 1991031 w 7286095"/>
                  <a:gd name="connsiteY126" fmla="*/ 4159755 h 5037832"/>
                  <a:gd name="connsiteX127" fmla="*/ 1849333 w 7286095"/>
                  <a:gd name="connsiteY127" fmla="*/ 4076363 h 5037832"/>
                  <a:gd name="connsiteX128" fmla="*/ 1849333 w 7286095"/>
                  <a:gd name="connsiteY128" fmla="*/ 3412899 h 5037832"/>
                  <a:gd name="connsiteX129" fmla="*/ 1701899 w 7286095"/>
                  <a:gd name="connsiteY129" fmla="*/ 3330219 h 5037832"/>
                  <a:gd name="connsiteX130" fmla="*/ 1701899 w 7286095"/>
                  <a:gd name="connsiteY130" fmla="*/ 3989597 h 5037832"/>
                  <a:gd name="connsiteX131" fmla="*/ 1560201 w 7286095"/>
                  <a:gd name="connsiteY131" fmla="*/ 3906205 h 5037832"/>
                  <a:gd name="connsiteX132" fmla="*/ 1560201 w 7286095"/>
                  <a:gd name="connsiteY132" fmla="*/ 3250759 h 5037832"/>
                  <a:gd name="connsiteX133" fmla="*/ 1412767 w 7286095"/>
                  <a:gd name="connsiteY133" fmla="*/ 3168079 h 5037832"/>
                  <a:gd name="connsiteX134" fmla="*/ 1412767 w 7286095"/>
                  <a:gd name="connsiteY134" fmla="*/ 3819437 h 5037832"/>
                  <a:gd name="connsiteX135" fmla="*/ 1271070 w 7286095"/>
                  <a:gd name="connsiteY135" fmla="*/ 3736045 h 5037832"/>
                  <a:gd name="connsiteX136" fmla="*/ 1271070 w 7286095"/>
                  <a:gd name="connsiteY136" fmla="*/ 3088617 h 5037832"/>
                  <a:gd name="connsiteX137" fmla="*/ 1123636 w 7286095"/>
                  <a:gd name="connsiteY137" fmla="*/ 3005939 h 5037832"/>
                  <a:gd name="connsiteX138" fmla="*/ 1123636 w 7286095"/>
                  <a:gd name="connsiteY138" fmla="*/ 3649279 h 5037832"/>
                  <a:gd name="connsiteX139" fmla="*/ 981938 w 7286095"/>
                  <a:gd name="connsiteY139" fmla="*/ 3565887 h 5037832"/>
                  <a:gd name="connsiteX140" fmla="*/ 981938 w 7286095"/>
                  <a:gd name="connsiteY140" fmla="*/ 2926477 h 5037832"/>
                  <a:gd name="connsiteX141" fmla="*/ 834504 w 7286095"/>
                  <a:gd name="connsiteY141" fmla="*/ 2843800 h 5037832"/>
                  <a:gd name="connsiteX142" fmla="*/ 834504 w 7286095"/>
                  <a:gd name="connsiteY142" fmla="*/ 3479120 h 5037832"/>
                  <a:gd name="connsiteX143" fmla="*/ 692807 w 7286095"/>
                  <a:gd name="connsiteY143" fmla="*/ 3395728 h 5037832"/>
                  <a:gd name="connsiteX144" fmla="*/ 692807 w 7286095"/>
                  <a:gd name="connsiteY144" fmla="*/ 2764337 h 5037832"/>
                  <a:gd name="connsiteX145" fmla="*/ 545373 w 7286095"/>
                  <a:gd name="connsiteY145" fmla="*/ 2681658 h 5037832"/>
                  <a:gd name="connsiteX146" fmla="*/ 545373 w 7286095"/>
                  <a:gd name="connsiteY146" fmla="*/ 3308962 h 5037832"/>
                  <a:gd name="connsiteX147" fmla="*/ 403675 w 7286095"/>
                  <a:gd name="connsiteY147" fmla="*/ 3225570 h 5037832"/>
                  <a:gd name="connsiteX148" fmla="*/ 403675 w 7286095"/>
                  <a:gd name="connsiteY148" fmla="*/ 2602197 h 5037832"/>
                  <a:gd name="connsiteX149" fmla="*/ 256241 w 7286095"/>
                  <a:gd name="connsiteY149" fmla="*/ 2519518 h 5037832"/>
                  <a:gd name="connsiteX150" fmla="*/ 256241 w 7286095"/>
                  <a:gd name="connsiteY150" fmla="*/ 3138802 h 5037832"/>
                  <a:gd name="connsiteX151" fmla="*/ 114543 w 7286095"/>
                  <a:gd name="connsiteY151" fmla="*/ 3055410 h 5037832"/>
                  <a:gd name="connsiteX152" fmla="*/ 114543 w 7286095"/>
                  <a:gd name="connsiteY152" fmla="*/ 2440055 h 5037832"/>
                  <a:gd name="connsiteX153" fmla="*/ 0 w 7286095"/>
                  <a:gd name="connsiteY153" fmla="*/ 2375821 h 5037832"/>
                  <a:gd name="connsiteX154" fmla="*/ 0 w 7286095"/>
                  <a:gd name="connsiteY154" fmla="*/ 1946821 h 5037832"/>
                  <a:gd name="connsiteX155" fmla="*/ 5283 w 7286095"/>
                  <a:gd name="connsiteY155" fmla="*/ 1949813 h 5037832"/>
                  <a:gd name="connsiteX156" fmla="*/ 3789789 w 7286095"/>
                  <a:gd name="connsiteY156" fmla="*/ 0 h 5037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Lst>
                <a:rect l="l" t="t" r="r" b="b"/>
                <a:pathLst>
                  <a:path w="7286095" h="5037832">
                    <a:moveTo>
                      <a:pt x="2681855" y="2147419"/>
                    </a:moveTo>
                    <a:lnTo>
                      <a:pt x="2681855" y="2235525"/>
                    </a:lnTo>
                    <a:lnTo>
                      <a:pt x="3672455" y="2687963"/>
                    </a:lnTo>
                    <a:lnTo>
                      <a:pt x="4160611" y="2428406"/>
                    </a:lnTo>
                    <a:lnTo>
                      <a:pt x="4160611" y="2337919"/>
                    </a:lnTo>
                    <a:lnTo>
                      <a:pt x="2681855" y="2147419"/>
                    </a:lnTo>
                    <a:close/>
                    <a:moveTo>
                      <a:pt x="6858354" y="1929286"/>
                    </a:moveTo>
                    <a:lnTo>
                      <a:pt x="3541261" y="3836527"/>
                    </a:lnTo>
                    <a:lnTo>
                      <a:pt x="43626" y="1971532"/>
                    </a:lnTo>
                    <a:lnTo>
                      <a:pt x="3542717" y="3953437"/>
                    </a:lnTo>
                    <a:lnTo>
                      <a:pt x="6858354" y="1929286"/>
                    </a:lnTo>
                    <a:close/>
                    <a:moveTo>
                      <a:pt x="3521642" y="1748956"/>
                    </a:moveTo>
                    <a:lnTo>
                      <a:pt x="3521642" y="1818013"/>
                    </a:lnTo>
                    <a:lnTo>
                      <a:pt x="4445567" y="2251400"/>
                    </a:lnTo>
                    <a:lnTo>
                      <a:pt x="4931342" y="1989463"/>
                    </a:lnTo>
                    <a:lnTo>
                      <a:pt x="4931342" y="1918025"/>
                    </a:lnTo>
                    <a:lnTo>
                      <a:pt x="3521642" y="1748956"/>
                    </a:lnTo>
                    <a:close/>
                    <a:moveTo>
                      <a:pt x="1567430" y="1621163"/>
                    </a:moveTo>
                    <a:lnTo>
                      <a:pt x="1567430" y="1704506"/>
                    </a:lnTo>
                    <a:lnTo>
                      <a:pt x="2548505" y="2147419"/>
                    </a:lnTo>
                    <a:lnTo>
                      <a:pt x="3046186" y="1887863"/>
                    </a:lnTo>
                    <a:lnTo>
                      <a:pt x="3046186" y="1809281"/>
                    </a:lnTo>
                    <a:lnTo>
                      <a:pt x="1567430" y="1621163"/>
                    </a:lnTo>
                    <a:close/>
                    <a:moveTo>
                      <a:pt x="6182457" y="1573175"/>
                    </a:moveTo>
                    <a:lnTo>
                      <a:pt x="3609060" y="2987154"/>
                    </a:lnTo>
                    <a:lnTo>
                      <a:pt x="1179754" y="1713292"/>
                    </a:lnTo>
                    <a:lnTo>
                      <a:pt x="1179754" y="1874168"/>
                    </a:lnTo>
                    <a:lnTo>
                      <a:pt x="3598688" y="3163595"/>
                    </a:lnTo>
                    <a:cubicBezTo>
                      <a:pt x="4467069" y="2699997"/>
                      <a:pt x="5314076" y="2150943"/>
                      <a:pt x="6182457" y="1687345"/>
                    </a:cubicBezTo>
                    <a:lnTo>
                      <a:pt x="6182457" y="1573175"/>
                    </a:lnTo>
                    <a:close/>
                    <a:moveTo>
                      <a:pt x="4326505" y="1372719"/>
                    </a:moveTo>
                    <a:lnTo>
                      <a:pt x="4326505" y="1432250"/>
                    </a:lnTo>
                    <a:lnTo>
                      <a:pt x="5226617" y="1837063"/>
                    </a:lnTo>
                    <a:lnTo>
                      <a:pt x="5712392" y="1577506"/>
                    </a:lnTo>
                    <a:lnTo>
                      <a:pt x="5712392" y="1520356"/>
                    </a:lnTo>
                    <a:lnTo>
                      <a:pt x="4326505" y="1372719"/>
                    </a:lnTo>
                    <a:close/>
                    <a:moveTo>
                      <a:pt x="2442936" y="1241750"/>
                    </a:moveTo>
                    <a:lnTo>
                      <a:pt x="2442936" y="1306044"/>
                    </a:lnTo>
                    <a:lnTo>
                      <a:pt x="3371623" y="1739431"/>
                    </a:lnTo>
                    <a:lnTo>
                      <a:pt x="3847873" y="1475113"/>
                    </a:lnTo>
                    <a:lnTo>
                      <a:pt x="3847873" y="1410819"/>
                    </a:lnTo>
                    <a:lnTo>
                      <a:pt x="2442936" y="1241750"/>
                    </a:lnTo>
                    <a:close/>
                    <a:moveTo>
                      <a:pt x="3259705" y="875038"/>
                    </a:moveTo>
                    <a:cubicBezTo>
                      <a:pt x="3258911" y="894882"/>
                      <a:pt x="3258118" y="914725"/>
                      <a:pt x="3257324" y="934569"/>
                    </a:cubicBezTo>
                    <a:lnTo>
                      <a:pt x="4157436" y="1348906"/>
                    </a:lnTo>
                    <a:lnTo>
                      <a:pt x="4647973" y="1086969"/>
                    </a:lnTo>
                    <a:lnTo>
                      <a:pt x="4647973" y="1017913"/>
                    </a:lnTo>
                    <a:lnTo>
                      <a:pt x="3259705" y="875038"/>
                    </a:lnTo>
                    <a:close/>
                    <a:moveTo>
                      <a:pt x="3826413" y="369202"/>
                    </a:moveTo>
                    <a:lnTo>
                      <a:pt x="1662381" y="1469382"/>
                    </a:lnTo>
                    <a:lnTo>
                      <a:pt x="3821224" y="426288"/>
                    </a:lnTo>
                    <a:lnTo>
                      <a:pt x="5513009" y="1225474"/>
                    </a:lnTo>
                    <a:lnTo>
                      <a:pt x="3826413" y="369202"/>
                    </a:lnTo>
                    <a:close/>
                    <a:moveTo>
                      <a:pt x="3789789" y="0"/>
                    </a:moveTo>
                    <a:lnTo>
                      <a:pt x="7284571" y="1684220"/>
                    </a:lnTo>
                    <a:cubicBezTo>
                      <a:pt x="7287385" y="1808658"/>
                      <a:pt x="7283281" y="1933093"/>
                      <a:pt x="7286095" y="2057530"/>
                    </a:cubicBezTo>
                    <a:lnTo>
                      <a:pt x="7154815" y="2137797"/>
                    </a:lnTo>
                    <a:lnTo>
                      <a:pt x="7154815" y="2835810"/>
                    </a:lnTo>
                    <a:lnTo>
                      <a:pt x="7013117" y="2924661"/>
                    </a:lnTo>
                    <a:lnTo>
                      <a:pt x="7013117" y="2224434"/>
                    </a:lnTo>
                    <a:lnTo>
                      <a:pt x="6848443" y="2325119"/>
                    </a:lnTo>
                    <a:lnTo>
                      <a:pt x="6848443" y="3027918"/>
                    </a:lnTo>
                    <a:lnTo>
                      <a:pt x="6706745" y="3116769"/>
                    </a:lnTo>
                    <a:lnTo>
                      <a:pt x="6706745" y="2411756"/>
                    </a:lnTo>
                    <a:lnTo>
                      <a:pt x="6542073" y="2512439"/>
                    </a:lnTo>
                    <a:lnTo>
                      <a:pt x="6542073" y="3220024"/>
                    </a:lnTo>
                    <a:lnTo>
                      <a:pt x="6400375" y="3308875"/>
                    </a:lnTo>
                    <a:lnTo>
                      <a:pt x="6400375" y="2599076"/>
                    </a:lnTo>
                    <a:lnTo>
                      <a:pt x="6235703" y="2699759"/>
                    </a:lnTo>
                    <a:lnTo>
                      <a:pt x="6235703" y="3412131"/>
                    </a:lnTo>
                    <a:lnTo>
                      <a:pt x="6094005" y="3500981"/>
                    </a:lnTo>
                    <a:lnTo>
                      <a:pt x="6094005" y="2786396"/>
                    </a:lnTo>
                    <a:lnTo>
                      <a:pt x="5929332" y="2887081"/>
                    </a:lnTo>
                    <a:lnTo>
                      <a:pt x="5929332" y="3604237"/>
                    </a:lnTo>
                    <a:lnTo>
                      <a:pt x="5787635" y="3693086"/>
                    </a:lnTo>
                    <a:lnTo>
                      <a:pt x="5787635" y="2973716"/>
                    </a:lnTo>
                    <a:lnTo>
                      <a:pt x="5622962" y="3074401"/>
                    </a:lnTo>
                    <a:lnTo>
                      <a:pt x="5622962" y="3796343"/>
                    </a:lnTo>
                    <a:lnTo>
                      <a:pt x="5481265" y="3885194"/>
                    </a:lnTo>
                    <a:lnTo>
                      <a:pt x="5481265" y="3161036"/>
                    </a:lnTo>
                    <a:lnTo>
                      <a:pt x="5316592" y="3261721"/>
                    </a:lnTo>
                    <a:lnTo>
                      <a:pt x="5316592" y="3988448"/>
                    </a:lnTo>
                    <a:lnTo>
                      <a:pt x="5174895" y="4077300"/>
                    </a:lnTo>
                    <a:lnTo>
                      <a:pt x="5174895" y="3348358"/>
                    </a:lnTo>
                    <a:lnTo>
                      <a:pt x="5010222" y="3449041"/>
                    </a:lnTo>
                    <a:lnTo>
                      <a:pt x="5010222" y="4180556"/>
                    </a:lnTo>
                    <a:lnTo>
                      <a:pt x="4868525" y="4269405"/>
                    </a:lnTo>
                    <a:lnTo>
                      <a:pt x="4868525" y="3535678"/>
                    </a:lnTo>
                    <a:lnTo>
                      <a:pt x="4703852" y="3636360"/>
                    </a:lnTo>
                    <a:lnTo>
                      <a:pt x="4703852" y="4372662"/>
                    </a:lnTo>
                    <a:lnTo>
                      <a:pt x="4562155" y="4461513"/>
                    </a:lnTo>
                    <a:lnTo>
                      <a:pt x="4562155" y="3722997"/>
                    </a:lnTo>
                    <a:lnTo>
                      <a:pt x="4397482" y="3823680"/>
                    </a:lnTo>
                    <a:lnTo>
                      <a:pt x="4397482" y="4564768"/>
                    </a:lnTo>
                    <a:lnTo>
                      <a:pt x="4255785" y="4653619"/>
                    </a:lnTo>
                    <a:lnTo>
                      <a:pt x="4255785" y="3910317"/>
                    </a:lnTo>
                    <a:lnTo>
                      <a:pt x="4091112" y="4011000"/>
                    </a:lnTo>
                    <a:lnTo>
                      <a:pt x="4091112" y="4756875"/>
                    </a:lnTo>
                    <a:lnTo>
                      <a:pt x="3949414" y="4845724"/>
                    </a:lnTo>
                    <a:lnTo>
                      <a:pt x="3949414" y="4097637"/>
                    </a:lnTo>
                    <a:lnTo>
                      <a:pt x="3784742" y="4198322"/>
                    </a:lnTo>
                    <a:lnTo>
                      <a:pt x="3784742" y="4948981"/>
                    </a:lnTo>
                    <a:lnTo>
                      <a:pt x="3643044" y="5037832"/>
                    </a:lnTo>
                    <a:lnTo>
                      <a:pt x="3643044" y="4284957"/>
                    </a:lnTo>
                    <a:lnTo>
                      <a:pt x="3528878" y="4354761"/>
                    </a:lnTo>
                    <a:lnTo>
                      <a:pt x="3436697" y="4303067"/>
                    </a:lnTo>
                    <a:lnTo>
                      <a:pt x="3436697" y="5010554"/>
                    </a:lnTo>
                    <a:lnTo>
                      <a:pt x="3294999" y="4927162"/>
                    </a:lnTo>
                    <a:lnTo>
                      <a:pt x="3294999" y="4223605"/>
                    </a:lnTo>
                    <a:lnTo>
                      <a:pt x="3147557" y="4140923"/>
                    </a:lnTo>
                    <a:lnTo>
                      <a:pt x="3147557" y="4840389"/>
                    </a:lnTo>
                    <a:lnTo>
                      <a:pt x="3005859" y="4757000"/>
                    </a:lnTo>
                    <a:lnTo>
                      <a:pt x="3005859" y="4061460"/>
                    </a:lnTo>
                    <a:lnTo>
                      <a:pt x="2858425" y="3978781"/>
                    </a:lnTo>
                    <a:lnTo>
                      <a:pt x="2858425" y="4670232"/>
                    </a:lnTo>
                    <a:lnTo>
                      <a:pt x="2716727" y="4586840"/>
                    </a:lnTo>
                    <a:lnTo>
                      <a:pt x="2716727" y="3899320"/>
                    </a:lnTo>
                    <a:lnTo>
                      <a:pt x="2569294" y="3816641"/>
                    </a:lnTo>
                    <a:lnTo>
                      <a:pt x="2569294" y="4500072"/>
                    </a:lnTo>
                    <a:lnTo>
                      <a:pt x="2427596" y="4416680"/>
                    </a:lnTo>
                    <a:lnTo>
                      <a:pt x="2427596" y="3737178"/>
                    </a:lnTo>
                    <a:lnTo>
                      <a:pt x="2280162" y="3654501"/>
                    </a:lnTo>
                    <a:lnTo>
                      <a:pt x="2280162" y="4329914"/>
                    </a:lnTo>
                    <a:lnTo>
                      <a:pt x="2138464" y="4246522"/>
                    </a:lnTo>
                    <a:lnTo>
                      <a:pt x="2138464" y="3575038"/>
                    </a:lnTo>
                    <a:lnTo>
                      <a:pt x="1991031" y="3492361"/>
                    </a:lnTo>
                    <a:lnTo>
                      <a:pt x="1991031" y="4159755"/>
                    </a:lnTo>
                    <a:lnTo>
                      <a:pt x="1849333" y="4076363"/>
                    </a:lnTo>
                    <a:lnTo>
                      <a:pt x="1849333" y="3412899"/>
                    </a:lnTo>
                    <a:lnTo>
                      <a:pt x="1701899" y="3330219"/>
                    </a:lnTo>
                    <a:lnTo>
                      <a:pt x="1701899" y="3989597"/>
                    </a:lnTo>
                    <a:lnTo>
                      <a:pt x="1560201" y="3906205"/>
                    </a:lnTo>
                    <a:lnTo>
                      <a:pt x="1560201" y="3250759"/>
                    </a:lnTo>
                    <a:lnTo>
                      <a:pt x="1412767" y="3168079"/>
                    </a:lnTo>
                    <a:lnTo>
                      <a:pt x="1412767" y="3819437"/>
                    </a:lnTo>
                    <a:lnTo>
                      <a:pt x="1271070" y="3736045"/>
                    </a:lnTo>
                    <a:lnTo>
                      <a:pt x="1271070" y="3088617"/>
                    </a:lnTo>
                    <a:lnTo>
                      <a:pt x="1123636" y="3005939"/>
                    </a:lnTo>
                    <a:lnTo>
                      <a:pt x="1123636" y="3649279"/>
                    </a:lnTo>
                    <a:lnTo>
                      <a:pt x="981938" y="3565887"/>
                    </a:lnTo>
                    <a:lnTo>
                      <a:pt x="981938" y="2926477"/>
                    </a:lnTo>
                    <a:lnTo>
                      <a:pt x="834504" y="2843800"/>
                    </a:lnTo>
                    <a:lnTo>
                      <a:pt x="834504" y="3479120"/>
                    </a:lnTo>
                    <a:lnTo>
                      <a:pt x="692807" y="3395728"/>
                    </a:lnTo>
                    <a:lnTo>
                      <a:pt x="692807" y="2764337"/>
                    </a:lnTo>
                    <a:lnTo>
                      <a:pt x="545373" y="2681658"/>
                    </a:lnTo>
                    <a:lnTo>
                      <a:pt x="545373" y="3308962"/>
                    </a:lnTo>
                    <a:lnTo>
                      <a:pt x="403675" y="3225570"/>
                    </a:lnTo>
                    <a:lnTo>
                      <a:pt x="403675" y="2602197"/>
                    </a:lnTo>
                    <a:lnTo>
                      <a:pt x="256241" y="2519518"/>
                    </a:lnTo>
                    <a:lnTo>
                      <a:pt x="256241" y="3138802"/>
                    </a:lnTo>
                    <a:lnTo>
                      <a:pt x="114543" y="3055410"/>
                    </a:lnTo>
                    <a:lnTo>
                      <a:pt x="114543" y="2440055"/>
                    </a:lnTo>
                    <a:lnTo>
                      <a:pt x="0" y="2375821"/>
                    </a:lnTo>
                    <a:lnTo>
                      <a:pt x="0" y="1946821"/>
                    </a:lnTo>
                    <a:lnTo>
                      <a:pt x="5283" y="1949813"/>
                    </a:lnTo>
                    <a:lnTo>
                      <a:pt x="3789789" y="0"/>
                    </a:lnTo>
                    <a:close/>
                  </a:path>
                </a:pathLst>
              </a:custGeom>
              <a:solidFill>
                <a:srgbClr val="000000">
                  <a:lumMod val="50000"/>
                  <a:lumOff val="5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4" name="Rectangle 20"/>
              <p:cNvSpPr/>
              <p:nvPr/>
            </p:nvSpPr>
            <p:spPr>
              <a:xfrm>
                <a:off x="5303764" y="1811419"/>
                <a:ext cx="1472511" cy="687994"/>
              </a:xfrm>
              <a:custGeom>
                <a:avLst/>
                <a:gdLst>
                  <a:gd name="connsiteX0" fmla="*/ 0 w 402622"/>
                  <a:gd name="connsiteY0" fmla="*/ 0 h 252985"/>
                  <a:gd name="connsiteX1" fmla="*/ 402622 w 402622"/>
                  <a:gd name="connsiteY1" fmla="*/ 0 h 252985"/>
                  <a:gd name="connsiteX2" fmla="*/ 402622 w 402622"/>
                  <a:gd name="connsiteY2" fmla="*/ 252985 h 252985"/>
                  <a:gd name="connsiteX3" fmla="*/ 0 w 402622"/>
                  <a:gd name="connsiteY3" fmla="*/ 252985 h 252985"/>
                  <a:gd name="connsiteX4" fmla="*/ 0 w 402622"/>
                  <a:gd name="connsiteY4" fmla="*/ 0 h 252985"/>
                  <a:gd name="connsiteX0" fmla="*/ 0 w 402622"/>
                  <a:gd name="connsiteY0" fmla="*/ 114300 h 367285"/>
                  <a:gd name="connsiteX1" fmla="*/ 348647 w 402622"/>
                  <a:gd name="connsiteY1" fmla="*/ 0 h 367285"/>
                  <a:gd name="connsiteX2" fmla="*/ 402622 w 402622"/>
                  <a:gd name="connsiteY2" fmla="*/ 367285 h 367285"/>
                  <a:gd name="connsiteX3" fmla="*/ 0 w 402622"/>
                  <a:gd name="connsiteY3" fmla="*/ 367285 h 367285"/>
                  <a:gd name="connsiteX4" fmla="*/ 0 w 402622"/>
                  <a:gd name="connsiteY4" fmla="*/ 114300 h 367285"/>
                  <a:gd name="connsiteX0" fmla="*/ 0 w 643922"/>
                  <a:gd name="connsiteY0" fmla="*/ 114300 h 367285"/>
                  <a:gd name="connsiteX1" fmla="*/ 348647 w 643922"/>
                  <a:gd name="connsiteY1" fmla="*/ 0 h 367285"/>
                  <a:gd name="connsiteX2" fmla="*/ 643922 w 643922"/>
                  <a:gd name="connsiteY2" fmla="*/ 195835 h 367285"/>
                  <a:gd name="connsiteX3" fmla="*/ 0 w 643922"/>
                  <a:gd name="connsiteY3" fmla="*/ 367285 h 367285"/>
                  <a:gd name="connsiteX4" fmla="*/ 0 w 643922"/>
                  <a:gd name="connsiteY4" fmla="*/ 114300 h 367285"/>
                  <a:gd name="connsiteX0" fmla="*/ 0 w 643922"/>
                  <a:gd name="connsiteY0" fmla="*/ 114300 h 443485"/>
                  <a:gd name="connsiteX1" fmla="*/ 348647 w 643922"/>
                  <a:gd name="connsiteY1" fmla="*/ 0 h 443485"/>
                  <a:gd name="connsiteX2" fmla="*/ 643922 w 643922"/>
                  <a:gd name="connsiteY2" fmla="*/ 195835 h 443485"/>
                  <a:gd name="connsiteX3" fmla="*/ 320675 w 643922"/>
                  <a:gd name="connsiteY3" fmla="*/ 443485 h 443485"/>
                  <a:gd name="connsiteX4" fmla="*/ 0 w 643922"/>
                  <a:gd name="connsiteY4" fmla="*/ 114300 h 443485"/>
                  <a:gd name="connsiteX0" fmla="*/ 0 w 659797"/>
                  <a:gd name="connsiteY0" fmla="*/ 276225 h 443485"/>
                  <a:gd name="connsiteX1" fmla="*/ 364522 w 659797"/>
                  <a:gd name="connsiteY1" fmla="*/ 0 h 443485"/>
                  <a:gd name="connsiteX2" fmla="*/ 659797 w 659797"/>
                  <a:gd name="connsiteY2" fmla="*/ 195835 h 443485"/>
                  <a:gd name="connsiteX3" fmla="*/ 336550 w 659797"/>
                  <a:gd name="connsiteY3" fmla="*/ 443485 h 443485"/>
                  <a:gd name="connsiteX4" fmla="*/ 0 w 659797"/>
                  <a:gd name="connsiteY4" fmla="*/ 276225 h 443485"/>
                  <a:gd name="connsiteX0" fmla="*/ 0 w 720122"/>
                  <a:gd name="connsiteY0" fmla="*/ 203200 h 443485"/>
                  <a:gd name="connsiteX1" fmla="*/ 424847 w 720122"/>
                  <a:gd name="connsiteY1" fmla="*/ 0 h 443485"/>
                  <a:gd name="connsiteX2" fmla="*/ 720122 w 720122"/>
                  <a:gd name="connsiteY2" fmla="*/ 195835 h 443485"/>
                  <a:gd name="connsiteX3" fmla="*/ 396875 w 720122"/>
                  <a:gd name="connsiteY3" fmla="*/ 443485 h 443485"/>
                  <a:gd name="connsiteX4" fmla="*/ 0 w 720122"/>
                  <a:gd name="connsiteY4" fmla="*/ 203200 h 443485"/>
                  <a:gd name="connsiteX0" fmla="*/ 0 w 720122"/>
                  <a:gd name="connsiteY0" fmla="*/ 120650 h 360935"/>
                  <a:gd name="connsiteX1" fmla="*/ 250222 w 720122"/>
                  <a:gd name="connsiteY1" fmla="*/ 0 h 360935"/>
                  <a:gd name="connsiteX2" fmla="*/ 720122 w 720122"/>
                  <a:gd name="connsiteY2" fmla="*/ 113285 h 360935"/>
                  <a:gd name="connsiteX3" fmla="*/ 396875 w 720122"/>
                  <a:gd name="connsiteY3" fmla="*/ 360935 h 360935"/>
                  <a:gd name="connsiteX4" fmla="*/ 0 w 720122"/>
                  <a:gd name="connsiteY4" fmla="*/ 120650 h 360935"/>
                  <a:gd name="connsiteX0" fmla="*/ 0 w 612172"/>
                  <a:gd name="connsiteY0" fmla="*/ 120650 h 360935"/>
                  <a:gd name="connsiteX1" fmla="*/ 250222 w 612172"/>
                  <a:gd name="connsiteY1" fmla="*/ 0 h 360935"/>
                  <a:gd name="connsiteX2" fmla="*/ 612172 w 612172"/>
                  <a:gd name="connsiteY2" fmla="*/ 237110 h 360935"/>
                  <a:gd name="connsiteX3" fmla="*/ 396875 w 612172"/>
                  <a:gd name="connsiteY3" fmla="*/ 360935 h 360935"/>
                  <a:gd name="connsiteX4" fmla="*/ 0 w 612172"/>
                  <a:gd name="connsiteY4" fmla="*/ 120650 h 360935"/>
                  <a:gd name="connsiteX0" fmla="*/ 0 w 650272"/>
                  <a:gd name="connsiteY0" fmla="*/ 161925 h 360935"/>
                  <a:gd name="connsiteX1" fmla="*/ 288322 w 650272"/>
                  <a:gd name="connsiteY1" fmla="*/ 0 h 360935"/>
                  <a:gd name="connsiteX2" fmla="*/ 650272 w 650272"/>
                  <a:gd name="connsiteY2" fmla="*/ 237110 h 360935"/>
                  <a:gd name="connsiteX3" fmla="*/ 434975 w 650272"/>
                  <a:gd name="connsiteY3" fmla="*/ 360935 h 360935"/>
                  <a:gd name="connsiteX4" fmla="*/ 0 w 650272"/>
                  <a:gd name="connsiteY4" fmla="*/ 161925 h 360935"/>
                  <a:gd name="connsiteX0" fmla="*/ 0 w 650272"/>
                  <a:gd name="connsiteY0" fmla="*/ 123825 h 322835"/>
                  <a:gd name="connsiteX1" fmla="*/ 231172 w 650272"/>
                  <a:gd name="connsiteY1" fmla="*/ 0 h 322835"/>
                  <a:gd name="connsiteX2" fmla="*/ 650272 w 650272"/>
                  <a:gd name="connsiteY2" fmla="*/ 199010 h 322835"/>
                  <a:gd name="connsiteX3" fmla="*/ 434975 w 650272"/>
                  <a:gd name="connsiteY3" fmla="*/ 322835 h 322835"/>
                  <a:gd name="connsiteX4" fmla="*/ 0 w 650272"/>
                  <a:gd name="connsiteY4" fmla="*/ 123825 h 322835"/>
                  <a:gd name="connsiteX0" fmla="*/ 0 w 675672"/>
                  <a:gd name="connsiteY0" fmla="*/ 111125 h 322835"/>
                  <a:gd name="connsiteX1" fmla="*/ 256572 w 675672"/>
                  <a:gd name="connsiteY1" fmla="*/ 0 h 322835"/>
                  <a:gd name="connsiteX2" fmla="*/ 675672 w 675672"/>
                  <a:gd name="connsiteY2" fmla="*/ 199010 h 322835"/>
                  <a:gd name="connsiteX3" fmla="*/ 460375 w 675672"/>
                  <a:gd name="connsiteY3" fmla="*/ 322835 h 322835"/>
                  <a:gd name="connsiteX4" fmla="*/ 0 w 675672"/>
                  <a:gd name="connsiteY4" fmla="*/ 111125 h 322835"/>
                  <a:gd name="connsiteX0" fmla="*/ 0 w 675672"/>
                  <a:gd name="connsiteY0" fmla="*/ 111125 h 313310"/>
                  <a:gd name="connsiteX1" fmla="*/ 256572 w 675672"/>
                  <a:gd name="connsiteY1" fmla="*/ 0 h 313310"/>
                  <a:gd name="connsiteX2" fmla="*/ 675672 w 675672"/>
                  <a:gd name="connsiteY2" fmla="*/ 199010 h 313310"/>
                  <a:gd name="connsiteX3" fmla="*/ 447675 w 675672"/>
                  <a:gd name="connsiteY3" fmla="*/ 313310 h 313310"/>
                  <a:gd name="connsiteX4" fmla="*/ 0 w 675672"/>
                  <a:gd name="connsiteY4" fmla="*/ 111125 h 313310"/>
                  <a:gd name="connsiteX0" fmla="*/ 0 w 675672"/>
                  <a:gd name="connsiteY0" fmla="*/ 106362 h 308547"/>
                  <a:gd name="connsiteX1" fmla="*/ 247047 w 675672"/>
                  <a:gd name="connsiteY1" fmla="*/ 0 h 308547"/>
                  <a:gd name="connsiteX2" fmla="*/ 675672 w 675672"/>
                  <a:gd name="connsiteY2" fmla="*/ 194247 h 308547"/>
                  <a:gd name="connsiteX3" fmla="*/ 447675 w 675672"/>
                  <a:gd name="connsiteY3" fmla="*/ 308547 h 308547"/>
                  <a:gd name="connsiteX4" fmla="*/ 0 w 675672"/>
                  <a:gd name="connsiteY4" fmla="*/ 106362 h 308547"/>
                  <a:gd name="connsiteX0" fmla="*/ 0 w 675672"/>
                  <a:gd name="connsiteY0" fmla="*/ 113506 h 315691"/>
                  <a:gd name="connsiteX1" fmla="*/ 249428 w 675672"/>
                  <a:gd name="connsiteY1" fmla="*/ 0 h 315691"/>
                  <a:gd name="connsiteX2" fmla="*/ 675672 w 675672"/>
                  <a:gd name="connsiteY2" fmla="*/ 201391 h 315691"/>
                  <a:gd name="connsiteX3" fmla="*/ 447675 w 675672"/>
                  <a:gd name="connsiteY3" fmla="*/ 315691 h 315691"/>
                  <a:gd name="connsiteX4" fmla="*/ 0 w 675672"/>
                  <a:gd name="connsiteY4" fmla="*/ 113506 h 3156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672" h="315691">
                    <a:moveTo>
                      <a:pt x="0" y="113506"/>
                    </a:moveTo>
                    <a:lnTo>
                      <a:pt x="249428" y="0"/>
                    </a:lnTo>
                    <a:lnTo>
                      <a:pt x="675672" y="201391"/>
                    </a:lnTo>
                    <a:lnTo>
                      <a:pt x="447675" y="315691"/>
                    </a:lnTo>
                    <a:lnTo>
                      <a:pt x="0" y="113506"/>
                    </a:lnTo>
                    <a:close/>
                  </a:path>
                </a:pathLst>
              </a:custGeom>
              <a:solidFill>
                <a:schemeClr val="tx1">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5" name="Rectangle 20"/>
              <p:cNvSpPr/>
              <p:nvPr/>
            </p:nvSpPr>
            <p:spPr>
              <a:xfrm>
                <a:off x="4188015" y="1300299"/>
                <a:ext cx="1472511" cy="672427"/>
              </a:xfrm>
              <a:custGeom>
                <a:avLst/>
                <a:gdLst>
                  <a:gd name="connsiteX0" fmla="*/ 0 w 402622"/>
                  <a:gd name="connsiteY0" fmla="*/ 0 h 252985"/>
                  <a:gd name="connsiteX1" fmla="*/ 402622 w 402622"/>
                  <a:gd name="connsiteY1" fmla="*/ 0 h 252985"/>
                  <a:gd name="connsiteX2" fmla="*/ 402622 w 402622"/>
                  <a:gd name="connsiteY2" fmla="*/ 252985 h 252985"/>
                  <a:gd name="connsiteX3" fmla="*/ 0 w 402622"/>
                  <a:gd name="connsiteY3" fmla="*/ 252985 h 252985"/>
                  <a:gd name="connsiteX4" fmla="*/ 0 w 402622"/>
                  <a:gd name="connsiteY4" fmla="*/ 0 h 252985"/>
                  <a:gd name="connsiteX0" fmla="*/ 0 w 402622"/>
                  <a:gd name="connsiteY0" fmla="*/ 114300 h 367285"/>
                  <a:gd name="connsiteX1" fmla="*/ 348647 w 402622"/>
                  <a:gd name="connsiteY1" fmla="*/ 0 h 367285"/>
                  <a:gd name="connsiteX2" fmla="*/ 402622 w 402622"/>
                  <a:gd name="connsiteY2" fmla="*/ 367285 h 367285"/>
                  <a:gd name="connsiteX3" fmla="*/ 0 w 402622"/>
                  <a:gd name="connsiteY3" fmla="*/ 367285 h 367285"/>
                  <a:gd name="connsiteX4" fmla="*/ 0 w 402622"/>
                  <a:gd name="connsiteY4" fmla="*/ 114300 h 367285"/>
                  <a:gd name="connsiteX0" fmla="*/ 0 w 643922"/>
                  <a:gd name="connsiteY0" fmla="*/ 114300 h 367285"/>
                  <a:gd name="connsiteX1" fmla="*/ 348647 w 643922"/>
                  <a:gd name="connsiteY1" fmla="*/ 0 h 367285"/>
                  <a:gd name="connsiteX2" fmla="*/ 643922 w 643922"/>
                  <a:gd name="connsiteY2" fmla="*/ 195835 h 367285"/>
                  <a:gd name="connsiteX3" fmla="*/ 0 w 643922"/>
                  <a:gd name="connsiteY3" fmla="*/ 367285 h 367285"/>
                  <a:gd name="connsiteX4" fmla="*/ 0 w 643922"/>
                  <a:gd name="connsiteY4" fmla="*/ 114300 h 367285"/>
                  <a:gd name="connsiteX0" fmla="*/ 0 w 643922"/>
                  <a:gd name="connsiteY0" fmla="*/ 114300 h 443485"/>
                  <a:gd name="connsiteX1" fmla="*/ 348647 w 643922"/>
                  <a:gd name="connsiteY1" fmla="*/ 0 h 443485"/>
                  <a:gd name="connsiteX2" fmla="*/ 643922 w 643922"/>
                  <a:gd name="connsiteY2" fmla="*/ 195835 h 443485"/>
                  <a:gd name="connsiteX3" fmla="*/ 320675 w 643922"/>
                  <a:gd name="connsiteY3" fmla="*/ 443485 h 443485"/>
                  <a:gd name="connsiteX4" fmla="*/ 0 w 643922"/>
                  <a:gd name="connsiteY4" fmla="*/ 114300 h 443485"/>
                  <a:gd name="connsiteX0" fmla="*/ 0 w 659797"/>
                  <a:gd name="connsiteY0" fmla="*/ 276225 h 443485"/>
                  <a:gd name="connsiteX1" fmla="*/ 364522 w 659797"/>
                  <a:gd name="connsiteY1" fmla="*/ 0 h 443485"/>
                  <a:gd name="connsiteX2" fmla="*/ 659797 w 659797"/>
                  <a:gd name="connsiteY2" fmla="*/ 195835 h 443485"/>
                  <a:gd name="connsiteX3" fmla="*/ 336550 w 659797"/>
                  <a:gd name="connsiteY3" fmla="*/ 443485 h 443485"/>
                  <a:gd name="connsiteX4" fmla="*/ 0 w 659797"/>
                  <a:gd name="connsiteY4" fmla="*/ 276225 h 443485"/>
                  <a:gd name="connsiteX0" fmla="*/ 0 w 720122"/>
                  <a:gd name="connsiteY0" fmla="*/ 203200 h 443485"/>
                  <a:gd name="connsiteX1" fmla="*/ 424847 w 720122"/>
                  <a:gd name="connsiteY1" fmla="*/ 0 h 443485"/>
                  <a:gd name="connsiteX2" fmla="*/ 720122 w 720122"/>
                  <a:gd name="connsiteY2" fmla="*/ 195835 h 443485"/>
                  <a:gd name="connsiteX3" fmla="*/ 396875 w 720122"/>
                  <a:gd name="connsiteY3" fmla="*/ 443485 h 443485"/>
                  <a:gd name="connsiteX4" fmla="*/ 0 w 720122"/>
                  <a:gd name="connsiteY4" fmla="*/ 203200 h 443485"/>
                  <a:gd name="connsiteX0" fmla="*/ 0 w 720122"/>
                  <a:gd name="connsiteY0" fmla="*/ 120650 h 360935"/>
                  <a:gd name="connsiteX1" fmla="*/ 250222 w 720122"/>
                  <a:gd name="connsiteY1" fmla="*/ 0 h 360935"/>
                  <a:gd name="connsiteX2" fmla="*/ 720122 w 720122"/>
                  <a:gd name="connsiteY2" fmla="*/ 113285 h 360935"/>
                  <a:gd name="connsiteX3" fmla="*/ 396875 w 720122"/>
                  <a:gd name="connsiteY3" fmla="*/ 360935 h 360935"/>
                  <a:gd name="connsiteX4" fmla="*/ 0 w 720122"/>
                  <a:gd name="connsiteY4" fmla="*/ 120650 h 360935"/>
                  <a:gd name="connsiteX0" fmla="*/ 0 w 612172"/>
                  <a:gd name="connsiteY0" fmla="*/ 120650 h 360935"/>
                  <a:gd name="connsiteX1" fmla="*/ 250222 w 612172"/>
                  <a:gd name="connsiteY1" fmla="*/ 0 h 360935"/>
                  <a:gd name="connsiteX2" fmla="*/ 612172 w 612172"/>
                  <a:gd name="connsiteY2" fmla="*/ 237110 h 360935"/>
                  <a:gd name="connsiteX3" fmla="*/ 396875 w 612172"/>
                  <a:gd name="connsiteY3" fmla="*/ 360935 h 360935"/>
                  <a:gd name="connsiteX4" fmla="*/ 0 w 612172"/>
                  <a:gd name="connsiteY4" fmla="*/ 120650 h 360935"/>
                  <a:gd name="connsiteX0" fmla="*/ 0 w 650272"/>
                  <a:gd name="connsiteY0" fmla="*/ 161925 h 360935"/>
                  <a:gd name="connsiteX1" fmla="*/ 288322 w 650272"/>
                  <a:gd name="connsiteY1" fmla="*/ 0 h 360935"/>
                  <a:gd name="connsiteX2" fmla="*/ 650272 w 650272"/>
                  <a:gd name="connsiteY2" fmla="*/ 237110 h 360935"/>
                  <a:gd name="connsiteX3" fmla="*/ 434975 w 650272"/>
                  <a:gd name="connsiteY3" fmla="*/ 360935 h 360935"/>
                  <a:gd name="connsiteX4" fmla="*/ 0 w 650272"/>
                  <a:gd name="connsiteY4" fmla="*/ 161925 h 360935"/>
                  <a:gd name="connsiteX0" fmla="*/ 0 w 650272"/>
                  <a:gd name="connsiteY0" fmla="*/ 123825 h 322835"/>
                  <a:gd name="connsiteX1" fmla="*/ 231172 w 650272"/>
                  <a:gd name="connsiteY1" fmla="*/ 0 h 322835"/>
                  <a:gd name="connsiteX2" fmla="*/ 650272 w 650272"/>
                  <a:gd name="connsiteY2" fmla="*/ 199010 h 322835"/>
                  <a:gd name="connsiteX3" fmla="*/ 434975 w 650272"/>
                  <a:gd name="connsiteY3" fmla="*/ 322835 h 322835"/>
                  <a:gd name="connsiteX4" fmla="*/ 0 w 650272"/>
                  <a:gd name="connsiteY4" fmla="*/ 123825 h 322835"/>
                  <a:gd name="connsiteX0" fmla="*/ 0 w 675672"/>
                  <a:gd name="connsiteY0" fmla="*/ 111125 h 322835"/>
                  <a:gd name="connsiteX1" fmla="*/ 256572 w 675672"/>
                  <a:gd name="connsiteY1" fmla="*/ 0 h 322835"/>
                  <a:gd name="connsiteX2" fmla="*/ 675672 w 675672"/>
                  <a:gd name="connsiteY2" fmla="*/ 199010 h 322835"/>
                  <a:gd name="connsiteX3" fmla="*/ 460375 w 675672"/>
                  <a:gd name="connsiteY3" fmla="*/ 322835 h 322835"/>
                  <a:gd name="connsiteX4" fmla="*/ 0 w 675672"/>
                  <a:gd name="connsiteY4" fmla="*/ 111125 h 322835"/>
                  <a:gd name="connsiteX0" fmla="*/ 0 w 675672"/>
                  <a:gd name="connsiteY0" fmla="*/ 111125 h 313310"/>
                  <a:gd name="connsiteX1" fmla="*/ 256572 w 675672"/>
                  <a:gd name="connsiteY1" fmla="*/ 0 h 313310"/>
                  <a:gd name="connsiteX2" fmla="*/ 675672 w 675672"/>
                  <a:gd name="connsiteY2" fmla="*/ 199010 h 313310"/>
                  <a:gd name="connsiteX3" fmla="*/ 447675 w 675672"/>
                  <a:gd name="connsiteY3" fmla="*/ 313310 h 313310"/>
                  <a:gd name="connsiteX4" fmla="*/ 0 w 675672"/>
                  <a:gd name="connsiteY4" fmla="*/ 111125 h 313310"/>
                  <a:gd name="connsiteX0" fmla="*/ 0 w 675672"/>
                  <a:gd name="connsiteY0" fmla="*/ 106363 h 308548"/>
                  <a:gd name="connsiteX1" fmla="*/ 242285 w 675672"/>
                  <a:gd name="connsiteY1" fmla="*/ 0 h 308548"/>
                  <a:gd name="connsiteX2" fmla="*/ 675672 w 675672"/>
                  <a:gd name="connsiteY2" fmla="*/ 194248 h 308548"/>
                  <a:gd name="connsiteX3" fmla="*/ 447675 w 675672"/>
                  <a:gd name="connsiteY3" fmla="*/ 308548 h 308548"/>
                  <a:gd name="connsiteX4" fmla="*/ 0 w 675672"/>
                  <a:gd name="connsiteY4" fmla="*/ 106363 h 308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672" h="308548">
                    <a:moveTo>
                      <a:pt x="0" y="106363"/>
                    </a:moveTo>
                    <a:lnTo>
                      <a:pt x="242285" y="0"/>
                    </a:lnTo>
                    <a:lnTo>
                      <a:pt x="675672" y="194248"/>
                    </a:lnTo>
                    <a:lnTo>
                      <a:pt x="447675" y="308548"/>
                    </a:lnTo>
                    <a:lnTo>
                      <a:pt x="0" y="106363"/>
                    </a:lnTo>
                    <a:close/>
                  </a:path>
                </a:pathLst>
              </a:custGeom>
              <a:solidFill>
                <a:schemeClr val="tx1">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6" name="Rectangle 20"/>
              <p:cNvSpPr/>
              <p:nvPr/>
            </p:nvSpPr>
            <p:spPr>
              <a:xfrm>
                <a:off x="6144139" y="1422209"/>
                <a:ext cx="1399859" cy="656858"/>
              </a:xfrm>
              <a:custGeom>
                <a:avLst/>
                <a:gdLst>
                  <a:gd name="connsiteX0" fmla="*/ 0 w 402622"/>
                  <a:gd name="connsiteY0" fmla="*/ 0 h 252985"/>
                  <a:gd name="connsiteX1" fmla="*/ 402622 w 402622"/>
                  <a:gd name="connsiteY1" fmla="*/ 0 h 252985"/>
                  <a:gd name="connsiteX2" fmla="*/ 402622 w 402622"/>
                  <a:gd name="connsiteY2" fmla="*/ 252985 h 252985"/>
                  <a:gd name="connsiteX3" fmla="*/ 0 w 402622"/>
                  <a:gd name="connsiteY3" fmla="*/ 252985 h 252985"/>
                  <a:gd name="connsiteX4" fmla="*/ 0 w 402622"/>
                  <a:gd name="connsiteY4" fmla="*/ 0 h 252985"/>
                  <a:gd name="connsiteX0" fmla="*/ 0 w 402622"/>
                  <a:gd name="connsiteY0" fmla="*/ 114300 h 367285"/>
                  <a:gd name="connsiteX1" fmla="*/ 348647 w 402622"/>
                  <a:gd name="connsiteY1" fmla="*/ 0 h 367285"/>
                  <a:gd name="connsiteX2" fmla="*/ 402622 w 402622"/>
                  <a:gd name="connsiteY2" fmla="*/ 367285 h 367285"/>
                  <a:gd name="connsiteX3" fmla="*/ 0 w 402622"/>
                  <a:gd name="connsiteY3" fmla="*/ 367285 h 367285"/>
                  <a:gd name="connsiteX4" fmla="*/ 0 w 402622"/>
                  <a:gd name="connsiteY4" fmla="*/ 114300 h 367285"/>
                  <a:gd name="connsiteX0" fmla="*/ 0 w 643922"/>
                  <a:gd name="connsiteY0" fmla="*/ 114300 h 367285"/>
                  <a:gd name="connsiteX1" fmla="*/ 348647 w 643922"/>
                  <a:gd name="connsiteY1" fmla="*/ 0 h 367285"/>
                  <a:gd name="connsiteX2" fmla="*/ 643922 w 643922"/>
                  <a:gd name="connsiteY2" fmla="*/ 195835 h 367285"/>
                  <a:gd name="connsiteX3" fmla="*/ 0 w 643922"/>
                  <a:gd name="connsiteY3" fmla="*/ 367285 h 367285"/>
                  <a:gd name="connsiteX4" fmla="*/ 0 w 643922"/>
                  <a:gd name="connsiteY4" fmla="*/ 114300 h 367285"/>
                  <a:gd name="connsiteX0" fmla="*/ 0 w 643922"/>
                  <a:gd name="connsiteY0" fmla="*/ 114300 h 443485"/>
                  <a:gd name="connsiteX1" fmla="*/ 348647 w 643922"/>
                  <a:gd name="connsiteY1" fmla="*/ 0 h 443485"/>
                  <a:gd name="connsiteX2" fmla="*/ 643922 w 643922"/>
                  <a:gd name="connsiteY2" fmla="*/ 195835 h 443485"/>
                  <a:gd name="connsiteX3" fmla="*/ 320675 w 643922"/>
                  <a:gd name="connsiteY3" fmla="*/ 443485 h 443485"/>
                  <a:gd name="connsiteX4" fmla="*/ 0 w 643922"/>
                  <a:gd name="connsiteY4" fmla="*/ 114300 h 443485"/>
                  <a:gd name="connsiteX0" fmla="*/ 0 w 659797"/>
                  <a:gd name="connsiteY0" fmla="*/ 276225 h 443485"/>
                  <a:gd name="connsiteX1" fmla="*/ 364522 w 659797"/>
                  <a:gd name="connsiteY1" fmla="*/ 0 h 443485"/>
                  <a:gd name="connsiteX2" fmla="*/ 659797 w 659797"/>
                  <a:gd name="connsiteY2" fmla="*/ 195835 h 443485"/>
                  <a:gd name="connsiteX3" fmla="*/ 336550 w 659797"/>
                  <a:gd name="connsiteY3" fmla="*/ 443485 h 443485"/>
                  <a:gd name="connsiteX4" fmla="*/ 0 w 659797"/>
                  <a:gd name="connsiteY4" fmla="*/ 276225 h 443485"/>
                  <a:gd name="connsiteX0" fmla="*/ 0 w 720122"/>
                  <a:gd name="connsiteY0" fmla="*/ 203200 h 443485"/>
                  <a:gd name="connsiteX1" fmla="*/ 424847 w 720122"/>
                  <a:gd name="connsiteY1" fmla="*/ 0 h 443485"/>
                  <a:gd name="connsiteX2" fmla="*/ 720122 w 720122"/>
                  <a:gd name="connsiteY2" fmla="*/ 195835 h 443485"/>
                  <a:gd name="connsiteX3" fmla="*/ 396875 w 720122"/>
                  <a:gd name="connsiteY3" fmla="*/ 443485 h 443485"/>
                  <a:gd name="connsiteX4" fmla="*/ 0 w 720122"/>
                  <a:gd name="connsiteY4" fmla="*/ 203200 h 443485"/>
                  <a:gd name="connsiteX0" fmla="*/ 0 w 720122"/>
                  <a:gd name="connsiteY0" fmla="*/ 120650 h 360935"/>
                  <a:gd name="connsiteX1" fmla="*/ 250222 w 720122"/>
                  <a:gd name="connsiteY1" fmla="*/ 0 h 360935"/>
                  <a:gd name="connsiteX2" fmla="*/ 720122 w 720122"/>
                  <a:gd name="connsiteY2" fmla="*/ 113285 h 360935"/>
                  <a:gd name="connsiteX3" fmla="*/ 396875 w 720122"/>
                  <a:gd name="connsiteY3" fmla="*/ 360935 h 360935"/>
                  <a:gd name="connsiteX4" fmla="*/ 0 w 720122"/>
                  <a:gd name="connsiteY4" fmla="*/ 120650 h 360935"/>
                  <a:gd name="connsiteX0" fmla="*/ 0 w 612172"/>
                  <a:gd name="connsiteY0" fmla="*/ 120650 h 360935"/>
                  <a:gd name="connsiteX1" fmla="*/ 250222 w 612172"/>
                  <a:gd name="connsiteY1" fmla="*/ 0 h 360935"/>
                  <a:gd name="connsiteX2" fmla="*/ 612172 w 612172"/>
                  <a:gd name="connsiteY2" fmla="*/ 237110 h 360935"/>
                  <a:gd name="connsiteX3" fmla="*/ 396875 w 612172"/>
                  <a:gd name="connsiteY3" fmla="*/ 360935 h 360935"/>
                  <a:gd name="connsiteX4" fmla="*/ 0 w 612172"/>
                  <a:gd name="connsiteY4" fmla="*/ 120650 h 360935"/>
                  <a:gd name="connsiteX0" fmla="*/ 0 w 650272"/>
                  <a:gd name="connsiteY0" fmla="*/ 161925 h 360935"/>
                  <a:gd name="connsiteX1" fmla="*/ 288322 w 650272"/>
                  <a:gd name="connsiteY1" fmla="*/ 0 h 360935"/>
                  <a:gd name="connsiteX2" fmla="*/ 650272 w 650272"/>
                  <a:gd name="connsiteY2" fmla="*/ 237110 h 360935"/>
                  <a:gd name="connsiteX3" fmla="*/ 434975 w 650272"/>
                  <a:gd name="connsiteY3" fmla="*/ 360935 h 360935"/>
                  <a:gd name="connsiteX4" fmla="*/ 0 w 650272"/>
                  <a:gd name="connsiteY4" fmla="*/ 161925 h 360935"/>
                  <a:gd name="connsiteX0" fmla="*/ 0 w 650272"/>
                  <a:gd name="connsiteY0" fmla="*/ 123825 h 322835"/>
                  <a:gd name="connsiteX1" fmla="*/ 231172 w 650272"/>
                  <a:gd name="connsiteY1" fmla="*/ 0 h 322835"/>
                  <a:gd name="connsiteX2" fmla="*/ 650272 w 650272"/>
                  <a:gd name="connsiteY2" fmla="*/ 199010 h 322835"/>
                  <a:gd name="connsiteX3" fmla="*/ 434975 w 650272"/>
                  <a:gd name="connsiteY3" fmla="*/ 322835 h 322835"/>
                  <a:gd name="connsiteX4" fmla="*/ 0 w 650272"/>
                  <a:gd name="connsiteY4" fmla="*/ 123825 h 322835"/>
                  <a:gd name="connsiteX0" fmla="*/ 0 w 675672"/>
                  <a:gd name="connsiteY0" fmla="*/ 111125 h 322835"/>
                  <a:gd name="connsiteX1" fmla="*/ 256572 w 675672"/>
                  <a:gd name="connsiteY1" fmla="*/ 0 h 322835"/>
                  <a:gd name="connsiteX2" fmla="*/ 675672 w 675672"/>
                  <a:gd name="connsiteY2" fmla="*/ 199010 h 322835"/>
                  <a:gd name="connsiteX3" fmla="*/ 460375 w 675672"/>
                  <a:gd name="connsiteY3" fmla="*/ 322835 h 322835"/>
                  <a:gd name="connsiteX4" fmla="*/ 0 w 675672"/>
                  <a:gd name="connsiteY4" fmla="*/ 111125 h 322835"/>
                  <a:gd name="connsiteX0" fmla="*/ 0 w 675672"/>
                  <a:gd name="connsiteY0" fmla="*/ 111125 h 313310"/>
                  <a:gd name="connsiteX1" fmla="*/ 256572 w 675672"/>
                  <a:gd name="connsiteY1" fmla="*/ 0 h 313310"/>
                  <a:gd name="connsiteX2" fmla="*/ 675672 w 675672"/>
                  <a:gd name="connsiteY2" fmla="*/ 199010 h 313310"/>
                  <a:gd name="connsiteX3" fmla="*/ 447675 w 675672"/>
                  <a:gd name="connsiteY3" fmla="*/ 313310 h 313310"/>
                  <a:gd name="connsiteX4" fmla="*/ 0 w 675672"/>
                  <a:gd name="connsiteY4" fmla="*/ 111125 h 313310"/>
                  <a:gd name="connsiteX0" fmla="*/ 0 w 675672"/>
                  <a:gd name="connsiteY0" fmla="*/ 106362 h 308547"/>
                  <a:gd name="connsiteX1" fmla="*/ 247047 w 675672"/>
                  <a:gd name="connsiteY1" fmla="*/ 0 h 308547"/>
                  <a:gd name="connsiteX2" fmla="*/ 675672 w 675672"/>
                  <a:gd name="connsiteY2" fmla="*/ 194247 h 308547"/>
                  <a:gd name="connsiteX3" fmla="*/ 447675 w 675672"/>
                  <a:gd name="connsiteY3" fmla="*/ 308547 h 308547"/>
                  <a:gd name="connsiteX4" fmla="*/ 0 w 675672"/>
                  <a:gd name="connsiteY4" fmla="*/ 106362 h 308547"/>
                  <a:gd name="connsiteX0" fmla="*/ 0 w 647097"/>
                  <a:gd name="connsiteY0" fmla="*/ 115887 h 308547"/>
                  <a:gd name="connsiteX1" fmla="*/ 218472 w 647097"/>
                  <a:gd name="connsiteY1" fmla="*/ 0 h 308547"/>
                  <a:gd name="connsiteX2" fmla="*/ 647097 w 647097"/>
                  <a:gd name="connsiteY2" fmla="*/ 194247 h 308547"/>
                  <a:gd name="connsiteX3" fmla="*/ 419100 w 647097"/>
                  <a:gd name="connsiteY3" fmla="*/ 308547 h 308547"/>
                  <a:gd name="connsiteX4" fmla="*/ 0 w 647097"/>
                  <a:gd name="connsiteY4" fmla="*/ 115887 h 308547"/>
                  <a:gd name="connsiteX0" fmla="*/ 0 w 647097"/>
                  <a:gd name="connsiteY0" fmla="*/ 108744 h 301404"/>
                  <a:gd name="connsiteX1" fmla="*/ 232759 w 647097"/>
                  <a:gd name="connsiteY1" fmla="*/ 0 h 301404"/>
                  <a:gd name="connsiteX2" fmla="*/ 647097 w 647097"/>
                  <a:gd name="connsiteY2" fmla="*/ 187104 h 301404"/>
                  <a:gd name="connsiteX3" fmla="*/ 419100 w 647097"/>
                  <a:gd name="connsiteY3" fmla="*/ 301404 h 301404"/>
                  <a:gd name="connsiteX4" fmla="*/ 0 w 647097"/>
                  <a:gd name="connsiteY4" fmla="*/ 108744 h 301404"/>
                  <a:gd name="connsiteX0" fmla="*/ 0 w 642335"/>
                  <a:gd name="connsiteY0" fmla="*/ 108744 h 301404"/>
                  <a:gd name="connsiteX1" fmla="*/ 232759 w 642335"/>
                  <a:gd name="connsiteY1" fmla="*/ 0 h 301404"/>
                  <a:gd name="connsiteX2" fmla="*/ 642335 w 642335"/>
                  <a:gd name="connsiteY2" fmla="*/ 187104 h 301404"/>
                  <a:gd name="connsiteX3" fmla="*/ 419100 w 642335"/>
                  <a:gd name="connsiteY3" fmla="*/ 301404 h 301404"/>
                  <a:gd name="connsiteX4" fmla="*/ 0 w 642335"/>
                  <a:gd name="connsiteY4" fmla="*/ 108744 h 301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335" h="301404">
                    <a:moveTo>
                      <a:pt x="0" y="108744"/>
                    </a:moveTo>
                    <a:lnTo>
                      <a:pt x="232759" y="0"/>
                    </a:lnTo>
                    <a:lnTo>
                      <a:pt x="642335" y="187104"/>
                    </a:lnTo>
                    <a:lnTo>
                      <a:pt x="419100" y="301404"/>
                    </a:lnTo>
                    <a:lnTo>
                      <a:pt x="0" y="108744"/>
                    </a:lnTo>
                    <a:close/>
                  </a:path>
                </a:pathLst>
              </a:custGeom>
              <a:solidFill>
                <a:schemeClr val="tx1">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7" name="Rectangle 20"/>
              <p:cNvSpPr/>
              <p:nvPr/>
            </p:nvSpPr>
            <p:spPr>
              <a:xfrm>
                <a:off x="6948185" y="1032989"/>
                <a:ext cx="1384290" cy="646478"/>
              </a:xfrm>
              <a:custGeom>
                <a:avLst/>
                <a:gdLst>
                  <a:gd name="connsiteX0" fmla="*/ 0 w 402622"/>
                  <a:gd name="connsiteY0" fmla="*/ 0 h 252985"/>
                  <a:gd name="connsiteX1" fmla="*/ 402622 w 402622"/>
                  <a:gd name="connsiteY1" fmla="*/ 0 h 252985"/>
                  <a:gd name="connsiteX2" fmla="*/ 402622 w 402622"/>
                  <a:gd name="connsiteY2" fmla="*/ 252985 h 252985"/>
                  <a:gd name="connsiteX3" fmla="*/ 0 w 402622"/>
                  <a:gd name="connsiteY3" fmla="*/ 252985 h 252985"/>
                  <a:gd name="connsiteX4" fmla="*/ 0 w 402622"/>
                  <a:gd name="connsiteY4" fmla="*/ 0 h 252985"/>
                  <a:gd name="connsiteX0" fmla="*/ 0 w 402622"/>
                  <a:gd name="connsiteY0" fmla="*/ 114300 h 367285"/>
                  <a:gd name="connsiteX1" fmla="*/ 348647 w 402622"/>
                  <a:gd name="connsiteY1" fmla="*/ 0 h 367285"/>
                  <a:gd name="connsiteX2" fmla="*/ 402622 w 402622"/>
                  <a:gd name="connsiteY2" fmla="*/ 367285 h 367285"/>
                  <a:gd name="connsiteX3" fmla="*/ 0 w 402622"/>
                  <a:gd name="connsiteY3" fmla="*/ 367285 h 367285"/>
                  <a:gd name="connsiteX4" fmla="*/ 0 w 402622"/>
                  <a:gd name="connsiteY4" fmla="*/ 114300 h 367285"/>
                  <a:gd name="connsiteX0" fmla="*/ 0 w 643922"/>
                  <a:gd name="connsiteY0" fmla="*/ 114300 h 367285"/>
                  <a:gd name="connsiteX1" fmla="*/ 348647 w 643922"/>
                  <a:gd name="connsiteY1" fmla="*/ 0 h 367285"/>
                  <a:gd name="connsiteX2" fmla="*/ 643922 w 643922"/>
                  <a:gd name="connsiteY2" fmla="*/ 195835 h 367285"/>
                  <a:gd name="connsiteX3" fmla="*/ 0 w 643922"/>
                  <a:gd name="connsiteY3" fmla="*/ 367285 h 367285"/>
                  <a:gd name="connsiteX4" fmla="*/ 0 w 643922"/>
                  <a:gd name="connsiteY4" fmla="*/ 114300 h 367285"/>
                  <a:gd name="connsiteX0" fmla="*/ 0 w 643922"/>
                  <a:gd name="connsiteY0" fmla="*/ 114300 h 443485"/>
                  <a:gd name="connsiteX1" fmla="*/ 348647 w 643922"/>
                  <a:gd name="connsiteY1" fmla="*/ 0 h 443485"/>
                  <a:gd name="connsiteX2" fmla="*/ 643922 w 643922"/>
                  <a:gd name="connsiteY2" fmla="*/ 195835 h 443485"/>
                  <a:gd name="connsiteX3" fmla="*/ 320675 w 643922"/>
                  <a:gd name="connsiteY3" fmla="*/ 443485 h 443485"/>
                  <a:gd name="connsiteX4" fmla="*/ 0 w 643922"/>
                  <a:gd name="connsiteY4" fmla="*/ 114300 h 443485"/>
                  <a:gd name="connsiteX0" fmla="*/ 0 w 659797"/>
                  <a:gd name="connsiteY0" fmla="*/ 276225 h 443485"/>
                  <a:gd name="connsiteX1" fmla="*/ 364522 w 659797"/>
                  <a:gd name="connsiteY1" fmla="*/ 0 h 443485"/>
                  <a:gd name="connsiteX2" fmla="*/ 659797 w 659797"/>
                  <a:gd name="connsiteY2" fmla="*/ 195835 h 443485"/>
                  <a:gd name="connsiteX3" fmla="*/ 336550 w 659797"/>
                  <a:gd name="connsiteY3" fmla="*/ 443485 h 443485"/>
                  <a:gd name="connsiteX4" fmla="*/ 0 w 659797"/>
                  <a:gd name="connsiteY4" fmla="*/ 276225 h 443485"/>
                  <a:gd name="connsiteX0" fmla="*/ 0 w 720122"/>
                  <a:gd name="connsiteY0" fmla="*/ 203200 h 443485"/>
                  <a:gd name="connsiteX1" fmla="*/ 424847 w 720122"/>
                  <a:gd name="connsiteY1" fmla="*/ 0 h 443485"/>
                  <a:gd name="connsiteX2" fmla="*/ 720122 w 720122"/>
                  <a:gd name="connsiteY2" fmla="*/ 195835 h 443485"/>
                  <a:gd name="connsiteX3" fmla="*/ 396875 w 720122"/>
                  <a:gd name="connsiteY3" fmla="*/ 443485 h 443485"/>
                  <a:gd name="connsiteX4" fmla="*/ 0 w 720122"/>
                  <a:gd name="connsiteY4" fmla="*/ 203200 h 443485"/>
                  <a:gd name="connsiteX0" fmla="*/ 0 w 720122"/>
                  <a:gd name="connsiteY0" fmla="*/ 120650 h 360935"/>
                  <a:gd name="connsiteX1" fmla="*/ 250222 w 720122"/>
                  <a:gd name="connsiteY1" fmla="*/ 0 h 360935"/>
                  <a:gd name="connsiteX2" fmla="*/ 720122 w 720122"/>
                  <a:gd name="connsiteY2" fmla="*/ 113285 h 360935"/>
                  <a:gd name="connsiteX3" fmla="*/ 396875 w 720122"/>
                  <a:gd name="connsiteY3" fmla="*/ 360935 h 360935"/>
                  <a:gd name="connsiteX4" fmla="*/ 0 w 720122"/>
                  <a:gd name="connsiteY4" fmla="*/ 120650 h 360935"/>
                  <a:gd name="connsiteX0" fmla="*/ 0 w 612172"/>
                  <a:gd name="connsiteY0" fmla="*/ 120650 h 360935"/>
                  <a:gd name="connsiteX1" fmla="*/ 250222 w 612172"/>
                  <a:gd name="connsiteY1" fmla="*/ 0 h 360935"/>
                  <a:gd name="connsiteX2" fmla="*/ 612172 w 612172"/>
                  <a:gd name="connsiteY2" fmla="*/ 237110 h 360935"/>
                  <a:gd name="connsiteX3" fmla="*/ 396875 w 612172"/>
                  <a:gd name="connsiteY3" fmla="*/ 360935 h 360935"/>
                  <a:gd name="connsiteX4" fmla="*/ 0 w 612172"/>
                  <a:gd name="connsiteY4" fmla="*/ 120650 h 360935"/>
                  <a:gd name="connsiteX0" fmla="*/ 0 w 650272"/>
                  <a:gd name="connsiteY0" fmla="*/ 161925 h 360935"/>
                  <a:gd name="connsiteX1" fmla="*/ 288322 w 650272"/>
                  <a:gd name="connsiteY1" fmla="*/ 0 h 360935"/>
                  <a:gd name="connsiteX2" fmla="*/ 650272 w 650272"/>
                  <a:gd name="connsiteY2" fmla="*/ 237110 h 360935"/>
                  <a:gd name="connsiteX3" fmla="*/ 434975 w 650272"/>
                  <a:gd name="connsiteY3" fmla="*/ 360935 h 360935"/>
                  <a:gd name="connsiteX4" fmla="*/ 0 w 650272"/>
                  <a:gd name="connsiteY4" fmla="*/ 161925 h 360935"/>
                  <a:gd name="connsiteX0" fmla="*/ 0 w 650272"/>
                  <a:gd name="connsiteY0" fmla="*/ 123825 h 322835"/>
                  <a:gd name="connsiteX1" fmla="*/ 231172 w 650272"/>
                  <a:gd name="connsiteY1" fmla="*/ 0 h 322835"/>
                  <a:gd name="connsiteX2" fmla="*/ 650272 w 650272"/>
                  <a:gd name="connsiteY2" fmla="*/ 199010 h 322835"/>
                  <a:gd name="connsiteX3" fmla="*/ 434975 w 650272"/>
                  <a:gd name="connsiteY3" fmla="*/ 322835 h 322835"/>
                  <a:gd name="connsiteX4" fmla="*/ 0 w 650272"/>
                  <a:gd name="connsiteY4" fmla="*/ 123825 h 322835"/>
                  <a:gd name="connsiteX0" fmla="*/ 0 w 675672"/>
                  <a:gd name="connsiteY0" fmla="*/ 111125 h 322835"/>
                  <a:gd name="connsiteX1" fmla="*/ 256572 w 675672"/>
                  <a:gd name="connsiteY1" fmla="*/ 0 h 322835"/>
                  <a:gd name="connsiteX2" fmla="*/ 675672 w 675672"/>
                  <a:gd name="connsiteY2" fmla="*/ 199010 h 322835"/>
                  <a:gd name="connsiteX3" fmla="*/ 460375 w 675672"/>
                  <a:gd name="connsiteY3" fmla="*/ 322835 h 322835"/>
                  <a:gd name="connsiteX4" fmla="*/ 0 w 675672"/>
                  <a:gd name="connsiteY4" fmla="*/ 111125 h 322835"/>
                  <a:gd name="connsiteX0" fmla="*/ 0 w 675672"/>
                  <a:gd name="connsiteY0" fmla="*/ 111125 h 313310"/>
                  <a:gd name="connsiteX1" fmla="*/ 256572 w 675672"/>
                  <a:gd name="connsiteY1" fmla="*/ 0 h 313310"/>
                  <a:gd name="connsiteX2" fmla="*/ 675672 w 675672"/>
                  <a:gd name="connsiteY2" fmla="*/ 199010 h 313310"/>
                  <a:gd name="connsiteX3" fmla="*/ 447675 w 675672"/>
                  <a:gd name="connsiteY3" fmla="*/ 313310 h 313310"/>
                  <a:gd name="connsiteX4" fmla="*/ 0 w 675672"/>
                  <a:gd name="connsiteY4" fmla="*/ 111125 h 313310"/>
                  <a:gd name="connsiteX0" fmla="*/ 0 w 675672"/>
                  <a:gd name="connsiteY0" fmla="*/ 106362 h 308547"/>
                  <a:gd name="connsiteX1" fmla="*/ 247047 w 675672"/>
                  <a:gd name="connsiteY1" fmla="*/ 0 h 308547"/>
                  <a:gd name="connsiteX2" fmla="*/ 675672 w 675672"/>
                  <a:gd name="connsiteY2" fmla="*/ 194247 h 308547"/>
                  <a:gd name="connsiteX3" fmla="*/ 447675 w 675672"/>
                  <a:gd name="connsiteY3" fmla="*/ 308547 h 308547"/>
                  <a:gd name="connsiteX4" fmla="*/ 0 w 675672"/>
                  <a:gd name="connsiteY4" fmla="*/ 106362 h 308547"/>
                  <a:gd name="connsiteX0" fmla="*/ 0 w 635191"/>
                  <a:gd name="connsiteY0" fmla="*/ 125412 h 308547"/>
                  <a:gd name="connsiteX1" fmla="*/ 206566 w 635191"/>
                  <a:gd name="connsiteY1" fmla="*/ 0 h 308547"/>
                  <a:gd name="connsiteX2" fmla="*/ 635191 w 635191"/>
                  <a:gd name="connsiteY2" fmla="*/ 194247 h 308547"/>
                  <a:gd name="connsiteX3" fmla="*/ 407194 w 635191"/>
                  <a:gd name="connsiteY3" fmla="*/ 308547 h 308547"/>
                  <a:gd name="connsiteX4" fmla="*/ 0 w 635191"/>
                  <a:gd name="connsiteY4" fmla="*/ 125412 h 308547"/>
                  <a:gd name="connsiteX0" fmla="*/ 0 w 635191"/>
                  <a:gd name="connsiteY0" fmla="*/ 113506 h 296641"/>
                  <a:gd name="connsiteX1" fmla="*/ 242285 w 635191"/>
                  <a:gd name="connsiteY1" fmla="*/ 0 h 296641"/>
                  <a:gd name="connsiteX2" fmla="*/ 635191 w 635191"/>
                  <a:gd name="connsiteY2" fmla="*/ 182341 h 296641"/>
                  <a:gd name="connsiteX3" fmla="*/ 407194 w 635191"/>
                  <a:gd name="connsiteY3" fmla="*/ 296641 h 296641"/>
                  <a:gd name="connsiteX4" fmla="*/ 0 w 635191"/>
                  <a:gd name="connsiteY4" fmla="*/ 113506 h 296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191" h="296641">
                    <a:moveTo>
                      <a:pt x="0" y="113506"/>
                    </a:moveTo>
                    <a:lnTo>
                      <a:pt x="242285" y="0"/>
                    </a:lnTo>
                    <a:lnTo>
                      <a:pt x="635191" y="182341"/>
                    </a:lnTo>
                    <a:lnTo>
                      <a:pt x="407194" y="296641"/>
                    </a:lnTo>
                    <a:lnTo>
                      <a:pt x="0" y="113506"/>
                    </a:lnTo>
                    <a:close/>
                  </a:path>
                </a:pathLst>
              </a:custGeom>
              <a:solidFill>
                <a:schemeClr val="tx1">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8" name="Rectangle 20"/>
              <p:cNvSpPr/>
              <p:nvPr/>
            </p:nvSpPr>
            <p:spPr>
              <a:xfrm>
                <a:off x="5065047" y="916611"/>
                <a:ext cx="1399859" cy="656858"/>
              </a:xfrm>
              <a:custGeom>
                <a:avLst/>
                <a:gdLst>
                  <a:gd name="connsiteX0" fmla="*/ 0 w 402622"/>
                  <a:gd name="connsiteY0" fmla="*/ 0 h 252985"/>
                  <a:gd name="connsiteX1" fmla="*/ 402622 w 402622"/>
                  <a:gd name="connsiteY1" fmla="*/ 0 h 252985"/>
                  <a:gd name="connsiteX2" fmla="*/ 402622 w 402622"/>
                  <a:gd name="connsiteY2" fmla="*/ 252985 h 252985"/>
                  <a:gd name="connsiteX3" fmla="*/ 0 w 402622"/>
                  <a:gd name="connsiteY3" fmla="*/ 252985 h 252985"/>
                  <a:gd name="connsiteX4" fmla="*/ 0 w 402622"/>
                  <a:gd name="connsiteY4" fmla="*/ 0 h 252985"/>
                  <a:gd name="connsiteX0" fmla="*/ 0 w 402622"/>
                  <a:gd name="connsiteY0" fmla="*/ 114300 h 367285"/>
                  <a:gd name="connsiteX1" fmla="*/ 348647 w 402622"/>
                  <a:gd name="connsiteY1" fmla="*/ 0 h 367285"/>
                  <a:gd name="connsiteX2" fmla="*/ 402622 w 402622"/>
                  <a:gd name="connsiteY2" fmla="*/ 367285 h 367285"/>
                  <a:gd name="connsiteX3" fmla="*/ 0 w 402622"/>
                  <a:gd name="connsiteY3" fmla="*/ 367285 h 367285"/>
                  <a:gd name="connsiteX4" fmla="*/ 0 w 402622"/>
                  <a:gd name="connsiteY4" fmla="*/ 114300 h 367285"/>
                  <a:gd name="connsiteX0" fmla="*/ 0 w 643922"/>
                  <a:gd name="connsiteY0" fmla="*/ 114300 h 367285"/>
                  <a:gd name="connsiteX1" fmla="*/ 348647 w 643922"/>
                  <a:gd name="connsiteY1" fmla="*/ 0 h 367285"/>
                  <a:gd name="connsiteX2" fmla="*/ 643922 w 643922"/>
                  <a:gd name="connsiteY2" fmla="*/ 195835 h 367285"/>
                  <a:gd name="connsiteX3" fmla="*/ 0 w 643922"/>
                  <a:gd name="connsiteY3" fmla="*/ 367285 h 367285"/>
                  <a:gd name="connsiteX4" fmla="*/ 0 w 643922"/>
                  <a:gd name="connsiteY4" fmla="*/ 114300 h 367285"/>
                  <a:gd name="connsiteX0" fmla="*/ 0 w 643922"/>
                  <a:gd name="connsiteY0" fmla="*/ 114300 h 443485"/>
                  <a:gd name="connsiteX1" fmla="*/ 348647 w 643922"/>
                  <a:gd name="connsiteY1" fmla="*/ 0 h 443485"/>
                  <a:gd name="connsiteX2" fmla="*/ 643922 w 643922"/>
                  <a:gd name="connsiteY2" fmla="*/ 195835 h 443485"/>
                  <a:gd name="connsiteX3" fmla="*/ 320675 w 643922"/>
                  <a:gd name="connsiteY3" fmla="*/ 443485 h 443485"/>
                  <a:gd name="connsiteX4" fmla="*/ 0 w 643922"/>
                  <a:gd name="connsiteY4" fmla="*/ 114300 h 443485"/>
                  <a:gd name="connsiteX0" fmla="*/ 0 w 659797"/>
                  <a:gd name="connsiteY0" fmla="*/ 276225 h 443485"/>
                  <a:gd name="connsiteX1" fmla="*/ 364522 w 659797"/>
                  <a:gd name="connsiteY1" fmla="*/ 0 h 443485"/>
                  <a:gd name="connsiteX2" fmla="*/ 659797 w 659797"/>
                  <a:gd name="connsiteY2" fmla="*/ 195835 h 443485"/>
                  <a:gd name="connsiteX3" fmla="*/ 336550 w 659797"/>
                  <a:gd name="connsiteY3" fmla="*/ 443485 h 443485"/>
                  <a:gd name="connsiteX4" fmla="*/ 0 w 659797"/>
                  <a:gd name="connsiteY4" fmla="*/ 276225 h 443485"/>
                  <a:gd name="connsiteX0" fmla="*/ 0 w 720122"/>
                  <a:gd name="connsiteY0" fmla="*/ 203200 h 443485"/>
                  <a:gd name="connsiteX1" fmla="*/ 424847 w 720122"/>
                  <a:gd name="connsiteY1" fmla="*/ 0 h 443485"/>
                  <a:gd name="connsiteX2" fmla="*/ 720122 w 720122"/>
                  <a:gd name="connsiteY2" fmla="*/ 195835 h 443485"/>
                  <a:gd name="connsiteX3" fmla="*/ 396875 w 720122"/>
                  <a:gd name="connsiteY3" fmla="*/ 443485 h 443485"/>
                  <a:gd name="connsiteX4" fmla="*/ 0 w 720122"/>
                  <a:gd name="connsiteY4" fmla="*/ 203200 h 443485"/>
                  <a:gd name="connsiteX0" fmla="*/ 0 w 720122"/>
                  <a:gd name="connsiteY0" fmla="*/ 120650 h 360935"/>
                  <a:gd name="connsiteX1" fmla="*/ 250222 w 720122"/>
                  <a:gd name="connsiteY1" fmla="*/ 0 h 360935"/>
                  <a:gd name="connsiteX2" fmla="*/ 720122 w 720122"/>
                  <a:gd name="connsiteY2" fmla="*/ 113285 h 360935"/>
                  <a:gd name="connsiteX3" fmla="*/ 396875 w 720122"/>
                  <a:gd name="connsiteY3" fmla="*/ 360935 h 360935"/>
                  <a:gd name="connsiteX4" fmla="*/ 0 w 720122"/>
                  <a:gd name="connsiteY4" fmla="*/ 120650 h 360935"/>
                  <a:gd name="connsiteX0" fmla="*/ 0 w 612172"/>
                  <a:gd name="connsiteY0" fmla="*/ 120650 h 360935"/>
                  <a:gd name="connsiteX1" fmla="*/ 250222 w 612172"/>
                  <a:gd name="connsiteY1" fmla="*/ 0 h 360935"/>
                  <a:gd name="connsiteX2" fmla="*/ 612172 w 612172"/>
                  <a:gd name="connsiteY2" fmla="*/ 237110 h 360935"/>
                  <a:gd name="connsiteX3" fmla="*/ 396875 w 612172"/>
                  <a:gd name="connsiteY3" fmla="*/ 360935 h 360935"/>
                  <a:gd name="connsiteX4" fmla="*/ 0 w 612172"/>
                  <a:gd name="connsiteY4" fmla="*/ 120650 h 360935"/>
                  <a:gd name="connsiteX0" fmla="*/ 0 w 650272"/>
                  <a:gd name="connsiteY0" fmla="*/ 161925 h 360935"/>
                  <a:gd name="connsiteX1" fmla="*/ 288322 w 650272"/>
                  <a:gd name="connsiteY1" fmla="*/ 0 h 360935"/>
                  <a:gd name="connsiteX2" fmla="*/ 650272 w 650272"/>
                  <a:gd name="connsiteY2" fmla="*/ 237110 h 360935"/>
                  <a:gd name="connsiteX3" fmla="*/ 434975 w 650272"/>
                  <a:gd name="connsiteY3" fmla="*/ 360935 h 360935"/>
                  <a:gd name="connsiteX4" fmla="*/ 0 w 650272"/>
                  <a:gd name="connsiteY4" fmla="*/ 161925 h 360935"/>
                  <a:gd name="connsiteX0" fmla="*/ 0 w 650272"/>
                  <a:gd name="connsiteY0" fmla="*/ 123825 h 322835"/>
                  <a:gd name="connsiteX1" fmla="*/ 231172 w 650272"/>
                  <a:gd name="connsiteY1" fmla="*/ 0 h 322835"/>
                  <a:gd name="connsiteX2" fmla="*/ 650272 w 650272"/>
                  <a:gd name="connsiteY2" fmla="*/ 199010 h 322835"/>
                  <a:gd name="connsiteX3" fmla="*/ 434975 w 650272"/>
                  <a:gd name="connsiteY3" fmla="*/ 322835 h 322835"/>
                  <a:gd name="connsiteX4" fmla="*/ 0 w 650272"/>
                  <a:gd name="connsiteY4" fmla="*/ 123825 h 322835"/>
                  <a:gd name="connsiteX0" fmla="*/ 0 w 675672"/>
                  <a:gd name="connsiteY0" fmla="*/ 111125 h 322835"/>
                  <a:gd name="connsiteX1" fmla="*/ 256572 w 675672"/>
                  <a:gd name="connsiteY1" fmla="*/ 0 h 322835"/>
                  <a:gd name="connsiteX2" fmla="*/ 675672 w 675672"/>
                  <a:gd name="connsiteY2" fmla="*/ 199010 h 322835"/>
                  <a:gd name="connsiteX3" fmla="*/ 460375 w 675672"/>
                  <a:gd name="connsiteY3" fmla="*/ 322835 h 322835"/>
                  <a:gd name="connsiteX4" fmla="*/ 0 w 675672"/>
                  <a:gd name="connsiteY4" fmla="*/ 111125 h 322835"/>
                  <a:gd name="connsiteX0" fmla="*/ 0 w 675672"/>
                  <a:gd name="connsiteY0" fmla="*/ 111125 h 313310"/>
                  <a:gd name="connsiteX1" fmla="*/ 256572 w 675672"/>
                  <a:gd name="connsiteY1" fmla="*/ 0 h 313310"/>
                  <a:gd name="connsiteX2" fmla="*/ 675672 w 675672"/>
                  <a:gd name="connsiteY2" fmla="*/ 199010 h 313310"/>
                  <a:gd name="connsiteX3" fmla="*/ 447675 w 675672"/>
                  <a:gd name="connsiteY3" fmla="*/ 313310 h 313310"/>
                  <a:gd name="connsiteX4" fmla="*/ 0 w 675672"/>
                  <a:gd name="connsiteY4" fmla="*/ 111125 h 313310"/>
                  <a:gd name="connsiteX0" fmla="*/ 0 w 675672"/>
                  <a:gd name="connsiteY0" fmla="*/ 106362 h 308547"/>
                  <a:gd name="connsiteX1" fmla="*/ 247047 w 675672"/>
                  <a:gd name="connsiteY1" fmla="*/ 0 h 308547"/>
                  <a:gd name="connsiteX2" fmla="*/ 675672 w 675672"/>
                  <a:gd name="connsiteY2" fmla="*/ 194247 h 308547"/>
                  <a:gd name="connsiteX3" fmla="*/ 447675 w 675672"/>
                  <a:gd name="connsiteY3" fmla="*/ 308547 h 308547"/>
                  <a:gd name="connsiteX4" fmla="*/ 0 w 675672"/>
                  <a:gd name="connsiteY4" fmla="*/ 106362 h 308547"/>
                  <a:gd name="connsiteX0" fmla="*/ 0 w 647097"/>
                  <a:gd name="connsiteY0" fmla="*/ 115887 h 308547"/>
                  <a:gd name="connsiteX1" fmla="*/ 218472 w 647097"/>
                  <a:gd name="connsiteY1" fmla="*/ 0 h 308547"/>
                  <a:gd name="connsiteX2" fmla="*/ 647097 w 647097"/>
                  <a:gd name="connsiteY2" fmla="*/ 194247 h 308547"/>
                  <a:gd name="connsiteX3" fmla="*/ 419100 w 647097"/>
                  <a:gd name="connsiteY3" fmla="*/ 308547 h 308547"/>
                  <a:gd name="connsiteX4" fmla="*/ 0 w 647097"/>
                  <a:gd name="connsiteY4" fmla="*/ 115887 h 308547"/>
                  <a:gd name="connsiteX0" fmla="*/ 0 w 647097"/>
                  <a:gd name="connsiteY0" fmla="*/ 108744 h 301404"/>
                  <a:gd name="connsiteX1" fmla="*/ 232759 w 647097"/>
                  <a:gd name="connsiteY1" fmla="*/ 0 h 301404"/>
                  <a:gd name="connsiteX2" fmla="*/ 647097 w 647097"/>
                  <a:gd name="connsiteY2" fmla="*/ 187104 h 301404"/>
                  <a:gd name="connsiteX3" fmla="*/ 419100 w 647097"/>
                  <a:gd name="connsiteY3" fmla="*/ 301404 h 301404"/>
                  <a:gd name="connsiteX4" fmla="*/ 0 w 647097"/>
                  <a:gd name="connsiteY4" fmla="*/ 108744 h 301404"/>
                  <a:gd name="connsiteX0" fmla="*/ 0 w 642335"/>
                  <a:gd name="connsiteY0" fmla="*/ 108744 h 301404"/>
                  <a:gd name="connsiteX1" fmla="*/ 232759 w 642335"/>
                  <a:gd name="connsiteY1" fmla="*/ 0 h 301404"/>
                  <a:gd name="connsiteX2" fmla="*/ 642335 w 642335"/>
                  <a:gd name="connsiteY2" fmla="*/ 187104 h 301404"/>
                  <a:gd name="connsiteX3" fmla="*/ 419100 w 642335"/>
                  <a:gd name="connsiteY3" fmla="*/ 301404 h 301404"/>
                  <a:gd name="connsiteX4" fmla="*/ 0 w 642335"/>
                  <a:gd name="connsiteY4" fmla="*/ 108744 h 301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335" h="301404">
                    <a:moveTo>
                      <a:pt x="0" y="108744"/>
                    </a:moveTo>
                    <a:lnTo>
                      <a:pt x="232759" y="0"/>
                    </a:lnTo>
                    <a:lnTo>
                      <a:pt x="642335" y="187104"/>
                    </a:lnTo>
                    <a:lnTo>
                      <a:pt x="419100" y="301404"/>
                    </a:lnTo>
                    <a:lnTo>
                      <a:pt x="0" y="108744"/>
                    </a:lnTo>
                    <a:close/>
                  </a:path>
                </a:pathLst>
              </a:custGeom>
              <a:solidFill>
                <a:schemeClr val="tx1">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9" name="Rectangle 20"/>
              <p:cNvSpPr/>
              <p:nvPr/>
            </p:nvSpPr>
            <p:spPr>
              <a:xfrm>
                <a:off x="5881077" y="534784"/>
                <a:ext cx="1384290" cy="646478"/>
              </a:xfrm>
              <a:custGeom>
                <a:avLst/>
                <a:gdLst>
                  <a:gd name="connsiteX0" fmla="*/ 0 w 402622"/>
                  <a:gd name="connsiteY0" fmla="*/ 0 h 252985"/>
                  <a:gd name="connsiteX1" fmla="*/ 402622 w 402622"/>
                  <a:gd name="connsiteY1" fmla="*/ 0 h 252985"/>
                  <a:gd name="connsiteX2" fmla="*/ 402622 w 402622"/>
                  <a:gd name="connsiteY2" fmla="*/ 252985 h 252985"/>
                  <a:gd name="connsiteX3" fmla="*/ 0 w 402622"/>
                  <a:gd name="connsiteY3" fmla="*/ 252985 h 252985"/>
                  <a:gd name="connsiteX4" fmla="*/ 0 w 402622"/>
                  <a:gd name="connsiteY4" fmla="*/ 0 h 252985"/>
                  <a:gd name="connsiteX0" fmla="*/ 0 w 402622"/>
                  <a:gd name="connsiteY0" fmla="*/ 114300 h 367285"/>
                  <a:gd name="connsiteX1" fmla="*/ 348647 w 402622"/>
                  <a:gd name="connsiteY1" fmla="*/ 0 h 367285"/>
                  <a:gd name="connsiteX2" fmla="*/ 402622 w 402622"/>
                  <a:gd name="connsiteY2" fmla="*/ 367285 h 367285"/>
                  <a:gd name="connsiteX3" fmla="*/ 0 w 402622"/>
                  <a:gd name="connsiteY3" fmla="*/ 367285 h 367285"/>
                  <a:gd name="connsiteX4" fmla="*/ 0 w 402622"/>
                  <a:gd name="connsiteY4" fmla="*/ 114300 h 367285"/>
                  <a:gd name="connsiteX0" fmla="*/ 0 w 643922"/>
                  <a:gd name="connsiteY0" fmla="*/ 114300 h 367285"/>
                  <a:gd name="connsiteX1" fmla="*/ 348647 w 643922"/>
                  <a:gd name="connsiteY1" fmla="*/ 0 h 367285"/>
                  <a:gd name="connsiteX2" fmla="*/ 643922 w 643922"/>
                  <a:gd name="connsiteY2" fmla="*/ 195835 h 367285"/>
                  <a:gd name="connsiteX3" fmla="*/ 0 w 643922"/>
                  <a:gd name="connsiteY3" fmla="*/ 367285 h 367285"/>
                  <a:gd name="connsiteX4" fmla="*/ 0 w 643922"/>
                  <a:gd name="connsiteY4" fmla="*/ 114300 h 367285"/>
                  <a:gd name="connsiteX0" fmla="*/ 0 w 643922"/>
                  <a:gd name="connsiteY0" fmla="*/ 114300 h 443485"/>
                  <a:gd name="connsiteX1" fmla="*/ 348647 w 643922"/>
                  <a:gd name="connsiteY1" fmla="*/ 0 h 443485"/>
                  <a:gd name="connsiteX2" fmla="*/ 643922 w 643922"/>
                  <a:gd name="connsiteY2" fmla="*/ 195835 h 443485"/>
                  <a:gd name="connsiteX3" fmla="*/ 320675 w 643922"/>
                  <a:gd name="connsiteY3" fmla="*/ 443485 h 443485"/>
                  <a:gd name="connsiteX4" fmla="*/ 0 w 643922"/>
                  <a:gd name="connsiteY4" fmla="*/ 114300 h 443485"/>
                  <a:gd name="connsiteX0" fmla="*/ 0 w 659797"/>
                  <a:gd name="connsiteY0" fmla="*/ 276225 h 443485"/>
                  <a:gd name="connsiteX1" fmla="*/ 364522 w 659797"/>
                  <a:gd name="connsiteY1" fmla="*/ 0 h 443485"/>
                  <a:gd name="connsiteX2" fmla="*/ 659797 w 659797"/>
                  <a:gd name="connsiteY2" fmla="*/ 195835 h 443485"/>
                  <a:gd name="connsiteX3" fmla="*/ 336550 w 659797"/>
                  <a:gd name="connsiteY3" fmla="*/ 443485 h 443485"/>
                  <a:gd name="connsiteX4" fmla="*/ 0 w 659797"/>
                  <a:gd name="connsiteY4" fmla="*/ 276225 h 443485"/>
                  <a:gd name="connsiteX0" fmla="*/ 0 w 720122"/>
                  <a:gd name="connsiteY0" fmla="*/ 203200 h 443485"/>
                  <a:gd name="connsiteX1" fmla="*/ 424847 w 720122"/>
                  <a:gd name="connsiteY1" fmla="*/ 0 h 443485"/>
                  <a:gd name="connsiteX2" fmla="*/ 720122 w 720122"/>
                  <a:gd name="connsiteY2" fmla="*/ 195835 h 443485"/>
                  <a:gd name="connsiteX3" fmla="*/ 396875 w 720122"/>
                  <a:gd name="connsiteY3" fmla="*/ 443485 h 443485"/>
                  <a:gd name="connsiteX4" fmla="*/ 0 w 720122"/>
                  <a:gd name="connsiteY4" fmla="*/ 203200 h 443485"/>
                  <a:gd name="connsiteX0" fmla="*/ 0 w 720122"/>
                  <a:gd name="connsiteY0" fmla="*/ 120650 h 360935"/>
                  <a:gd name="connsiteX1" fmla="*/ 250222 w 720122"/>
                  <a:gd name="connsiteY1" fmla="*/ 0 h 360935"/>
                  <a:gd name="connsiteX2" fmla="*/ 720122 w 720122"/>
                  <a:gd name="connsiteY2" fmla="*/ 113285 h 360935"/>
                  <a:gd name="connsiteX3" fmla="*/ 396875 w 720122"/>
                  <a:gd name="connsiteY3" fmla="*/ 360935 h 360935"/>
                  <a:gd name="connsiteX4" fmla="*/ 0 w 720122"/>
                  <a:gd name="connsiteY4" fmla="*/ 120650 h 360935"/>
                  <a:gd name="connsiteX0" fmla="*/ 0 w 612172"/>
                  <a:gd name="connsiteY0" fmla="*/ 120650 h 360935"/>
                  <a:gd name="connsiteX1" fmla="*/ 250222 w 612172"/>
                  <a:gd name="connsiteY1" fmla="*/ 0 h 360935"/>
                  <a:gd name="connsiteX2" fmla="*/ 612172 w 612172"/>
                  <a:gd name="connsiteY2" fmla="*/ 237110 h 360935"/>
                  <a:gd name="connsiteX3" fmla="*/ 396875 w 612172"/>
                  <a:gd name="connsiteY3" fmla="*/ 360935 h 360935"/>
                  <a:gd name="connsiteX4" fmla="*/ 0 w 612172"/>
                  <a:gd name="connsiteY4" fmla="*/ 120650 h 360935"/>
                  <a:gd name="connsiteX0" fmla="*/ 0 w 650272"/>
                  <a:gd name="connsiteY0" fmla="*/ 161925 h 360935"/>
                  <a:gd name="connsiteX1" fmla="*/ 288322 w 650272"/>
                  <a:gd name="connsiteY1" fmla="*/ 0 h 360935"/>
                  <a:gd name="connsiteX2" fmla="*/ 650272 w 650272"/>
                  <a:gd name="connsiteY2" fmla="*/ 237110 h 360935"/>
                  <a:gd name="connsiteX3" fmla="*/ 434975 w 650272"/>
                  <a:gd name="connsiteY3" fmla="*/ 360935 h 360935"/>
                  <a:gd name="connsiteX4" fmla="*/ 0 w 650272"/>
                  <a:gd name="connsiteY4" fmla="*/ 161925 h 360935"/>
                  <a:gd name="connsiteX0" fmla="*/ 0 w 650272"/>
                  <a:gd name="connsiteY0" fmla="*/ 123825 h 322835"/>
                  <a:gd name="connsiteX1" fmla="*/ 231172 w 650272"/>
                  <a:gd name="connsiteY1" fmla="*/ 0 h 322835"/>
                  <a:gd name="connsiteX2" fmla="*/ 650272 w 650272"/>
                  <a:gd name="connsiteY2" fmla="*/ 199010 h 322835"/>
                  <a:gd name="connsiteX3" fmla="*/ 434975 w 650272"/>
                  <a:gd name="connsiteY3" fmla="*/ 322835 h 322835"/>
                  <a:gd name="connsiteX4" fmla="*/ 0 w 650272"/>
                  <a:gd name="connsiteY4" fmla="*/ 123825 h 322835"/>
                  <a:gd name="connsiteX0" fmla="*/ 0 w 675672"/>
                  <a:gd name="connsiteY0" fmla="*/ 111125 h 322835"/>
                  <a:gd name="connsiteX1" fmla="*/ 256572 w 675672"/>
                  <a:gd name="connsiteY1" fmla="*/ 0 h 322835"/>
                  <a:gd name="connsiteX2" fmla="*/ 675672 w 675672"/>
                  <a:gd name="connsiteY2" fmla="*/ 199010 h 322835"/>
                  <a:gd name="connsiteX3" fmla="*/ 460375 w 675672"/>
                  <a:gd name="connsiteY3" fmla="*/ 322835 h 322835"/>
                  <a:gd name="connsiteX4" fmla="*/ 0 w 675672"/>
                  <a:gd name="connsiteY4" fmla="*/ 111125 h 322835"/>
                  <a:gd name="connsiteX0" fmla="*/ 0 w 675672"/>
                  <a:gd name="connsiteY0" fmla="*/ 111125 h 313310"/>
                  <a:gd name="connsiteX1" fmla="*/ 256572 w 675672"/>
                  <a:gd name="connsiteY1" fmla="*/ 0 h 313310"/>
                  <a:gd name="connsiteX2" fmla="*/ 675672 w 675672"/>
                  <a:gd name="connsiteY2" fmla="*/ 199010 h 313310"/>
                  <a:gd name="connsiteX3" fmla="*/ 447675 w 675672"/>
                  <a:gd name="connsiteY3" fmla="*/ 313310 h 313310"/>
                  <a:gd name="connsiteX4" fmla="*/ 0 w 675672"/>
                  <a:gd name="connsiteY4" fmla="*/ 111125 h 313310"/>
                  <a:gd name="connsiteX0" fmla="*/ 0 w 675672"/>
                  <a:gd name="connsiteY0" fmla="*/ 106362 h 308547"/>
                  <a:gd name="connsiteX1" fmla="*/ 247047 w 675672"/>
                  <a:gd name="connsiteY1" fmla="*/ 0 h 308547"/>
                  <a:gd name="connsiteX2" fmla="*/ 675672 w 675672"/>
                  <a:gd name="connsiteY2" fmla="*/ 194247 h 308547"/>
                  <a:gd name="connsiteX3" fmla="*/ 447675 w 675672"/>
                  <a:gd name="connsiteY3" fmla="*/ 308547 h 308547"/>
                  <a:gd name="connsiteX4" fmla="*/ 0 w 675672"/>
                  <a:gd name="connsiteY4" fmla="*/ 106362 h 308547"/>
                  <a:gd name="connsiteX0" fmla="*/ 0 w 635191"/>
                  <a:gd name="connsiteY0" fmla="*/ 125412 h 308547"/>
                  <a:gd name="connsiteX1" fmla="*/ 206566 w 635191"/>
                  <a:gd name="connsiteY1" fmla="*/ 0 h 308547"/>
                  <a:gd name="connsiteX2" fmla="*/ 635191 w 635191"/>
                  <a:gd name="connsiteY2" fmla="*/ 194247 h 308547"/>
                  <a:gd name="connsiteX3" fmla="*/ 407194 w 635191"/>
                  <a:gd name="connsiteY3" fmla="*/ 308547 h 308547"/>
                  <a:gd name="connsiteX4" fmla="*/ 0 w 635191"/>
                  <a:gd name="connsiteY4" fmla="*/ 125412 h 308547"/>
                  <a:gd name="connsiteX0" fmla="*/ 0 w 635191"/>
                  <a:gd name="connsiteY0" fmla="*/ 113506 h 296641"/>
                  <a:gd name="connsiteX1" fmla="*/ 242285 w 635191"/>
                  <a:gd name="connsiteY1" fmla="*/ 0 h 296641"/>
                  <a:gd name="connsiteX2" fmla="*/ 635191 w 635191"/>
                  <a:gd name="connsiteY2" fmla="*/ 182341 h 296641"/>
                  <a:gd name="connsiteX3" fmla="*/ 407194 w 635191"/>
                  <a:gd name="connsiteY3" fmla="*/ 296641 h 296641"/>
                  <a:gd name="connsiteX4" fmla="*/ 0 w 635191"/>
                  <a:gd name="connsiteY4" fmla="*/ 113506 h 296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191" h="296641">
                    <a:moveTo>
                      <a:pt x="0" y="113506"/>
                    </a:moveTo>
                    <a:lnTo>
                      <a:pt x="242285" y="0"/>
                    </a:lnTo>
                    <a:lnTo>
                      <a:pt x="635191" y="182341"/>
                    </a:lnTo>
                    <a:lnTo>
                      <a:pt x="407194" y="296641"/>
                    </a:lnTo>
                    <a:lnTo>
                      <a:pt x="0" y="113506"/>
                    </a:lnTo>
                    <a:close/>
                  </a:path>
                </a:pathLst>
              </a:custGeom>
              <a:solidFill>
                <a:schemeClr val="tx1">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17" name="Group 16"/>
            <p:cNvGrpSpPr/>
            <p:nvPr/>
          </p:nvGrpSpPr>
          <p:grpSpPr>
            <a:xfrm>
              <a:off x="5994084" y="2695722"/>
              <a:ext cx="670767" cy="463791"/>
              <a:chOff x="2621983" y="-89225"/>
              <a:chExt cx="7286095" cy="5037832"/>
            </a:xfrm>
          </p:grpSpPr>
          <p:sp>
            <p:nvSpPr>
              <p:cNvPr id="26" name="Freeform 25"/>
              <p:cNvSpPr/>
              <p:nvPr/>
            </p:nvSpPr>
            <p:spPr>
              <a:xfrm>
                <a:off x="2621983" y="-89225"/>
                <a:ext cx="7286095" cy="5037832"/>
              </a:xfrm>
              <a:custGeom>
                <a:avLst/>
                <a:gdLst>
                  <a:gd name="connsiteX0" fmla="*/ 2681855 w 7286095"/>
                  <a:gd name="connsiteY0" fmla="*/ 2147419 h 5037832"/>
                  <a:gd name="connsiteX1" fmla="*/ 2681855 w 7286095"/>
                  <a:gd name="connsiteY1" fmla="*/ 2235525 h 5037832"/>
                  <a:gd name="connsiteX2" fmla="*/ 3672455 w 7286095"/>
                  <a:gd name="connsiteY2" fmla="*/ 2687963 h 5037832"/>
                  <a:gd name="connsiteX3" fmla="*/ 4160611 w 7286095"/>
                  <a:gd name="connsiteY3" fmla="*/ 2428406 h 5037832"/>
                  <a:gd name="connsiteX4" fmla="*/ 4160611 w 7286095"/>
                  <a:gd name="connsiteY4" fmla="*/ 2337919 h 5037832"/>
                  <a:gd name="connsiteX5" fmla="*/ 2681855 w 7286095"/>
                  <a:gd name="connsiteY5" fmla="*/ 2147419 h 5037832"/>
                  <a:gd name="connsiteX6" fmla="*/ 6858354 w 7286095"/>
                  <a:gd name="connsiteY6" fmla="*/ 1929286 h 5037832"/>
                  <a:gd name="connsiteX7" fmla="*/ 3541261 w 7286095"/>
                  <a:gd name="connsiteY7" fmla="*/ 3836527 h 5037832"/>
                  <a:gd name="connsiteX8" fmla="*/ 43626 w 7286095"/>
                  <a:gd name="connsiteY8" fmla="*/ 1971532 h 5037832"/>
                  <a:gd name="connsiteX9" fmla="*/ 3542717 w 7286095"/>
                  <a:gd name="connsiteY9" fmla="*/ 3953437 h 5037832"/>
                  <a:gd name="connsiteX10" fmla="*/ 6858354 w 7286095"/>
                  <a:gd name="connsiteY10" fmla="*/ 1929286 h 5037832"/>
                  <a:gd name="connsiteX11" fmla="*/ 3521642 w 7286095"/>
                  <a:gd name="connsiteY11" fmla="*/ 1748956 h 5037832"/>
                  <a:gd name="connsiteX12" fmla="*/ 3521642 w 7286095"/>
                  <a:gd name="connsiteY12" fmla="*/ 1818013 h 5037832"/>
                  <a:gd name="connsiteX13" fmla="*/ 4445567 w 7286095"/>
                  <a:gd name="connsiteY13" fmla="*/ 2251400 h 5037832"/>
                  <a:gd name="connsiteX14" fmla="*/ 4931342 w 7286095"/>
                  <a:gd name="connsiteY14" fmla="*/ 1989463 h 5037832"/>
                  <a:gd name="connsiteX15" fmla="*/ 4931342 w 7286095"/>
                  <a:gd name="connsiteY15" fmla="*/ 1918025 h 5037832"/>
                  <a:gd name="connsiteX16" fmla="*/ 3521642 w 7286095"/>
                  <a:gd name="connsiteY16" fmla="*/ 1748956 h 5037832"/>
                  <a:gd name="connsiteX17" fmla="*/ 1567430 w 7286095"/>
                  <a:gd name="connsiteY17" fmla="*/ 1621163 h 5037832"/>
                  <a:gd name="connsiteX18" fmla="*/ 1567430 w 7286095"/>
                  <a:gd name="connsiteY18" fmla="*/ 1704506 h 5037832"/>
                  <a:gd name="connsiteX19" fmla="*/ 2548505 w 7286095"/>
                  <a:gd name="connsiteY19" fmla="*/ 2147419 h 5037832"/>
                  <a:gd name="connsiteX20" fmla="*/ 3046186 w 7286095"/>
                  <a:gd name="connsiteY20" fmla="*/ 1887863 h 5037832"/>
                  <a:gd name="connsiteX21" fmla="*/ 3046186 w 7286095"/>
                  <a:gd name="connsiteY21" fmla="*/ 1809281 h 5037832"/>
                  <a:gd name="connsiteX22" fmla="*/ 1567430 w 7286095"/>
                  <a:gd name="connsiteY22" fmla="*/ 1621163 h 5037832"/>
                  <a:gd name="connsiteX23" fmla="*/ 6182457 w 7286095"/>
                  <a:gd name="connsiteY23" fmla="*/ 1573175 h 5037832"/>
                  <a:gd name="connsiteX24" fmla="*/ 3587694 w 7286095"/>
                  <a:gd name="connsiteY24" fmla="*/ 2901693 h 5037832"/>
                  <a:gd name="connsiteX25" fmla="*/ 1179754 w 7286095"/>
                  <a:gd name="connsiteY25" fmla="*/ 1713292 h 5037832"/>
                  <a:gd name="connsiteX26" fmla="*/ 1179754 w 7286095"/>
                  <a:gd name="connsiteY26" fmla="*/ 1874168 h 5037832"/>
                  <a:gd name="connsiteX27" fmla="*/ 3598688 w 7286095"/>
                  <a:gd name="connsiteY27" fmla="*/ 3163595 h 5037832"/>
                  <a:gd name="connsiteX28" fmla="*/ 6182457 w 7286095"/>
                  <a:gd name="connsiteY28" fmla="*/ 1687345 h 5037832"/>
                  <a:gd name="connsiteX29" fmla="*/ 6182457 w 7286095"/>
                  <a:gd name="connsiteY29" fmla="*/ 1573175 h 5037832"/>
                  <a:gd name="connsiteX30" fmla="*/ 4326505 w 7286095"/>
                  <a:gd name="connsiteY30" fmla="*/ 1372719 h 5037832"/>
                  <a:gd name="connsiteX31" fmla="*/ 4326505 w 7286095"/>
                  <a:gd name="connsiteY31" fmla="*/ 1432250 h 5037832"/>
                  <a:gd name="connsiteX32" fmla="*/ 5226617 w 7286095"/>
                  <a:gd name="connsiteY32" fmla="*/ 1837063 h 5037832"/>
                  <a:gd name="connsiteX33" fmla="*/ 5712392 w 7286095"/>
                  <a:gd name="connsiteY33" fmla="*/ 1577506 h 5037832"/>
                  <a:gd name="connsiteX34" fmla="*/ 5712392 w 7286095"/>
                  <a:gd name="connsiteY34" fmla="*/ 1520356 h 5037832"/>
                  <a:gd name="connsiteX35" fmla="*/ 4326505 w 7286095"/>
                  <a:gd name="connsiteY35" fmla="*/ 1372719 h 5037832"/>
                  <a:gd name="connsiteX36" fmla="*/ 2442936 w 7286095"/>
                  <a:gd name="connsiteY36" fmla="*/ 1241750 h 5037832"/>
                  <a:gd name="connsiteX37" fmla="*/ 2442936 w 7286095"/>
                  <a:gd name="connsiteY37" fmla="*/ 1306044 h 5037832"/>
                  <a:gd name="connsiteX38" fmla="*/ 3371623 w 7286095"/>
                  <a:gd name="connsiteY38" fmla="*/ 1739431 h 5037832"/>
                  <a:gd name="connsiteX39" fmla="*/ 3847873 w 7286095"/>
                  <a:gd name="connsiteY39" fmla="*/ 1475113 h 5037832"/>
                  <a:gd name="connsiteX40" fmla="*/ 3847873 w 7286095"/>
                  <a:gd name="connsiteY40" fmla="*/ 1410819 h 5037832"/>
                  <a:gd name="connsiteX41" fmla="*/ 2442936 w 7286095"/>
                  <a:gd name="connsiteY41" fmla="*/ 1241750 h 5037832"/>
                  <a:gd name="connsiteX42" fmla="*/ 3259705 w 7286095"/>
                  <a:gd name="connsiteY42" fmla="*/ 875038 h 5037832"/>
                  <a:gd name="connsiteX43" fmla="*/ 3257324 w 7286095"/>
                  <a:gd name="connsiteY43" fmla="*/ 934569 h 5037832"/>
                  <a:gd name="connsiteX44" fmla="*/ 4157436 w 7286095"/>
                  <a:gd name="connsiteY44" fmla="*/ 1348906 h 5037832"/>
                  <a:gd name="connsiteX45" fmla="*/ 4647973 w 7286095"/>
                  <a:gd name="connsiteY45" fmla="*/ 1086969 h 5037832"/>
                  <a:gd name="connsiteX46" fmla="*/ 4647973 w 7286095"/>
                  <a:gd name="connsiteY46" fmla="*/ 1017913 h 5037832"/>
                  <a:gd name="connsiteX47" fmla="*/ 3259705 w 7286095"/>
                  <a:gd name="connsiteY47" fmla="*/ 875038 h 5037832"/>
                  <a:gd name="connsiteX48" fmla="*/ 3826413 w 7286095"/>
                  <a:gd name="connsiteY48" fmla="*/ 369202 h 5037832"/>
                  <a:gd name="connsiteX49" fmla="*/ 1662381 w 7286095"/>
                  <a:gd name="connsiteY49" fmla="*/ 1469382 h 5037832"/>
                  <a:gd name="connsiteX50" fmla="*/ 3821224 w 7286095"/>
                  <a:gd name="connsiteY50" fmla="*/ 426288 h 5037832"/>
                  <a:gd name="connsiteX51" fmla="*/ 5513009 w 7286095"/>
                  <a:gd name="connsiteY51" fmla="*/ 1225474 h 5037832"/>
                  <a:gd name="connsiteX52" fmla="*/ 3826413 w 7286095"/>
                  <a:gd name="connsiteY52" fmla="*/ 369202 h 5037832"/>
                  <a:gd name="connsiteX53" fmla="*/ 3789789 w 7286095"/>
                  <a:gd name="connsiteY53" fmla="*/ 0 h 5037832"/>
                  <a:gd name="connsiteX54" fmla="*/ 7284571 w 7286095"/>
                  <a:gd name="connsiteY54" fmla="*/ 1684220 h 5037832"/>
                  <a:gd name="connsiteX55" fmla="*/ 7286095 w 7286095"/>
                  <a:gd name="connsiteY55" fmla="*/ 2057530 h 5037832"/>
                  <a:gd name="connsiteX56" fmla="*/ 7154815 w 7286095"/>
                  <a:gd name="connsiteY56" fmla="*/ 2137797 h 5037832"/>
                  <a:gd name="connsiteX57" fmla="*/ 7154815 w 7286095"/>
                  <a:gd name="connsiteY57" fmla="*/ 2835810 h 5037832"/>
                  <a:gd name="connsiteX58" fmla="*/ 7013117 w 7286095"/>
                  <a:gd name="connsiteY58" fmla="*/ 2924661 h 5037832"/>
                  <a:gd name="connsiteX59" fmla="*/ 7013117 w 7286095"/>
                  <a:gd name="connsiteY59" fmla="*/ 2224434 h 5037832"/>
                  <a:gd name="connsiteX60" fmla="*/ 6848443 w 7286095"/>
                  <a:gd name="connsiteY60" fmla="*/ 2325119 h 5037832"/>
                  <a:gd name="connsiteX61" fmla="*/ 6848443 w 7286095"/>
                  <a:gd name="connsiteY61" fmla="*/ 3027918 h 5037832"/>
                  <a:gd name="connsiteX62" fmla="*/ 6706745 w 7286095"/>
                  <a:gd name="connsiteY62" fmla="*/ 3116769 h 5037832"/>
                  <a:gd name="connsiteX63" fmla="*/ 6706745 w 7286095"/>
                  <a:gd name="connsiteY63" fmla="*/ 2411756 h 5037832"/>
                  <a:gd name="connsiteX64" fmla="*/ 6542073 w 7286095"/>
                  <a:gd name="connsiteY64" fmla="*/ 2512439 h 5037832"/>
                  <a:gd name="connsiteX65" fmla="*/ 6542073 w 7286095"/>
                  <a:gd name="connsiteY65" fmla="*/ 3220024 h 5037832"/>
                  <a:gd name="connsiteX66" fmla="*/ 6400375 w 7286095"/>
                  <a:gd name="connsiteY66" fmla="*/ 3308875 h 5037832"/>
                  <a:gd name="connsiteX67" fmla="*/ 6400375 w 7286095"/>
                  <a:gd name="connsiteY67" fmla="*/ 2599076 h 5037832"/>
                  <a:gd name="connsiteX68" fmla="*/ 6235703 w 7286095"/>
                  <a:gd name="connsiteY68" fmla="*/ 2699759 h 5037832"/>
                  <a:gd name="connsiteX69" fmla="*/ 6235703 w 7286095"/>
                  <a:gd name="connsiteY69" fmla="*/ 3412131 h 5037832"/>
                  <a:gd name="connsiteX70" fmla="*/ 6094005 w 7286095"/>
                  <a:gd name="connsiteY70" fmla="*/ 3500981 h 5037832"/>
                  <a:gd name="connsiteX71" fmla="*/ 6094005 w 7286095"/>
                  <a:gd name="connsiteY71" fmla="*/ 2786396 h 5037832"/>
                  <a:gd name="connsiteX72" fmla="*/ 5929332 w 7286095"/>
                  <a:gd name="connsiteY72" fmla="*/ 2887081 h 5037832"/>
                  <a:gd name="connsiteX73" fmla="*/ 5929332 w 7286095"/>
                  <a:gd name="connsiteY73" fmla="*/ 3604237 h 5037832"/>
                  <a:gd name="connsiteX74" fmla="*/ 5787635 w 7286095"/>
                  <a:gd name="connsiteY74" fmla="*/ 3693086 h 5037832"/>
                  <a:gd name="connsiteX75" fmla="*/ 5787635 w 7286095"/>
                  <a:gd name="connsiteY75" fmla="*/ 2973716 h 5037832"/>
                  <a:gd name="connsiteX76" fmla="*/ 5622962 w 7286095"/>
                  <a:gd name="connsiteY76" fmla="*/ 3074401 h 5037832"/>
                  <a:gd name="connsiteX77" fmla="*/ 5622962 w 7286095"/>
                  <a:gd name="connsiteY77" fmla="*/ 3796343 h 5037832"/>
                  <a:gd name="connsiteX78" fmla="*/ 5481265 w 7286095"/>
                  <a:gd name="connsiteY78" fmla="*/ 3885194 h 5037832"/>
                  <a:gd name="connsiteX79" fmla="*/ 5481265 w 7286095"/>
                  <a:gd name="connsiteY79" fmla="*/ 3161036 h 5037832"/>
                  <a:gd name="connsiteX80" fmla="*/ 5316592 w 7286095"/>
                  <a:gd name="connsiteY80" fmla="*/ 3261721 h 5037832"/>
                  <a:gd name="connsiteX81" fmla="*/ 5316592 w 7286095"/>
                  <a:gd name="connsiteY81" fmla="*/ 3988448 h 5037832"/>
                  <a:gd name="connsiteX82" fmla="*/ 5174895 w 7286095"/>
                  <a:gd name="connsiteY82" fmla="*/ 4077300 h 5037832"/>
                  <a:gd name="connsiteX83" fmla="*/ 5174895 w 7286095"/>
                  <a:gd name="connsiteY83" fmla="*/ 3348358 h 5037832"/>
                  <a:gd name="connsiteX84" fmla="*/ 5010222 w 7286095"/>
                  <a:gd name="connsiteY84" fmla="*/ 3449041 h 5037832"/>
                  <a:gd name="connsiteX85" fmla="*/ 5010222 w 7286095"/>
                  <a:gd name="connsiteY85" fmla="*/ 4180556 h 5037832"/>
                  <a:gd name="connsiteX86" fmla="*/ 4868525 w 7286095"/>
                  <a:gd name="connsiteY86" fmla="*/ 4269405 h 5037832"/>
                  <a:gd name="connsiteX87" fmla="*/ 4868525 w 7286095"/>
                  <a:gd name="connsiteY87" fmla="*/ 3535678 h 5037832"/>
                  <a:gd name="connsiteX88" fmla="*/ 4703852 w 7286095"/>
                  <a:gd name="connsiteY88" fmla="*/ 3636360 h 5037832"/>
                  <a:gd name="connsiteX89" fmla="*/ 4703852 w 7286095"/>
                  <a:gd name="connsiteY89" fmla="*/ 4372662 h 5037832"/>
                  <a:gd name="connsiteX90" fmla="*/ 4562155 w 7286095"/>
                  <a:gd name="connsiteY90" fmla="*/ 4461513 h 5037832"/>
                  <a:gd name="connsiteX91" fmla="*/ 4562155 w 7286095"/>
                  <a:gd name="connsiteY91" fmla="*/ 3722997 h 5037832"/>
                  <a:gd name="connsiteX92" fmla="*/ 4397482 w 7286095"/>
                  <a:gd name="connsiteY92" fmla="*/ 3823680 h 5037832"/>
                  <a:gd name="connsiteX93" fmla="*/ 4397482 w 7286095"/>
                  <a:gd name="connsiteY93" fmla="*/ 4564768 h 5037832"/>
                  <a:gd name="connsiteX94" fmla="*/ 4255785 w 7286095"/>
                  <a:gd name="connsiteY94" fmla="*/ 4653619 h 5037832"/>
                  <a:gd name="connsiteX95" fmla="*/ 4255785 w 7286095"/>
                  <a:gd name="connsiteY95" fmla="*/ 3910317 h 5037832"/>
                  <a:gd name="connsiteX96" fmla="*/ 4091112 w 7286095"/>
                  <a:gd name="connsiteY96" fmla="*/ 4011000 h 5037832"/>
                  <a:gd name="connsiteX97" fmla="*/ 4091112 w 7286095"/>
                  <a:gd name="connsiteY97" fmla="*/ 4756875 h 5037832"/>
                  <a:gd name="connsiteX98" fmla="*/ 3949414 w 7286095"/>
                  <a:gd name="connsiteY98" fmla="*/ 4845724 h 5037832"/>
                  <a:gd name="connsiteX99" fmla="*/ 3949414 w 7286095"/>
                  <a:gd name="connsiteY99" fmla="*/ 4097637 h 5037832"/>
                  <a:gd name="connsiteX100" fmla="*/ 3784742 w 7286095"/>
                  <a:gd name="connsiteY100" fmla="*/ 4198322 h 5037832"/>
                  <a:gd name="connsiteX101" fmla="*/ 3784742 w 7286095"/>
                  <a:gd name="connsiteY101" fmla="*/ 4948981 h 5037832"/>
                  <a:gd name="connsiteX102" fmla="*/ 3643044 w 7286095"/>
                  <a:gd name="connsiteY102" fmla="*/ 5037832 h 5037832"/>
                  <a:gd name="connsiteX103" fmla="*/ 3643044 w 7286095"/>
                  <a:gd name="connsiteY103" fmla="*/ 4284957 h 5037832"/>
                  <a:gd name="connsiteX104" fmla="*/ 3528878 w 7286095"/>
                  <a:gd name="connsiteY104" fmla="*/ 4354761 h 5037832"/>
                  <a:gd name="connsiteX105" fmla="*/ 3436697 w 7286095"/>
                  <a:gd name="connsiteY105" fmla="*/ 4303067 h 5037832"/>
                  <a:gd name="connsiteX106" fmla="*/ 3436697 w 7286095"/>
                  <a:gd name="connsiteY106" fmla="*/ 5010554 h 5037832"/>
                  <a:gd name="connsiteX107" fmla="*/ 3294999 w 7286095"/>
                  <a:gd name="connsiteY107" fmla="*/ 4927162 h 5037832"/>
                  <a:gd name="connsiteX108" fmla="*/ 3294999 w 7286095"/>
                  <a:gd name="connsiteY108" fmla="*/ 4223605 h 5037832"/>
                  <a:gd name="connsiteX109" fmla="*/ 3147557 w 7286095"/>
                  <a:gd name="connsiteY109" fmla="*/ 4140923 h 5037832"/>
                  <a:gd name="connsiteX110" fmla="*/ 3147557 w 7286095"/>
                  <a:gd name="connsiteY110" fmla="*/ 4840389 h 5037832"/>
                  <a:gd name="connsiteX111" fmla="*/ 3005859 w 7286095"/>
                  <a:gd name="connsiteY111" fmla="*/ 4757000 h 5037832"/>
                  <a:gd name="connsiteX112" fmla="*/ 3005859 w 7286095"/>
                  <a:gd name="connsiteY112" fmla="*/ 4061460 h 5037832"/>
                  <a:gd name="connsiteX113" fmla="*/ 2858425 w 7286095"/>
                  <a:gd name="connsiteY113" fmla="*/ 3978781 h 5037832"/>
                  <a:gd name="connsiteX114" fmla="*/ 2858425 w 7286095"/>
                  <a:gd name="connsiteY114" fmla="*/ 4670232 h 5037832"/>
                  <a:gd name="connsiteX115" fmla="*/ 2716727 w 7286095"/>
                  <a:gd name="connsiteY115" fmla="*/ 4586840 h 5037832"/>
                  <a:gd name="connsiteX116" fmla="*/ 2716727 w 7286095"/>
                  <a:gd name="connsiteY116" fmla="*/ 3899320 h 5037832"/>
                  <a:gd name="connsiteX117" fmla="*/ 2569294 w 7286095"/>
                  <a:gd name="connsiteY117" fmla="*/ 3816641 h 5037832"/>
                  <a:gd name="connsiteX118" fmla="*/ 2569294 w 7286095"/>
                  <a:gd name="connsiteY118" fmla="*/ 4500072 h 5037832"/>
                  <a:gd name="connsiteX119" fmla="*/ 2427596 w 7286095"/>
                  <a:gd name="connsiteY119" fmla="*/ 4416680 h 5037832"/>
                  <a:gd name="connsiteX120" fmla="*/ 2427596 w 7286095"/>
                  <a:gd name="connsiteY120" fmla="*/ 3737178 h 5037832"/>
                  <a:gd name="connsiteX121" fmla="*/ 2280162 w 7286095"/>
                  <a:gd name="connsiteY121" fmla="*/ 3654501 h 5037832"/>
                  <a:gd name="connsiteX122" fmla="*/ 2280162 w 7286095"/>
                  <a:gd name="connsiteY122" fmla="*/ 4329914 h 5037832"/>
                  <a:gd name="connsiteX123" fmla="*/ 2138464 w 7286095"/>
                  <a:gd name="connsiteY123" fmla="*/ 4246522 h 5037832"/>
                  <a:gd name="connsiteX124" fmla="*/ 2138464 w 7286095"/>
                  <a:gd name="connsiteY124" fmla="*/ 3575038 h 5037832"/>
                  <a:gd name="connsiteX125" fmla="*/ 1991031 w 7286095"/>
                  <a:gd name="connsiteY125" fmla="*/ 3492361 h 5037832"/>
                  <a:gd name="connsiteX126" fmla="*/ 1991031 w 7286095"/>
                  <a:gd name="connsiteY126" fmla="*/ 4159755 h 5037832"/>
                  <a:gd name="connsiteX127" fmla="*/ 1849333 w 7286095"/>
                  <a:gd name="connsiteY127" fmla="*/ 4076363 h 5037832"/>
                  <a:gd name="connsiteX128" fmla="*/ 1849333 w 7286095"/>
                  <a:gd name="connsiteY128" fmla="*/ 3412899 h 5037832"/>
                  <a:gd name="connsiteX129" fmla="*/ 1701899 w 7286095"/>
                  <a:gd name="connsiteY129" fmla="*/ 3330219 h 5037832"/>
                  <a:gd name="connsiteX130" fmla="*/ 1701899 w 7286095"/>
                  <a:gd name="connsiteY130" fmla="*/ 3989597 h 5037832"/>
                  <a:gd name="connsiteX131" fmla="*/ 1560201 w 7286095"/>
                  <a:gd name="connsiteY131" fmla="*/ 3906205 h 5037832"/>
                  <a:gd name="connsiteX132" fmla="*/ 1560201 w 7286095"/>
                  <a:gd name="connsiteY132" fmla="*/ 3250759 h 5037832"/>
                  <a:gd name="connsiteX133" fmla="*/ 1412767 w 7286095"/>
                  <a:gd name="connsiteY133" fmla="*/ 3168079 h 5037832"/>
                  <a:gd name="connsiteX134" fmla="*/ 1412767 w 7286095"/>
                  <a:gd name="connsiteY134" fmla="*/ 3819437 h 5037832"/>
                  <a:gd name="connsiteX135" fmla="*/ 1271070 w 7286095"/>
                  <a:gd name="connsiteY135" fmla="*/ 3736045 h 5037832"/>
                  <a:gd name="connsiteX136" fmla="*/ 1271070 w 7286095"/>
                  <a:gd name="connsiteY136" fmla="*/ 3088617 h 5037832"/>
                  <a:gd name="connsiteX137" fmla="*/ 1123636 w 7286095"/>
                  <a:gd name="connsiteY137" fmla="*/ 3005939 h 5037832"/>
                  <a:gd name="connsiteX138" fmla="*/ 1123636 w 7286095"/>
                  <a:gd name="connsiteY138" fmla="*/ 3649279 h 5037832"/>
                  <a:gd name="connsiteX139" fmla="*/ 981938 w 7286095"/>
                  <a:gd name="connsiteY139" fmla="*/ 3565887 h 5037832"/>
                  <a:gd name="connsiteX140" fmla="*/ 981938 w 7286095"/>
                  <a:gd name="connsiteY140" fmla="*/ 2926477 h 5037832"/>
                  <a:gd name="connsiteX141" fmla="*/ 834504 w 7286095"/>
                  <a:gd name="connsiteY141" fmla="*/ 2843800 h 5037832"/>
                  <a:gd name="connsiteX142" fmla="*/ 834504 w 7286095"/>
                  <a:gd name="connsiteY142" fmla="*/ 3479120 h 5037832"/>
                  <a:gd name="connsiteX143" fmla="*/ 692807 w 7286095"/>
                  <a:gd name="connsiteY143" fmla="*/ 3395728 h 5037832"/>
                  <a:gd name="connsiteX144" fmla="*/ 692807 w 7286095"/>
                  <a:gd name="connsiteY144" fmla="*/ 2764337 h 5037832"/>
                  <a:gd name="connsiteX145" fmla="*/ 545373 w 7286095"/>
                  <a:gd name="connsiteY145" fmla="*/ 2681658 h 5037832"/>
                  <a:gd name="connsiteX146" fmla="*/ 545373 w 7286095"/>
                  <a:gd name="connsiteY146" fmla="*/ 3308962 h 5037832"/>
                  <a:gd name="connsiteX147" fmla="*/ 403675 w 7286095"/>
                  <a:gd name="connsiteY147" fmla="*/ 3225570 h 5037832"/>
                  <a:gd name="connsiteX148" fmla="*/ 403675 w 7286095"/>
                  <a:gd name="connsiteY148" fmla="*/ 2602197 h 5037832"/>
                  <a:gd name="connsiteX149" fmla="*/ 256241 w 7286095"/>
                  <a:gd name="connsiteY149" fmla="*/ 2519518 h 5037832"/>
                  <a:gd name="connsiteX150" fmla="*/ 256241 w 7286095"/>
                  <a:gd name="connsiteY150" fmla="*/ 3138802 h 5037832"/>
                  <a:gd name="connsiteX151" fmla="*/ 114543 w 7286095"/>
                  <a:gd name="connsiteY151" fmla="*/ 3055410 h 5037832"/>
                  <a:gd name="connsiteX152" fmla="*/ 114543 w 7286095"/>
                  <a:gd name="connsiteY152" fmla="*/ 2440055 h 5037832"/>
                  <a:gd name="connsiteX153" fmla="*/ 0 w 7286095"/>
                  <a:gd name="connsiteY153" fmla="*/ 2375821 h 5037832"/>
                  <a:gd name="connsiteX154" fmla="*/ 0 w 7286095"/>
                  <a:gd name="connsiteY154" fmla="*/ 1946821 h 5037832"/>
                  <a:gd name="connsiteX155" fmla="*/ 5283 w 7286095"/>
                  <a:gd name="connsiteY155" fmla="*/ 1949813 h 5037832"/>
                  <a:gd name="connsiteX156" fmla="*/ 3789789 w 7286095"/>
                  <a:gd name="connsiteY156" fmla="*/ 0 h 5037832"/>
                  <a:gd name="connsiteX0" fmla="*/ 2681855 w 7286095"/>
                  <a:gd name="connsiteY0" fmla="*/ 2147419 h 5037832"/>
                  <a:gd name="connsiteX1" fmla="*/ 2681855 w 7286095"/>
                  <a:gd name="connsiteY1" fmla="*/ 2235525 h 5037832"/>
                  <a:gd name="connsiteX2" fmla="*/ 3672455 w 7286095"/>
                  <a:gd name="connsiteY2" fmla="*/ 2687963 h 5037832"/>
                  <a:gd name="connsiteX3" fmla="*/ 4160611 w 7286095"/>
                  <a:gd name="connsiteY3" fmla="*/ 2428406 h 5037832"/>
                  <a:gd name="connsiteX4" fmla="*/ 4160611 w 7286095"/>
                  <a:gd name="connsiteY4" fmla="*/ 2337919 h 5037832"/>
                  <a:gd name="connsiteX5" fmla="*/ 2681855 w 7286095"/>
                  <a:gd name="connsiteY5" fmla="*/ 2147419 h 5037832"/>
                  <a:gd name="connsiteX6" fmla="*/ 6858354 w 7286095"/>
                  <a:gd name="connsiteY6" fmla="*/ 1929286 h 5037832"/>
                  <a:gd name="connsiteX7" fmla="*/ 3541261 w 7286095"/>
                  <a:gd name="connsiteY7" fmla="*/ 3836527 h 5037832"/>
                  <a:gd name="connsiteX8" fmla="*/ 43626 w 7286095"/>
                  <a:gd name="connsiteY8" fmla="*/ 1971532 h 5037832"/>
                  <a:gd name="connsiteX9" fmla="*/ 3542717 w 7286095"/>
                  <a:gd name="connsiteY9" fmla="*/ 3953437 h 5037832"/>
                  <a:gd name="connsiteX10" fmla="*/ 6858354 w 7286095"/>
                  <a:gd name="connsiteY10" fmla="*/ 1929286 h 5037832"/>
                  <a:gd name="connsiteX11" fmla="*/ 3521642 w 7286095"/>
                  <a:gd name="connsiteY11" fmla="*/ 1748956 h 5037832"/>
                  <a:gd name="connsiteX12" fmla="*/ 3521642 w 7286095"/>
                  <a:gd name="connsiteY12" fmla="*/ 1818013 h 5037832"/>
                  <a:gd name="connsiteX13" fmla="*/ 4445567 w 7286095"/>
                  <a:gd name="connsiteY13" fmla="*/ 2251400 h 5037832"/>
                  <a:gd name="connsiteX14" fmla="*/ 4931342 w 7286095"/>
                  <a:gd name="connsiteY14" fmla="*/ 1989463 h 5037832"/>
                  <a:gd name="connsiteX15" fmla="*/ 4931342 w 7286095"/>
                  <a:gd name="connsiteY15" fmla="*/ 1918025 h 5037832"/>
                  <a:gd name="connsiteX16" fmla="*/ 3521642 w 7286095"/>
                  <a:gd name="connsiteY16" fmla="*/ 1748956 h 5037832"/>
                  <a:gd name="connsiteX17" fmla="*/ 1567430 w 7286095"/>
                  <a:gd name="connsiteY17" fmla="*/ 1621163 h 5037832"/>
                  <a:gd name="connsiteX18" fmla="*/ 1567430 w 7286095"/>
                  <a:gd name="connsiteY18" fmla="*/ 1704506 h 5037832"/>
                  <a:gd name="connsiteX19" fmla="*/ 2548505 w 7286095"/>
                  <a:gd name="connsiteY19" fmla="*/ 2147419 h 5037832"/>
                  <a:gd name="connsiteX20" fmla="*/ 3046186 w 7286095"/>
                  <a:gd name="connsiteY20" fmla="*/ 1887863 h 5037832"/>
                  <a:gd name="connsiteX21" fmla="*/ 3046186 w 7286095"/>
                  <a:gd name="connsiteY21" fmla="*/ 1809281 h 5037832"/>
                  <a:gd name="connsiteX22" fmla="*/ 1567430 w 7286095"/>
                  <a:gd name="connsiteY22" fmla="*/ 1621163 h 5037832"/>
                  <a:gd name="connsiteX23" fmla="*/ 6182457 w 7286095"/>
                  <a:gd name="connsiteY23" fmla="*/ 1573175 h 5037832"/>
                  <a:gd name="connsiteX24" fmla="*/ 3609060 w 7286095"/>
                  <a:gd name="connsiteY24" fmla="*/ 2987154 h 5037832"/>
                  <a:gd name="connsiteX25" fmla="*/ 1179754 w 7286095"/>
                  <a:gd name="connsiteY25" fmla="*/ 1713292 h 5037832"/>
                  <a:gd name="connsiteX26" fmla="*/ 1179754 w 7286095"/>
                  <a:gd name="connsiteY26" fmla="*/ 1874168 h 5037832"/>
                  <a:gd name="connsiteX27" fmla="*/ 3598688 w 7286095"/>
                  <a:gd name="connsiteY27" fmla="*/ 3163595 h 5037832"/>
                  <a:gd name="connsiteX28" fmla="*/ 6182457 w 7286095"/>
                  <a:gd name="connsiteY28" fmla="*/ 1687345 h 5037832"/>
                  <a:gd name="connsiteX29" fmla="*/ 6182457 w 7286095"/>
                  <a:gd name="connsiteY29" fmla="*/ 1573175 h 5037832"/>
                  <a:gd name="connsiteX30" fmla="*/ 4326505 w 7286095"/>
                  <a:gd name="connsiteY30" fmla="*/ 1372719 h 5037832"/>
                  <a:gd name="connsiteX31" fmla="*/ 4326505 w 7286095"/>
                  <a:gd name="connsiteY31" fmla="*/ 1432250 h 5037832"/>
                  <a:gd name="connsiteX32" fmla="*/ 5226617 w 7286095"/>
                  <a:gd name="connsiteY32" fmla="*/ 1837063 h 5037832"/>
                  <a:gd name="connsiteX33" fmla="*/ 5712392 w 7286095"/>
                  <a:gd name="connsiteY33" fmla="*/ 1577506 h 5037832"/>
                  <a:gd name="connsiteX34" fmla="*/ 5712392 w 7286095"/>
                  <a:gd name="connsiteY34" fmla="*/ 1520356 h 5037832"/>
                  <a:gd name="connsiteX35" fmla="*/ 4326505 w 7286095"/>
                  <a:gd name="connsiteY35" fmla="*/ 1372719 h 5037832"/>
                  <a:gd name="connsiteX36" fmla="*/ 2442936 w 7286095"/>
                  <a:gd name="connsiteY36" fmla="*/ 1241750 h 5037832"/>
                  <a:gd name="connsiteX37" fmla="*/ 2442936 w 7286095"/>
                  <a:gd name="connsiteY37" fmla="*/ 1306044 h 5037832"/>
                  <a:gd name="connsiteX38" fmla="*/ 3371623 w 7286095"/>
                  <a:gd name="connsiteY38" fmla="*/ 1739431 h 5037832"/>
                  <a:gd name="connsiteX39" fmla="*/ 3847873 w 7286095"/>
                  <a:gd name="connsiteY39" fmla="*/ 1475113 h 5037832"/>
                  <a:gd name="connsiteX40" fmla="*/ 3847873 w 7286095"/>
                  <a:gd name="connsiteY40" fmla="*/ 1410819 h 5037832"/>
                  <a:gd name="connsiteX41" fmla="*/ 2442936 w 7286095"/>
                  <a:gd name="connsiteY41" fmla="*/ 1241750 h 5037832"/>
                  <a:gd name="connsiteX42" fmla="*/ 3259705 w 7286095"/>
                  <a:gd name="connsiteY42" fmla="*/ 875038 h 5037832"/>
                  <a:gd name="connsiteX43" fmla="*/ 3257324 w 7286095"/>
                  <a:gd name="connsiteY43" fmla="*/ 934569 h 5037832"/>
                  <a:gd name="connsiteX44" fmla="*/ 4157436 w 7286095"/>
                  <a:gd name="connsiteY44" fmla="*/ 1348906 h 5037832"/>
                  <a:gd name="connsiteX45" fmla="*/ 4647973 w 7286095"/>
                  <a:gd name="connsiteY45" fmla="*/ 1086969 h 5037832"/>
                  <a:gd name="connsiteX46" fmla="*/ 4647973 w 7286095"/>
                  <a:gd name="connsiteY46" fmla="*/ 1017913 h 5037832"/>
                  <a:gd name="connsiteX47" fmla="*/ 3259705 w 7286095"/>
                  <a:gd name="connsiteY47" fmla="*/ 875038 h 5037832"/>
                  <a:gd name="connsiteX48" fmla="*/ 3826413 w 7286095"/>
                  <a:gd name="connsiteY48" fmla="*/ 369202 h 5037832"/>
                  <a:gd name="connsiteX49" fmla="*/ 1662381 w 7286095"/>
                  <a:gd name="connsiteY49" fmla="*/ 1469382 h 5037832"/>
                  <a:gd name="connsiteX50" fmla="*/ 3821224 w 7286095"/>
                  <a:gd name="connsiteY50" fmla="*/ 426288 h 5037832"/>
                  <a:gd name="connsiteX51" fmla="*/ 5513009 w 7286095"/>
                  <a:gd name="connsiteY51" fmla="*/ 1225474 h 5037832"/>
                  <a:gd name="connsiteX52" fmla="*/ 3826413 w 7286095"/>
                  <a:gd name="connsiteY52" fmla="*/ 369202 h 5037832"/>
                  <a:gd name="connsiteX53" fmla="*/ 3789789 w 7286095"/>
                  <a:gd name="connsiteY53" fmla="*/ 0 h 5037832"/>
                  <a:gd name="connsiteX54" fmla="*/ 7284571 w 7286095"/>
                  <a:gd name="connsiteY54" fmla="*/ 1684220 h 5037832"/>
                  <a:gd name="connsiteX55" fmla="*/ 7286095 w 7286095"/>
                  <a:gd name="connsiteY55" fmla="*/ 2057530 h 5037832"/>
                  <a:gd name="connsiteX56" fmla="*/ 7154815 w 7286095"/>
                  <a:gd name="connsiteY56" fmla="*/ 2137797 h 5037832"/>
                  <a:gd name="connsiteX57" fmla="*/ 7154815 w 7286095"/>
                  <a:gd name="connsiteY57" fmla="*/ 2835810 h 5037832"/>
                  <a:gd name="connsiteX58" fmla="*/ 7013117 w 7286095"/>
                  <a:gd name="connsiteY58" fmla="*/ 2924661 h 5037832"/>
                  <a:gd name="connsiteX59" fmla="*/ 7013117 w 7286095"/>
                  <a:gd name="connsiteY59" fmla="*/ 2224434 h 5037832"/>
                  <a:gd name="connsiteX60" fmla="*/ 6848443 w 7286095"/>
                  <a:gd name="connsiteY60" fmla="*/ 2325119 h 5037832"/>
                  <a:gd name="connsiteX61" fmla="*/ 6848443 w 7286095"/>
                  <a:gd name="connsiteY61" fmla="*/ 3027918 h 5037832"/>
                  <a:gd name="connsiteX62" fmla="*/ 6706745 w 7286095"/>
                  <a:gd name="connsiteY62" fmla="*/ 3116769 h 5037832"/>
                  <a:gd name="connsiteX63" fmla="*/ 6706745 w 7286095"/>
                  <a:gd name="connsiteY63" fmla="*/ 2411756 h 5037832"/>
                  <a:gd name="connsiteX64" fmla="*/ 6542073 w 7286095"/>
                  <a:gd name="connsiteY64" fmla="*/ 2512439 h 5037832"/>
                  <a:gd name="connsiteX65" fmla="*/ 6542073 w 7286095"/>
                  <a:gd name="connsiteY65" fmla="*/ 3220024 h 5037832"/>
                  <a:gd name="connsiteX66" fmla="*/ 6400375 w 7286095"/>
                  <a:gd name="connsiteY66" fmla="*/ 3308875 h 5037832"/>
                  <a:gd name="connsiteX67" fmla="*/ 6400375 w 7286095"/>
                  <a:gd name="connsiteY67" fmla="*/ 2599076 h 5037832"/>
                  <a:gd name="connsiteX68" fmla="*/ 6235703 w 7286095"/>
                  <a:gd name="connsiteY68" fmla="*/ 2699759 h 5037832"/>
                  <a:gd name="connsiteX69" fmla="*/ 6235703 w 7286095"/>
                  <a:gd name="connsiteY69" fmla="*/ 3412131 h 5037832"/>
                  <a:gd name="connsiteX70" fmla="*/ 6094005 w 7286095"/>
                  <a:gd name="connsiteY70" fmla="*/ 3500981 h 5037832"/>
                  <a:gd name="connsiteX71" fmla="*/ 6094005 w 7286095"/>
                  <a:gd name="connsiteY71" fmla="*/ 2786396 h 5037832"/>
                  <a:gd name="connsiteX72" fmla="*/ 5929332 w 7286095"/>
                  <a:gd name="connsiteY72" fmla="*/ 2887081 h 5037832"/>
                  <a:gd name="connsiteX73" fmla="*/ 5929332 w 7286095"/>
                  <a:gd name="connsiteY73" fmla="*/ 3604237 h 5037832"/>
                  <a:gd name="connsiteX74" fmla="*/ 5787635 w 7286095"/>
                  <a:gd name="connsiteY74" fmla="*/ 3693086 h 5037832"/>
                  <a:gd name="connsiteX75" fmla="*/ 5787635 w 7286095"/>
                  <a:gd name="connsiteY75" fmla="*/ 2973716 h 5037832"/>
                  <a:gd name="connsiteX76" fmla="*/ 5622962 w 7286095"/>
                  <a:gd name="connsiteY76" fmla="*/ 3074401 h 5037832"/>
                  <a:gd name="connsiteX77" fmla="*/ 5622962 w 7286095"/>
                  <a:gd name="connsiteY77" fmla="*/ 3796343 h 5037832"/>
                  <a:gd name="connsiteX78" fmla="*/ 5481265 w 7286095"/>
                  <a:gd name="connsiteY78" fmla="*/ 3885194 h 5037832"/>
                  <a:gd name="connsiteX79" fmla="*/ 5481265 w 7286095"/>
                  <a:gd name="connsiteY79" fmla="*/ 3161036 h 5037832"/>
                  <a:gd name="connsiteX80" fmla="*/ 5316592 w 7286095"/>
                  <a:gd name="connsiteY80" fmla="*/ 3261721 h 5037832"/>
                  <a:gd name="connsiteX81" fmla="*/ 5316592 w 7286095"/>
                  <a:gd name="connsiteY81" fmla="*/ 3988448 h 5037832"/>
                  <a:gd name="connsiteX82" fmla="*/ 5174895 w 7286095"/>
                  <a:gd name="connsiteY82" fmla="*/ 4077300 h 5037832"/>
                  <a:gd name="connsiteX83" fmla="*/ 5174895 w 7286095"/>
                  <a:gd name="connsiteY83" fmla="*/ 3348358 h 5037832"/>
                  <a:gd name="connsiteX84" fmla="*/ 5010222 w 7286095"/>
                  <a:gd name="connsiteY84" fmla="*/ 3449041 h 5037832"/>
                  <a:gd name="connsiteX85" fmla="*/ 5010222 w 7286095"/>
                  <a:gd name="connsiteY85" fmla="*/ 4180556 h 5037832"/>
                  <a:gd name="connsiteX86" fmla="*/ 4868525 w 7286095"/>
                  <a:gd name="connsiteY86" fmla="*/ 4269405 h 5037832"/>
                  <a:gd name="connsiteX87" fmla="*/ 4868525 w 7286095"/>
                  <a:gd name="connsiteY87" fmla="*/ 3535678 h 5037832"/>
                  <a:gd name="connsiteX88" fmla="*/ 4703852 w 7286095"/>
                  <a:gd name="connsiteY88" fmla="*/ 3636360 h 5037832"/>
                  <a:gd name="connsiteX89" fmla="*/ 4703852 w 7286095"/>
                  <a:gd name="connsiteY89" fmla="*/ 4372662 h 5037832"/>
                  <a:gd name="connsiteX90" fmla="*/ 4562155 w 7286095"/>
                  <a:gd name="connsiteY90" fmla="*/ 4461513 h 5037832"/>
                  <a:gd name="connsiteX91" fmla="*/ 4562155 w 7286095"/>
                  <a:gd name="connsiteY91" fmla="*/ 3722997 h 5037832"/>
                  <a:gd name="connsiteX92" fmla="*/ 4397482 w 7286095"/>
                  <a:gd name="connsiteY92" fmla="*/ 3823680 h 5037832"/>
                  <a:gd name="connsiteX93" fmla="*/ 4397482 w 7286095"/>
                  <a:gd name="connsiteY93" fmla="*/ 4564768 h 5037832"/>
                  <a:gd name="connsiteX94" fmla="*/ 4255785 w 7286095"/>
                  <a:gd name="connsiteY94" fmla="*/ 4653619 h 5037832"/>
                  <a:gd name="connsiteX95" fmla="*/ 4255785 w 7286095"/>
                  <a:gd name="connsiteY95" fmla="*/ 3910317 h 5037832"/>
                  <a:gd name="connsiteX96" fmla="*/ 4091112 w 7286095"/>
                  <a:gd name="connsiteY96" fmla="*/ 4011000 h 5037832"/>
                  <a:gd name="connsiteX97" fmla="*/ 4091112 w 7286095"/>
                  <a:gd name="connsiteY97" fmla="*/ 4756875 h 5037832"/>
                  <a:gd name="connsiteX98" fmla="*/ 3949414 w 7286095"/>
                  <a:gd name="connsiteY98" fmla="*/ 4845724 h 5037832"/>
                  <a:gd name="connsiteX99" fmla="*/ 3949414 w 7286095"/>
                  <a:gd name="connsiteY99" fmla="*/ 4097637 h 5037832"/>
                  <a:gd name="connsiteX100" fmla="*/ 3784742 w 7286095"/>
                  <a:gd name="connsiteY100" fmla="*/ 4198322 h 5037832"/>
                  <a:gd name="connsiteX101" fmla="*/ 3784742 w 7286095"/>
                  <a:gd name="connsiteY101" fmla="*/ 4948981 h 5037832"/>
                  <a:gd name="connsiteX102" fmla="*/ 3643044 w 7286095"/>
                  <a:gd name="connsiteY102" fmla="*/ 5037832 h 5037832"/>
                  <a:gd name="connsiteX103" fmla="*/ 3643044 w 7286095"/>
                  <a:gd name="connsiteY103" fmla="*/ 4284957 h 5037832"/>
                  <a:gd name="connsiteX104" fmla="*/ 3528878 w 7286095"/>
                  <a:gd name="connsiteY104" fmla="*/ 4354761 h 5037832"/>
                  <a:gd name="connsiteX105" fmla="*/ 3436697 w 7286095"/>
                  <a:gd name="connsiteY105" fmla="*/ 4303067 h 5037832"/>
                  <a:gd name="connsiteX106" fmla="*/ 3436697 w 7286095"/>
                  <a:gd name="connsiteY106" fmla="*/ 5010554 h 5037832"/>
                  <a:gd name="connsiteX107" fmla="*/ 3294999 w 7286095"/>
                  <a:gd name="connsiteY107" fmla="*/ 4927162 h 5037832"/>
                  <a:gd name="connsiteX108" fmla="*/ 3294999 w 7286095"/>
                  <a:gd name="connsiteY108" fmla="*/ 4223605 h 5037832"/>
                  <a:gd name="connsiteX109" fmla="*/ 3147557 w 7286095"/>
                  <a:gd name="connsiteY109" fmla="*/ 4140923 h 5037832"/>
                  <a:gd name="connsiteX110" fmla="*/ 3147557 w 7286095"/>
                  <a:gd name="connsiteY110" fmla="*/ 4840389 h 5037832"/>
                  <a:gd name="connsiteX111" fmla="*/ 3005859 w 7286095"/>
                  <a:gd name="connsiteY111" fmla="*/ 4757000 h 5037832"/>
                  <a:gd name="connsiteX112" fmla="*/ 3005859 w 7286095"/>
                  <a:gd name="connsiteY112" fmla="*/ 4061460 h 5037832"/>
                  <a:gd name="connsiteX113" fmla="*/ 2858425 w 7286095"/>
                  <a:gd name="connsiteY113" fmla="*/ 3978781 h 5037832"/>
                  <a:gd name="connsiteX114" fmla="*/ 2858425 w 7286095"/>
                  <a:gd name="connsiteY114" fmla="*/ 4670232 h 5037832"/>
                  <a:gd name="connsiteX115" fmla="*/ 2716727 w 7286095"/>
                  <a:gd name="connsiteY115" fmla="*/ 4586840 h 5037832"/>
                  <a:gd name="connsiteX116" fmla="*/ 2716727 w 7286095"/>
                  <a:gd name="connsiteY116" fmla="*/ 3899320 h 5037832"/>
                  <a:gd name="connsiteX117" fmla="*/ 2569294 w 7286095"/>
                  <a:gd name="connsiteY117" fmla="*/ 3816641 h 5037832"/>
                  <a:gd name="connsiteX118" fmla="*/ 2569294 w 7286095"/>
                  <a:gd name="connsiteY118" fmla="*/ 4500072 h 5037832"/>
                  <a:gd name="connsiteX119" fmla="*/ 2427596 w 7286095"/>
                  <a:gd name="connsiteY119" fmla="*/ 4416680 h 5037832"/>
                  <a:gd name="connsiteX120" fmla="*/ 2427596 w 7286095"/>
                  <a:gd name="connsiteY120" fmla="*/ 3737178 h 5037832"/>
                  <a:gd name="connsiteX121" fmla="*/ 2280162 w 7286095"/>
                  <a:gd name="connsiteY121" fmla="*/ 3654501 h 5037832"/>
                  <a:gd name="connsiteX122" fmla="*/ 2280162 w 7286095"/>
                  <a:gd name="connsiteY122" fmla="*/ 4329914 h 5037832"/>
                  <a:gd name="connsiteX123" fmla="*/ 2138464 w 7286095"/>
                  <a:gd name="connsiteY123" fmla="*/ 4246522 h 5037832"/>
                  <a:gd name="connsiteX124" fmla="*/ 2138464 w 7286095"/>
                  <a:gd name="connsiteY124" fmla="*/ 3575038 h 5037832"/>
                  <a:gd name="connsiteX125" fmla="*/ 1991031 w 7286095"/>
                  <a:gd name="connsiteY125" fmla="*/ 3492361 h 5037832"/>
                  <a:gd name="connsiteX126" fmla="*/ 1991031 w 7286095"/>
                  <a:gd name="connsiteY126" fmla="*/ 4159755 h 5037832"/>
                  <a:gd name="connsiteX127" fmla="*/ 1849333 w 7286095"/>
                  <a:gd name="connsiteY127" fmla="*/ 4076363 h 5037832"/>
                  <a:gd name="connsiteX128" fmla="*/ 1849333 w 7286095"/>
                  <a:gd name="connsiteY128" fmla="*/ 3412899 h 5037832"/>
                  <a:gd name="connsiteX129" fmla="*/ 1701899 w 7286095"/>
                  <a:gd name="connsiteY129" fmla="*/ 3330219 h 5037832"/>
                  <a:gd name="connsiteX130" fmla="*/ 1701899 w 7286095"/>
                  <a:gd name="connsiteY130" fmla="*/ 3989597 h 5037832"/>
                  <a:gd name="connsiteX131" fmla="*/ 1560201 w 7286095"/>
                  <a:gd name="connsiteY131" fmla="*/ 3906205 h 5037832"/>
                  <a:gd name="connsiteX132" fmla="*/ 1560201 w 7286095"/>
                  <a:gd name="connsiteY132" fmla="*/ 3250759 h 5037832"/>
                  <a:gd name="connsiteX133" fmla="*/ 1412767 w 7286095"/>
                  <a:gd name="connsiteY133" fmla="*/ 3168079 h 5037832"/>
                  <a:gd name="connsiteX134" fmla="*/ 1412767 w 7286095"/>
                  <a:gd name="connsiteY134" fmla="*/ 3819437 h 5037832"/>
                  <a:gd name="connsiteX135" fmla="*/ 1271070 w 7286095"/>
                  <a:gd name="connsiteY135" fmla="*/ 3736045 h 5037832"/>
                  <a:gd name="connsiteX136" fmla="*/ 1271070 w 7286095"/>
                  <a:gd name="connsiteY136" fmla="*/ 3088617 h 5037832"/>
                  <a:gd name="connsiteX137" fmla="*/ 1123636 w 7286095"/>
                  <a:gd name="connsiteY137" fmla="*/ 3005939 h 5037832"/>
                  <a:gd name="connsiteX138" fmla="*/ 1123636 w 7286095"/>
                  <a:gd name="connsiteY138" fmla="*/ 3649279 h 5037832"/>
                  <a:gd name="connsiteX139" fmla="*/ 981938 w 7286095"/>
                  <a:gd name="connsiteY139" fmla="*/ 3565887 h 5037832"/>
                  <a:gd name="connsiteX140" fmla="*/ 981938 w 7286095"/>
                  <a:gd name="connsiteY140" fmla="*/ 2926477 h 5037832"/>
                  <a:gd name="connsiteX141" fmla="*/ 834504 w 7286095"/>
                  <a:gd name="connsiteY141" fmla="*/ 2843800 h 5037832"/>
                  <a:gd name="connsiteX142" fmla="*/ 834504 w 7286095"/>
                  <a:gd name="connsiteY142" fmla="*/ 3479120 h 5037832"/>
                  <a:gd name="connsiteX143" fmla="*/ 692807 w 7286095"/>
                  <a:gd name="connsiteY143" fmla="*/ 3395728 h 5037832"/>
                  <a:gd name="connsiteX144" fmla="*/ 692807 w 7286095"/>
                  <a:gd name="connsiteY144" fmla="*/ 2764337 h 5037832"/>
                  <a:gd name="connsiteX145" fmla="*/ 545373 w 7286095"/>
                  <a:gd name="connsiteY145" fmla="*/ 2681658 h 5037832"/>
                  <a:gd name="connsiteX146" fmla="*/ 545373 w 7286095"/>
                  <a:gd name="connsiteY146" fmla="*/ 3308962 h 5037832"/>
                  <a:gd name="connsiteX147" fmla="*/ 403675 w 7286095"/>
                  <a:gd name="connsiteY147" fmla="*/ 3225570 h 5037832"/>
                  <a:gd name="connsiteX148" fmla="*/ 403675 w 7286095"/>
                  <a:gd name="connsiteY148" fmla="*/ 2602197 h 5037832"/>
                  <a:gd name="connsiteX149" fmla="*/ 256241 w 7286095"/>
                  <a:gd name="connsiteY149" fmla="*/ 2519518 h 5037832"/>
                  <a:gd name="connsiteX150" fmla="*/ 256241 w 7286095"/>
                  <a:gd name="connsiteY150" fmla="*/ 3138802 h 5037832"/>
                  <a:gd name="connsiteX151" fmla="*/ 114543 w 7286095"/>
                  <a:gd name="connsiteY151" fmla="*/ 3055410 h 5037832"/>
                  <a:gd name="connsiteX152" fmla="*/ 114543 w 7286095"/>
                  <a:gd name="connsiteY152" fmla="*/ 2440055 h 5037832"/>
                  <a:gd name="connsiteX153" fmla="*/ 0 w 7286095"/>
                  <a:gd name="connsiteY153" fmla="*/ 2375821 h 5037832"/>
                  <a:gd name="connsiteX154" fmla="*/ 0 w 7286095"/>
                  <a:gd name="connsiteY154" fmla="*/ 1946821 h 5037832"/>
                  <a:gd name="connsiteX155" fmla="*/ 5283 w 7286095"/>
                  <a:gd name="connsiteY155" fmla="*/ 1949813 h 5037832"/>
                  <a:gd name="connsiteX156" fmla="*/ 3789789 w 7286095"/>
                  <a:gd name="connsiteY156" fmla="*/ 0 h 5037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Lst>
                <a:rect l="l" t="t" r="r" b="b"/>
                <a:pathLst>
                  <a:path w="7286095" h="5037832">
                    <a:moveTo>
                      <a:pt x="2681855" y="2147419"/>
                    </a:moveTo>
                    <a:lnTo>
                      <a:pt x="2681855" y="2235525"/>
                    </a:lnTo>
                    <a:lnTo>
                      <a:pt x="3672455" y="2687963"/>
                    </a:lnTo>
                    <a:lnTo>
                      <a:pt x="4160611" y="2428406"/>
                    </a:lnTo>
                    <a:lnTo>
                      <a:pt x="4160611" y="2337919"/>
                    </a:lnTo>
                    <a:lnTo>
                      <a:pt x="2681855" y="2147419"/>
                    </a:lnTo>
                    <a:close/>
                    <a:moveTo>
                      <a:pt x="6858354" y="1929286"/>
                    </a:moveTo>
                    <a:lnTo>
                      <a:pt x="3541261" y="3836527"/>
                    </a:lnTo>
                    <a:lnTo>
                      <a:pt x="43626" y="1971532"/>
                    </a:lnTo>
                    <a:lnTo>
                      <a:pt x="3542717" y="3953437"/>
                    </a:lnTo>
                    <a:lnTo>
                      <a:pt x="6858354" y="1929286"/>
                    </a:lnTo>
                    <a:close/>
                    <a:moveTo>
                      <a:pt x="3521642" y="1748956"/>
                    </a:moveTo>
                    <a:lnTo>
                      <a:pt x="3521642" y="1818013"/>
                    </a:lnTo>
                    <a:lnTo>
                      <a:pt x="4445567" y="2251400"/>
                    </a:lnTo>
                    <a:lnTo>
                      <a:pt x="4931342" y="1989463"/>
                    </a:lnTo>
                    <a:lnTo>
                      <a:pt x="4931342" y="1918025"/>
                    </a:lnTo>
                    <a:lnTo>
                      <a:pt x="3521642" y="1748956"/>
                    </a:lnTo>
                    <a:close/>
                    <a:moveTo>
                      <a:pt x="1567430" y="1621163"/>
                    </a:moveTo>
                    <a:lnTo>
                      <a:pt x="1567430" y="1704506"/>
                    </a:lnTo>
                    <a:lnTo>
                      <a:pt x="2548505" y="2147419"/>
                    </a:lnTo>
                    <a:lnTo>
                      <a:pt x="3046186" y="1887863"/>
                    </a:lnTo>
                    <a:lnTo>
                      <a:pt x="3046186" y="1809281"/>
                    </a:lnTo>
                    <a:lnTo>
                      <a:pt x="1567430" y="1621163"/>
                    </a:lnTo>
                    <a:close/>
                    <a:moveTo>
                      <a:pt x="6182457" y="1573175"/>
                    </a:moveTo>
                    <a:lnTo>
                      <a:pt x="3609060" y="2987154"/>
                    </a:lnTo>
                    <a:lnTo>
                      <a:pt x="1179754" y="1713292"/>
                    </a:lnTo>
                    <a:lnTo>
                      <a:pt x="1179754" y="1874168"/>
                    </a:lnTo>
                    <a:lnTo>
                      <a:pt x="3598688" y="3163595"/>
                    </a:lnTo>
                    <a:cubicBezTo>
                      <a:pt x="4467069" y="2699997"/>
                      <a:pt x="5314076" y="2150943"/>
                      <a:pt x="6182457" y="1687345"/>
                    </a:cubicBezTo>
                    <a:lnTo>
                      <a:pt x="6182457" y="1573175"/>
                    </a:lnTo>
                    <a:close/>
                    <a:moveTo>
                      <a:pt x="4326505" y="1372719"/>
                    </a:moveTo>
                    <a:lnTo>
                      <a:pt x="4326505" y="1432250"/>
                    </a:lnTo>
                    <a:lnTo>
                      <a:pt x="5226617" y="1837063"/>
                    </a:lnTo>
                    <a:lnTo>
                      <a:pt x="5712392" y="1577506"/>
                    </a:lnTo>
                    <a:lnTo>
                      <a:pt x="5712392" y="1520356"/>
                    </a:lnTo>
                    <a:lnTo>
                      <a:pt x="4326505" y="1372719"/>
                    </a:lnTo>
                    <a:close/>
                    <a:moveTo>
                      <a:pt x="2442936" y="1241750"/>
                    </a:moveTo>
                    <a:lnTo>
                      <a:pt x="2442936" y="1306044"/>
                    </a:lnTo>
                    <a:lnTo>
                      <a:pt x="3371623" y="1739431"/>
                    </a:lnTo>
                    <a:lnTo>
                      <a:pt x="3847873" y="1475113"/>
                    </a:lnTo>
                    <a:lnTo>
                      <a:pt x="3847873" y="1410819"/>
                    </a:lnTo>
                    <a:lnTo>
                      <a:pt x="2442936" y="1241750"/>
                    </a:lnTo>
                    <a:close/>
                    <a:moveTo>
                      <a:pt x="3259705" y="875038"/>
                    </a:moveTo>
                    <a:cubicBezTo>
                      <a:pt x="3258911" y="894882"/>
                      <a:pt x="3258118" y="914725"/>
                      <a:pt x="3257324" y="934569"/>
                    </a:cubicBezTo>
                    <a:lnTo>
                      <a:pt x="4157436" y="1348906"/>
                    </a:lnTo>
                    <a:lnTo>
                      <a:pt x="4647973" y="1086969"/>
                    </a:lnTo>
                    <a:lnTo>
                      <a:pt x="4647973" y="1017913"/>
                    </a:lnTo>
                    <a:lnTo>
                      <a:pt x="3259705" y="875038"/>
                    </a:lnTo>
                    <a:close/>
                    <a:moveTo>
                      <a:pt x="3826413" y="369202"/>
                    </a:moveTo>
                    <a:lnTo>
                      <a:pt x="1662381" y="1469382"/>
                    </a:lnTo>
                    <a:lnTo>
                      <a:pt x="3821224" y="426288"/>
                    </a:lnTo>
                    <a:lnTo>
                      <a:pt x="5513009" y="1225474"/>
                    </a:lnTo>
                    <a:lnTo>
                      <a:pt x="3826413" y="369202"/>
                    </a:lnTo>
                    <a:close/>
                    <a:moveTo>
                      <a:pt x="3789789" y="0"/>
                    </a:moveTo>
                    <a:lnTo>
                      <a:pt x="7284571" y="1684220"/>
                    </a:lnTo>
                    <a:cubicBezTo>
                      <a:pt x="7287385" y="1808658"/>
                      <a:pt x="7283281" y="1933093"/>
                      <a:pt x="7286095" y="2057530"/>
                    </a:cubicBezTo>
                    <a:lnTo>
                      <a:pt x="7154815" y="2137797"/>
                    </a:lnTo>
                    <a:lnTo>
                      <a:pt x="7154815" y="2835810"/>
                    </a:lnTo>
                    <a:lnTo>
                      <a:pt x="7013117" y="2924661"/>
                    </a:lnTo>
                    <a:lnTo>
                      <a:pt x="7013117" y="2224434"/>
                    </a:lnTo>
                    <a:lnTo>
                      <a:pt x="6848443" y="2325119"/>
                    </a:lnTo>
                    <a:lnTo>
                      <a:pt x="6848443" y="3027918"/>
                    </a:lnTo>
                    <a:lnTo>
                      <a:pt x="6706745" y="3116769"/>
                    </a:lnTo>
                    <a:lnTo>
                      <a:pt x="6706745" y="2411756"/>
                    </a:lnTo>
                    <a:lnTo>
                      <a:pt x="6542073" y="2512439"/>
                    </a:lnTo>
                    <a:lnTo>
                      <a:pt x="6542073" y="3220024"/>
                    </a:lnTo>
                    <a:lnTo>
                      <a:pt x="6400375" y="3308875"/>
                    </a:lnTo>
                    <a:lnTo>
                      <a:pt x="6400375" y="2599076"/>
                    </a:lnTo>
                    <a:lnTo>
                      <a:pt x="6235703" y="2699759"/>
                    </a:lnTo>
                    <a:lnTo>
                      <a:pt x="6235703" y="3412131"/>
                    </a:lnTo>
                    <a:lnTo>
                      <a:pt x="6094005" y="3500981"/>
                    </a:lnTo>
                    <a:lnTo>
                      <a:pt x="6094005" y="2786396"/>
                    </a:lnTo>
                    <a:lnTo>
                      <a:pt x="5929332" y="2887081"/>
                    </a:lnTo>
                    <a:lnTo>
                      <a:pt x="5929332" y="3604237"/>
                    </a:lnTo>
                    <a:lnTo>
                      <a:pt x="5787635" y="3693086"/>
                    </a:lnTo>
                    <a:lnTo>
                      <a:pt x="5787635" y="2973716"/>
                    </a:lnTo>
                    <a:lnTo>
                      <a:pt x="5622962" y="3074401"/>
                    </a:lnTo>
                    <a:lnTo>
                      <a:pt x="5622962" y="3796343"/>
                    </a:lnTo>
                    <a:lnTo>
                      <a:pt x="5481265" y="3885194"/>
                    </a:lnTo>
                    <a:lnTo>
                      <a:pt x="5481265" y="3161036"/>
                    </a:lnTo>
                    <a:lnTo>
                      <a:pt x="5316592" y="3261721"/>
                    </a:lnTo>
                    <a:lnTo>
                      <a:pt x="5316592" y="3988448"/>
                    </a:lnTo>
                    <a:lnTo>
                      <a:pt x="5174895" y="4077300"/>
                    </a:lnTo>
                    <a:lnTo>
                      <a:pt x="5174895" y="3348358"/>
                    </a:lnTo>
                    <a:lnTo>
                      <a:pt x="5010222" y="3449041"/>
                    </a:lnTo>
                    <a:lnTo>
                      <a:pt x="5010222" y="4180556"/>
                    </a:lnTo>
                    <a:lnTo>
                      <a:pt x="4868525" y="4269405"/>
                    </a:lnTo>
                    <a:lnTo>
                      <a:pt x="4868525" y="3535678"/>
                    </a:lnTo>
                    <a:lnTo>
                      <a:pt x="4703852" y="3636360"/>
                    </a:lnTo>
                    <a:lnTo>
                      <a:pt x="4703852" y="4372662"/>
                    </a:lnTo>
                    <a:lnTo>
                      <a:pt x="4562155" y="4461513"/>
                    </a:lnTo>
                    <a:lnTo>
                      <a:pt x="4562155" y="3722997"/>
                    </a:lnTo>
                    <a:lnTo>
                      <a:pt x="4397482" y="3823680"/>
                    </a:lnTo>
                    <a:lnTo>
                      <a:pt x="4397482" y="4564768"/>
                    </a:lnTo>
                    <a:lnTo>
                      <a:pt x="4255785" y="4653619"/>
                    </a:lnTo>
                    <a:lnTo>
                      <a:pt x="4255785" y="3910317"/>
                    </a:lnTo>
                    <a:lnTo>
                      <a:pt x="4091112" y="4011000"/>
                    </a:lnTo>
                    <a:lnTo>
                      <a:pt x="4091112" y="4756875"/>
                    </a:lnTo>
                    <a:lnTo>
                      <a:pt x="3949414" y="4845724"/>
                    </a:lnTo>
                    <a:lnTo>
                      <a:pt x="3949414" y="4097637"/>
                    </a:lnTo>
                    <a:lnTo>
                      <a:pt x="3784742" y="4198322"/>
                    </a:lnTo>
                    <a:lnTo>
                      <a:pt x="3784742" y="4948981"/>
                    </a:lnTo>
                    <a:lnTo>
                      <a:pt x="3643044" y="5037832"/>
                    </a:lnTo>
                    <a:lnTo>
                      <a:pt x="3643044" y="4284957"/>
                    </a:lnTo>
                    <a:lnTo>
                      <a:pt x="3528878" y="4354761"/>
                    </a:lnTo>
                    <a:lnTo>
                      <a:pt x="3436697" y="4303067"/>
                    </a:lnTo>
                    <a:lnTo>
                      <a:pt x="3436697" y="5010554"/>
                    </a:lnTo>
                    <a:lnTo>
                      <a:pt x="3294999" y="4927162"/>
                    </a:lnTo>
                    <a:lnTo>
                      <a:pt x="3294999" y="4223605"/>
                    </a:lnTo>
                    <a:lnTo>
                      <a:pt x="3147557" y="4140923"/>
                    </a:lnTo>
                    <a:lnTo>
                      <a:pt x="3147557" y="4840389"/>
                    </a:lnTo>
                    <a:lnTo>
                      <a:pt x="3005859" y="4757000"/>
                    </a:lnTo>
                    <a:lnTo>
                      <a:pt x="3005859" y="4061460"/>
                    </a:lnTo>
                    <a:lnTo>
                      <a:pt x="2858425" y="3978781"/>
                    </a:lnTo>
                    <a:lnTo>
                      <a:pt x="2858425" y="4670232"/>
                    </a:lnTo>
                    <a:lnTo>
                      <a:pt x="2716727" y="4586840"/>
                    </a:lnTo>
                    <a:lnTo>
                      <a:pt x="2716727" y="3899320"/>
                    </a:lnTo>
                    <a:lnTo>
                      <a:pt x="2569294" y="3816641"/>
                    </a:lnTo>
                    <a:lnTo>
                      <a:pt x="2569294" y="4500072"/>
                    </a:lnTo>
                    <a:lnTo>
                      <a:pt x="2427596" y="4416680"/>
                    </a:lnTo>
                    <a:lnTo>
                      <a:pt x="2427596" y="3737178"/>
                    </a:lnTo>
                    <a:lnTo>
                      <a:pt x="2280162" y="3654501"/>
                    </a:lnTo>
                    <a:lnTo>
                      <a:pt x="2280162" y="4329914"/>
                    </a:lnTo>
                    <a:lnTo>
                      <a:pt x="2138464" y="4246522"/>
                    </a:lnTo>
                    <a:lnTo>
                      <a:pt x="2138464" y="3575038"/>
                    </a:lnTo>
                    <a:lnTo>
                      <a:pt x="1991031" y="3492361"/>
                    </a:lnTo>
                    <a:lnTo>
                      <a:pt x="1991031" y="4159755"/>
                    </a:lnTo>
                    <a:lnTo>
                      <a:pt x="1849333" y="4076363"/>
                    </a:lnTo>
                    <a:lnTo>
                      <a:pt x="1849333" y="3412899"/>
                    </a:lnTo>
                    <a:lnTo>
                      <a:pt x="1701899" y="3330219"/>
                    </a:lnTo>
                    <a:lnTo>
                      <a:pt x="1701899" y="3989597"/>
                    </a:lnTo>
                    <a:lnTo>
                      <a:pt x="1560201" y="3906205"/>
                    </a:lnTo>
                    <a:lnTo>
                      <a:pt x="1560201" y="3250759"/>
                    </a:lnTo>
                    <a:lnTo>
                      <a:pt x="1412767" y="3168079"/>
                    </a:lnTo>
                    <a:lnTo>
                      <a:pt x="1412767" y="3819437"/>
                    </a:lnTo>
                    <a:lnTo>
                      <a:pt x="1271070" y="3736045"/>
                    </a:lnTo>
                    <a:lnTo>
                      <a:pt x="1271070" y="3088617"/>
                    </a:lnTo>
                    <a:lnTo>
                      <a:pt x="1123636" y="3005939"/>
                    </a:lnTo>
                    <a:lnTo>
                      <a:pt x="1123636" y="3649279"/>
                    </a:lnTo>
                    <a:lnTo>
                      <a:pt x="981938" y="3565887"/>
                    </a:lnTo>
                    <a:lnTo>
                      <a:pt x="981938" y="2926477"/>
                    </a:lnTo>
                    <a:lnTo>
                      <a:pt x="834504" y="2843800"/>
                    </a:lnTo>
                    <a:lnTo>
                      <a:pt x="834504" y="3479120"/>
                    </a:lnTo>
                    <a:lnTo>
                      <a:pt x="692807" y="3395728"/>
                    </a:lnTo>
                    <a:lnTo>
                      <a:pt x="692807" y="2764337"/>
                    </a:lnTo>
                    <a:lnTo>
                      <a:pt x="545373" y="2681658"/>
                    </a:lnTo>
                    <a:lnTo>
                      <a:pt x="545373" y="3308962"/>
                    </a:lnTo>
                    <a:lnTo>
                      <a:pt x="403675" y="3225570"/>
                    </a:lnTo>
                    <a:lnTo>
                      <a:pt x="403675" y="2602197"/>
                    </a:lnTo>
                    <a:lnTo>
                      <a:pt x="256241" y="2519518"/>
                    </a:lnTo>
                    <a:lnTo>
                      <a:pt x="256241" y="3138802"/>
                    </a:lnTo>
                    <a:lnTo>
                      <a:pt x="114543" y="3055410"/>
                    </a:lnTo>
                    <a:lnTo>
                      <a:pt x="114543" y="2440055"/>
                    </a:lnTo>
                    <a:lnTo>
                      <a:pt x="0" y="2375821"/>
                    </a:lnTo>
                    <a:lnTo>
                      <a:pt x="0" y="1946821"/>
                    </a:lnTo>
                    <a:lnTo>
                      <a:pt x="5283" y="1949813"/>
                    </a:lnTo>
                    <a:lnTo>
                      <a:pt x="3789789" y="0"/>
                    </a:lnTo>
                    <a:close/>
                  </a:path>
                </a:pathLst>
              </a:custGeom>
              <a:solidFill>
                <a:srgbClr val="000000">
                  <a:lumMod val="50000"/>
                  <a:lumOff val="5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7" name="Rectangle 20"/>
              <p:cNvSpPr/>
              <p:nvPr/>
            </p:nvSpPr>
            <p:spPr>
              <a:xfrm>
                <a:off x="5303764" y="1811419"/>
                <a:ext cx="1472511" cy="687994"/>
              </a:xfrm>
              <a:custGeom>
                <a:avLst/>
                <a:gdLst>
                  <a:gd name="connsiteX0" fmla="*/ 0 w 402622"/>
                  <a:gd name="connsiteY0" fmla="*/ 0 h 252985"/>
                  <a:gd name="connsiteX1" fmla="*/ 402622 w 402622"/>
                  <a:gd name="connsiteY1" fmla="*/ 0 h 252985"/>
                  <a:gd name="connsiteX2" fmla="*/ 402622 w 402622"/>
                  <a:gd name="connsiteY2" fmla="*/ 252985 h 252985"/>
                  <a:gd name="connsiteX3" fmla="*/ 0 w 402622"/>
                  <a:gd name="connsiteY3" fmla="*/ 252985 h 252985"/>
                  <a:gd name="connsiteX4" fmla="*/ 0 w 402622"/>
                  <a:gd name="connsiteY4" fmla="*/ 0 h 252985"/>
                  <a:gd name="connsiteX0" fmla="*/ 0 w 402622"/>
                  <a:gd name="connsiteY0" fmla="*/ 114300 h 367285"/>
                  <a:gd name="connsiteX1" fmla="*/ 348647 w 402622"/>
                  <a:gd name="connsiteY1" fmla="*/ 0 h 367285"/>
                  <a:gd name="connsiteX2" fmla="*/ 402622 w 402622"/>
                  <a:gd name="connsiteY2" fmla="*/ 367285 h 367285"/>
                  <a:gd name="connsiteX3" fmla="*/ 0 w 402622"/>
                  <a:gd name="connsiteY3" fmla="*/ 367285 h 367285"/>
                  <a:gd name="connsiteX4" fmla="*/ 0 w 402622"/>
                  <a:gd name="connsiteY4" fmla="*/ 114300 h 367285"/>
                  <a:gd name="connsiteX0" fmla="*/ 0 w 643922"/>
                  <a:gd name="connsiteY0" fmla="*/ 114300 h 367285"/>
                  <a:gd name="connsiteX1" fmla="*/ 348647 w 643922"/>
                  <a:gd name="connsiteY1" fmla="*/ 0 h 367285"/>
                  <a:gd name="connsiteX2" fmla="*/ 643922 w 643922"/>
                  <a:gd name="connsiteY2" fmla="*/ 195835 h 367285"/>
                  <a:gd name="connsiteX3" fmla="*/ 0 w 643922"/>
                  <a:gd name="connsiteY3" fmla="*/ 367285 h 367285"/>
                  <a:gd name="connsiteX4" fmla="*/ 0 w 643922"/>
                  <a:gd name="connsiteY4" fmla="*/ 114300 h 367285"/>
                  <a:gd name="connsiteX0" fmla="*/ 0 w 643922"/>
                  <a:gd name="connsiteY0" fmla="*/ 114300 h 443485"/>
                  <a:gd name="connsiteX1" fmla="*/ 348647 w 643922"/>
                  <a:gd name="connsiteY1" fmla="*/ 0 h 443485"/>
                  <a:gd name="connsiteX2" fmla="*/ 643922 w 643922"/>
                  <a:gd name="connsiteY2" fmla="*/ 195835 h 443485"/>
                  <a:gd name="connsiteX3" fmla="*/ 320675 w 643922"/>
                  <a:gd name="connsiteY3" fmla="*/ 443485 h 443485"/>
                  <a:gd name="connsiteX4" fmla="*/ 0 w 643922"/>
                  <a:gd name="connsiteY4" fmla="*/ 114300 h 443485"/>
                  <a:gd name="connsiteX0" fmla="*/ 0 w 659797"/>
                  <a:gd name="connsiteY0" fmla="*/ 276225 h 443485"/>
                  <a:gd name="connsiteX1" fmla="*/ 364522 w 659797"/>
                  <a:gd name="connsiteY1" fmla="*/ 0 h 443485"/>
                  <a:gd name="connsiteX2" fmla="*/ 659797 w 659797"/>
                  <a:gd name="connsiteY2" fmla="*/ 195835 h 443485"/>
                  <a:gd name="connsiteX3" fmla="*/ 336550 w 659797"/>
                  <a:gd name="connsiteY3" fmla="*/ 443485 h 443485"/>
                  <a:gd name="connsiteX4" fmla="*/ 0 w 659797"/>
                  <a:gd name="connsiteY4" fmla="*/ 276225 h 443485"/>
                  <a:gd name="connsiteX0" fmla="*/ 0 w 720122"/>
                  <a:gd name="connsiteY0" fmla="*/ 203200 h 443485"/>
                  <a:gd name="connsiteX1" fmla="*/ 424847 w 720122"/>
                  <a:gd name="connsiteY1" fmla="*/ 0 h 443485"/>
                  <a:gd name="connsiteX2" fmla="*/ 720122 w 720122"/>
                  <a:gd name="connsiteY2" fmla="*/ 195835 h 443485"/>
                  <a:gd name="connsiteX3" fmla="*/ 396875 w 720122"/>
                  <a:gd name="connsiteY3" fmla="*/ 443485 h 443485"/>
                  <a:gd name="connsiteX4" fmla="*/ 0 w 720122"/>
                  <a:gd name="connsiteY4" fmla="*/ 203200 h 443485"/>
                  <a:gd name="connsiteX0" fmla="*/ 0 w 720122"/>
                  <a:gd name="connsiteY0" fmla="*/ 120650 h 360935"/>
                  <a:gd name="connsiteX1" fmla="*/ 250222 w 720122"/>
                  <a:gd name="connsiteY1" fmla="*/ 0 h 360935"/>
                  <a:gd name="connsiteX2" fmla="*/ 720122 w 720122"/>
                  <a:gd name="connsiteY2" fmla="*/ 113285 h 360935"/>
                  <a:gd name="connsiteX3" fmla="*/ 396875 w 720122"/>
                  <a:gd name="connsiteY3" fmla="*/ 360935 h 360935"/>
                  <a:gd name="connsiteX4" fmla="*/ 0 w 720122"/>
                  <a:gd name="connsiteY4" fmla="*/ 120650 h 360935"/>
                  <a:gd name="connsiteX0" fmla="*/ 0 w 612172"/>
                  <a:gd name="connsiteY0" fmla="*/ 120650 h 360935"/>
                  <a:gd name="connsiteX1" fmla="*/ 250222 w 612172"/>
                  <a:gd name="connsiteY1" fmla="*/ 0 h 360935"/>
                  <a:gd name="connsiteX2" fmla="*/ 612172 w 612172"/>
                  <a:gd name="connsiteY2" fmla="*/ 237110 h 360935"/>
                  <a:gd name="connsiteX3" fmla="*/ 396875 w 612172"/>
                  <a:gd name="connsiteY3" fmla="*/ 360935 h 360935"/>
                  <a:gd name="connsiteX4" fmla="*/ 0 w 612172"/>
                  <a:gd name="connsiteY4" fmla="*/ 120650 h 360935"/>
                  <a:gd name="connsiteX0" fmla="*/ 0 w 650272"/>
                  <a:gd name="connsiteY0" fmla="*/ 161925 h 360935"/>
                  <a:gd name="connsiteX1" fmla="*/ 288322 w 650272"/>
                  <a:gd name="connsiteY1" fmla="*/ 0 h 360935"/>
                  <a:gd name="connsiteX2" fmla="*/ 650272 w 650272"/>
                  <a:gd name="connsiteY2" fmla="*/ 237110 h 360935"/>
                  <a:gd name="connsiteX3" fmla="*/ 434975 w 650272"/>
                  <a:gd name="connsiteY3" fmla="*/ 360935 h 360935"/>
                  <a:gd name="connsiteX4" fmla="*/ 0 w 650272"/>
                  <a:gd name="connsiteY4" fmla="*/ 161925 h 360935"/>
                  <a:gd name="connsiteX0" fmla="*/ 0 w 650272"/>
                  <a:gd name="connsiteY0" fmla="*/ 123825 h 322835"/>
                  <a:gd name="connsiteX1" fmla="*/ 231172 w 650272"/>
                  <a:gd name="connsiteY1" fmla="*/ 0 h 322835"/>
                  <a:gd name="connsiteX2" fmla="*/ 650272 w 650272"/>
                  <a:gd name="connsiteY2" fmla="*/ 199010 h 322835"/>
                  <a:gd name="connsiteX3" fmla="*/ 434975 w 650272"/>
                  <a:gd name="connsiteY3" fmla="*/ 322835 h 322835"/>
                  <a:gd name="connsiteX4" fmla="*/ 0 w 650272"/>
                  <a:gd name="connsiteY4" fmla="*/ 123825 h 322835"/>
                  <a:gd name="connsiteX0" fmla="*/ 0 w 675672"/>
                  <a:gd name="connsiteY0" fmla="*/ 111125 h 322835"/>
                  <a:gd name="connsiteX1" fmla="*/ 256572 w 675672"/>
                  <a:gd name="connsiteY1" fmla="*/ 0 h 322835"/>
                  <a:gd name="connsiteX2" fmla="*/ 675672 w 675672"/>
                  <a:gd name="connsiteY2" fmla="*/ 199010 h 322835"/>
                  <a:gd name="connsiteX3" fmla="*/ 460375 w 675672"/>
                  <a:gd name="connsiteY3" fmla="*/ 322835 h 322835"/>
                  <a:gd name="connsiteX4" fmla="*/ 0 w 675672"/>
                  <a:gd name="connsiteY4" fmla="*/ 111125 h 322835"/>
                  <a:gd name="connsiteX0" fmla="*/ 0 w 675672"/>
                  <a:gd name="connsiteY0" fmla="*/ 111125 h 313310"/>
                  <a:gd name="connsiteX1" fmla="*/ 256572 w 675672"/>
                  <a:gd name="connsiteY1" fmla="*/ 0 h 313310"/>
                  <a:gd name="connsiteX2" fmla="*/ 675672 w 675672"/>
                  <a:gd name="connsiteY2" fmla="*/ 199010 h 313310"/>
                  <a:gd name="connsiteX3" fmla="*/ 447675 w 675672"/>
                  <a:gd name="connsiteY3" fmla="*/ 313310 h 313310"/>
                  <a:gd name="connsiteX4" fmla="*/ 0 w 675672"/>
                  <a:gd name="connsiteY4" fmla="*/ 111125 h 313310"/>
                  <a:gd name="connsiteX0" fmla="*/ 0 w 675672"/>
                  <a:gd name="connsiteY0" fmla="*/ 106362 h 308547"/>
                  <a:gd name="connsiteX1" fmla="*/ 247047 w 675672"/>
                  <a:gd name="connsiteY1" fmla="*/ 0 h 308547"/>
                  <a:gd name="connsiteX2" fmla="*/ 675672 w 675672"/>
                  <a:gd name="connsiteY2" fmla="*/ 194247 h 308547"/>
                  <a:gd name="connsiteX3" fmla="*/ 447675 w 675672"/>
                  <a:gd name="connsiteY3" fmla="*/ 308547 h 308547"/>
                  <a:gd name="connsiteX4" fmla="*/ 0 w 675672"/>
                  <a:gd name="connsiteY4" fmla="*/ 106362 h 308547"/>
                  <a:gd name="connsiteX0" fmla="*/ 0 w 675672"/>
                  <a:gd name="connsiteY0" fmla="*/ 113506 h 315691"/>
                  <a:gd name="connsiteX1" fmla="*/ 249428 w 675672"/>
                  <a:gd name="connsiteY1" fmla="*/ 0 h 315691"/>
                  <a:gd name="connsiteX2" fmla="*/ 675672 w 675672"/>
                  <a:gd name="connsiteY2" fmla="*/ 201391 h 315691"/>
                  <a:gd name="connsiteX3" fmla="*/ 447675 w 675672"/>
                  <a:gd name="connsiteY3" fmla="*/ 315691 h 315691"/>
                  <a:gd name="connsiteX4" fmla="*/ 0 w 675672"/>
                  <a:gd name="connsiteY4" fmla="*/ 113506 h 3156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672" h="315691">
                    <a:moveTo>
                      <a:pt x="0" y="113506"/>
                    </a:moveTo>
                    <a:lnTo>
                      <a:pt x="249428" y="0"/>
                    </a:lnTo>
                    <a:lnTo>
                      <a:pt x="675672" y="201391"/>
                    </a:lnTo>
                    <a:lnTo>
                      <a:pt x="447675" y="315691"/>
                    </a:lnTo>
                    <a:lnTo>
                      <a:pt x="0" y="113506"/>
                    </a:lnTo>
                    <a:close/>
                  </a:path>
                </a:pathLst>
              </a:custGeom>
              <a:solidFill>
                <a:schemeClr val="tx1">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8" name="Rectangle 20"/>
              <p:cNvSpPr/>
              <p:nvPr/>
            </p:nvSpPr>
            <p:spPr>
              <a:xfrm>
                <a:off x="4188015" y="1300299"/>
                <a:ext cx="1472511" cy="672427"/>
              </a:xfrm>
              <a:custGeom>
                <a:avLst/>
                <a:gdLst>
                  <a:gd name="connsiteX0" fmla="*/ 0 w 402622"/>
                  <a:gd name="connsiteY0" fmla="*/ 0 h 252985"/>
                  <a:gd name="connsiteX1" fmla="*/ 402622 w 402622"/>
                  <a:gd name="connsiteY1" fmla="*/ 0 h 252985"/>
                  <a:gd name="connsiteX2" fmla="*/ 402622 w 402622"/>
                  <a:gd name="connsiteY2" fmla="*/ 252985 h 252985"/>
                  <a:gd name="connsiteX3" fmla="*/ 0 w 402622"/>
                  <a:gd name="connsiteY3" fmla="*/ 252985 h 252985"/>
                  <a:gd name="connsiteX4" fmla="*/ 0 w 402622"/>
                  <a:gd name="connsiteY4" fmla="*/ 0 h 252985"/>
                  <a:gd name="connsiteX0" fmla="*/ 0 w 402622"/>
                  <a:gd name="connsiteY0" fmla="*/ 114300 h 367285"/>
                  <a:gd name="connsiteX1" fmla="*/ 348647 w 402622"/>
                  <a:gd name="connsiteY1" fmla="*/ 0 h 367285"/>
                  <a:gd name="connsiteX2" fmla="*/ 402622 w 402622"/>
                  <a:gd name="connsiteY2" fmla="*/ 367285 h 367285"/>
                  <a:gd name="connsiteX3" fmla="*/ 0 w 402622"/>
                  <a:gd name="connsiteY3" fmla="*/ 367285 h 367285"/>
                  <a:gd name="connsiteX4" fmla="*/ 0 w 402622"/>
                  <a:gd name="connsiteY4" fmla="*/ 114300 h 367285"/>
                  <a:gd name="connsiteX0" fmla="*/ 0 w 643922"/>
                  <a:gd name="connsiteY0" fmla="*/ 114300 h 367285"/>
                  <a:gd name="connsiteX1" fmla="*/ 348647 w 643922"/>
                  <a:gd name="connsiteY1" fmla="*/ 0 h 367285"/>
                  <a:gd name="connsiteX2" fmla="*/ 643922 w 643922"/>
                  <a:gd name="connsiteY2" fmla="*/ 195835 h 367285"/>
                  <a:gd name="connsiteX3" fmla="*/ 0 w 643922"/>
                  <a:gd name="connsiteY3" fmla="*/ 367285 h 367285"/>
                  <a:gd name="connsiteX4" fmla="*/ 0 w 643922"/>
                  <a:gd name="connsiteY4" fmla="*/ 114300 h 367285"/>
                  <a:gd name="connsiteX0" fmla="*/ 0 w 643922"/>
                  <a:gd name="connsiteY0" fmla="*/ 114300 h 443485"/>
                  <a:gd name="connsiteX1" fmla="*/ 348647 w 643922"/>
                  <a:gd name="connsiteY1" fmla="*/ 0 h 443485"/>
                  <a:gd name="connsiteX2" fmla="*/ 643922 w 643922"/>
                  <a:gd name="connsiteY2" fmla="*/ 195835 h 443485"/>
                  <a:gd name="connsiteX3" fmla="*/ 320675 w 643922"/>
                  <a:gd name="connsiteY3" fmla="*/ 443485 h 443485"/>
                  <a:gd name="connsiteX4" fmla="*/ 0 w 643922"/>
                  <a:gd name="connsiteY4" fmla="*/ 114300 h 443485"/>
                  <a:gd name="connsiteX0" fmla="*/ 0 w 659797"/>
                  <a:gd name="connsiteY0" fmla="*/ 276225 h 443485"/>
                  <a:gd name="connsiteX1" fmla="*/ 364522 w 659797"/>
                  <a:gd name="connsiteY1" fmla="*/ 0 h 443485"/>
                  <a:gd name="connsiteX2" fmla="*/ 659797 w 659797"/>
                  <a:gd name="connsiteY2" fmla="*/ 195835 h 443485"/>
                  <a:gd name="connsiteX3" fmla="*/ 336550 w 659797"/>
                  <a:gd name="connsiteY3" fmla="*/ 443485 h 443485"/>
                  <a:gd name="connsiteX4" fmla="*/ 0 w 659797"/>
                  <a:gd name="connsiteY4" fmla="*/ 276225 h 443485"/>
                  <a:gd name="connsiteX0" fmla="*/ 0 w 720122"/>
                  <a:gd name="connsiteY0" fmla="*/ 203200 h 443485"/>
                  <a:gd name="connsiteX1" fmla="*/ 424847 w 720122"/>
                  <a:gd name="connsiteY1" fmla="*/ 0 h 443485"/>
                  <a:gd name="connsiteX2" fmla="*/ 720122 w 720122"/>
                  <a:gd name="connsiteY2" fmla="*/ 195835 h 443485"/>
                  <a:gd name="connsiteX3" fmla="*/ 396875 w 720122"/>
                  <a:gd name="connsiteY3" fmla="*/ 443485 h 443485"/>
                  <a:gd name="connsiteX4" fmla="*/ 0 w 720122"/>
                  <a:gd name="connsiteY4" fmla="*/ 203200 h 443485"/>
                  <a:gd name="connsiteX0" fmla="*/ 0 w 720122"/>
                  <a:gd name="connsiteY0" fmla="*/ 120650 h 360935"/>
                  <a:gd name="connsiteX1" fmla="*/ 250222 w 720122"/>
                  <a:gd name="connsiteY1" fmla="*/ 0 h 360935"/>
                  <a:gd name="connsiteX2" fmla="*/ 720122 w 720122"/>
                  <a:gd name="connsiteY2" fmla="*/ 113285 h 360935"/>
                  <a:gd name="connsiteX3" fmla="*/ 396875 w 720122"/>
                  <a:gd name="connsiteY3" fmla="*/ 360935 h 360935"/>
                  <a:gd name="connsiteX4" fmla="*/ 0 w 720122"/>
                  <a:gd name="connsiteY4" fmla="*/ 120650 h 360935"/>
                  <a:gd name="connsiteX0" fmla="*/ 0 w 612172"/>
                  <a:gd name="connsiteY0" fmla="*/ 120650 h 360935"/>
                  <a:gd name="connsiteX1" fmla="*/ 250222 w 612172"/>
                  <a:gd name="connsiteY1" fmla="*/ 0 h 360935"/>
                  <a:gd name="connsiteX2" fmla="*/ 612172 w 612172"/>
                  <a:gd name="connsiteY2" fmla="*/ 237110 h 360935"/>
                  <a:gd name="connsiteX3" fmla="*/ 396875 w 612172"/>
                  <a:gd name="connsiteY3" fmla="*/ 360935 h 360935"/>
                  <a:gd name="connsiteX4" fmla="*/ 0 w 612172"/>
                  <a:gd name="connsiteY4" fmla="*/ 120650 h 360935"/>
                  <a:gd name="connsiteX0" fmla="*/ 0 w 650272"/>
                  <a:gd name="connsiteY0" fmla="*/ 161925 h 360935"/>
                  <a:gd name="connsiteX1" fmla="*/ 288322 w 650272"/>
                  <a:gd name="connsiteY1" fmla="*/ 0 h 360935"/>
                  <a:gd name="connsiteX2" fmla="*/ 650272 w 650272"/>
                  <a:gd name="connsiteY2" fmla="*/ 237110 h 360935"/>
                  <a:gd name="connsiteX3" fmla="*/ 434975 w 650272"/>
                  <a:gd name="connsiteY3" fmla="*/ 360935 h 360935"/>
                  <a:gd name="connsiteX4" fmla="*/ 0 w 650272"/>
                  <a:gd name="connsiteY4" fmla="*/ 161925 h 360935"/>
                  <a:gd name="connsiteX0" fmla="*/ 0 w 650272"/>
                  <a:gd name="connsiteY0" fmla="*/ 123825 h 322835"/>
                  <a:gd name="connsiteX1" fmla="*/ 231172 w 650272"/>
                  <a:gd name="connsiteY1" fmla="*/ 0 h 322835"/>
                  <a:gd name="connsiteX2" fmla="*/ 650272 w 650272"/>
                  <a:gd name="connsiteY2" fmla="*/ 199010 h 322835"/>
                  <a:gd name="connsiteX3" fmla="*/ 434975 w 650272"/>
                  <a:gd name="connsiteY3" fmla="*/ 322835 h 322835"/>
                  <a:gd name="connsiteX4" fmla="*/ 0 w 650272"/>
                  <a:gd name="connsiteY4" fmla="*/ 123825 h 322835"/>
                  <a:gd name="connsiteX0" fmla="*/ 0 w 675672"/>
                  <a:gd name="connsiteY0" fmla="*/ 111125 h 322835"/>
                  <a:gd name="connsiteX1" fmla="*/ 256572 w 675672"/>
                  <a:gd name="connsiteY1" fmla="*/ 0 h 322835"/>
                  <a:gd name="connsiteX2" fmla="*/ 675672 w 675672"/>
                  <a:gd name="connsiteY2" fmla="*/ 199010 h 322835"/>
                  <a:gd name="connsiteX3" fmla="*/ 460375 w 675672"/>
                  <a:gd name="connsiteY3" fmla="*/ 322835 h 322835"/>
                  <a:gd name="connsiteX4" fmla="*/ 0 w 675672"/>
                  <a:gd name="connsiteY4" fmla="*/ 111125 h 322835"/>
                  <a:gd name="connsiteX0" fmla="*/ 0 w 675672"/>
                  <a:gd name="connsiteY0" fmla="*/ 111125 h 313310"/>
                  <a:gd name="connsiteX1" fmla="*/ 256572 w 675672"/>
                  <a:gd name="connsiteY1" fmla="*/ 0 h 313310"/>
                  <a:gd name="connsiteX2" fmla="*/ 675672 w 675672"/>
                  <a:gd name="connsiteY2" fmla="*/ 199010 h 313310"/>
                  <a:gd name="connsiteX3" fmla="*/ 447675 w 675672"/>
                  <a:gd name="connsiteY3" fmla="*/ 313310 h 313310"/>
                  <a:gd name="connsiteX4" fmla="*/ 0 w 675672"/>
                  <a:gd name="connsiteY4" fmla="*/ 111125 h 313310"/>
                  <a:gd name="connsiteX0" fmla="*/ 0 w 675672"/>
                  <a:gd name="connsiteY0" fmla="*/ 106363 h 308548"/>
                  <a:gd name="connsiteX1" fmla="*/ 242285 w 675672"/>
                  <a:gd name="connsiteY1" fmla="*/ 0 h 308548"/>
                  <a:gd name="connsiteX2" fmla="*/ 675672 w 675672"/>
                  <a:gd name="connsiteY2" fmla="*/ 194248 h 308548"/>
                  <a:gd name="connsiteX3" fmla="*/ 447675 w 675672"/>
                  <a:gd name="connsiteY3" fmla="*/ 308548 h 308548"/>
                  <a:gd name="connsiteX4" fmla="*/ 0 w 675672"/>
                  <a:gd name="connsiteY4" fmla="*/ 106363 h 308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672" h="308548">
                    <a:moveTo>
                      <a:pt x="0" y="106363"/>
                    </a:moveTo>
                    <a:lnTo>
                      <a:pt x="242285" y="0"/>
                    </a:lnTo>
                    <a:lnTo>
                      <a:pt x="675672" y="194248"/>
                    </a:lnTo>
                    <a:lnTo>
                      <a:pt x="447675" y="308548"/>
                    </a:lnTo>
                    <a:lnTo>
                      <a:pt x="0" y="106363"/>
                    </a:lnTo>
                    <a:close/>
                  </a:path>
                </a:pathLst>
              </a:custGeom>
              <a:solidFill>
                <a:schemeClr val="tx1">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9" name="Rectangle 20"/>
              <p:cNvSpPr/>
              <p:nvPr/>
            </p:nvSpPr>
            <p:spPr>
              <a:xfrm>
                <a:off x="6144139" y="1422209"/>
                <a:ext cx="1399859" cy="656858"/>
              </a:xfrm>
              <a:custGeom>
                <a:avLst/>
                <a:gdLst>
                  <a:gd name="connsiteX0" fmla="*/ 0 w 402622"/>
                  <a:gd name="connsiteY0" fmla="*/ 0 h 252985"/>
                  <a:gd name="connsiteX1" fmla="*/ 402622 w 402622"/>
                  <a:gd name="connsiteY1" fmla="*/ 0 h 252985"/>
                  <a:gd name="connsiteX2" fmla="*/ 402622 w 402622"/>
                  <a:gd name="connsiteY2" fmla="*/ 252985 h 252985"/>
                  <a:gd name="connsiteX3" fmla="*/ 0 w 402622"/>
                  <a:gd name="connsiteY3" fmla="*/ 252985 h 252985"/>
                  <a:gd name="connsiteX4" fmla="*/ 0 w 402622"/>
                  <a:gd name="connsiteY4" fmla="*/ 0 h 252985"/>
                  <a:gd name="connsiteX0" fmla="*/ 0 w 402622"/>
                  <a:gd name="connsiteY0" fmla="*/ 114300 h 367285"/>
                  <a:gd name="connsiteX1" fmla="*/ 348647 w 402622"/>
                  <a:gd name="connsiteY1" fmla="*/ 0 h 367285"/>
                  <a:gd name="connsiteX2" fmla="*/ 402622 w 402622"/>
                  <a:gd name="connsiteY2" fmla="*/ 367285 h 367285"/>
                  <a:gd name="connsiteX3" fmla="*/ 0 w 402622"/>
                  <a:gd name="connsiteY3" fmla="*/ 367285 h 367285"/>
                  <a:gd name="connsiteX4" fmla="*/ 0 w 402622"/>
                  <a:gd name="connsiteY4" fmla="*/ 114300 h 367285"/>
                  <a:gd name="connsiteX0" fmla="*/ 0 w 643922"/>
                  <a:gd name="connsiteY0" fmla="*/ 114300 h 367285"/>
                  <a:gd name="connsiteX1" fmla="*/ 348647 w 643922"/>
                  <a:gd name="connsiteY1" fmla="*/ 0 h 367285"/>
                  <a:gd name="connsiteX2" fmla="*/ 643922 w 643922"/>
                  <a:gd name="connsiteY2" fmla="*/ 195835 h 367285"/>
                  <a:gd name="connsiteX3" fmla="*/ 0 w 643922"/>
                  <a:gd name="connsiteY3" fmla="*/ 367285 h 367285"/>
                  <a:gd name="connsiteX4" fmla="*/ 0 w 643922"/>
                  <a:gd name="connsiteY4" fmla="*/ 114300 h 367285"/>
                  <a:gd name="connsiteX0" fmla="*/ 0 w 643922"/>
                  <a:gd name="connsiteY0" fmla="*/ 114300 h 443485"/>
                  <a:gd name="connsiteX1" fmla="*/ 348647 w 643922"/>
                  <a:gd name="connsiteY1" fmla="*/ 0 h 443485"/>
                  <a:gd name="connsiteX2" fmla="*/ 643922 w 643922"/>
                  <a:gd name="connsiteY2" fmla="*/ 195835 h 443485"/>
                  <a:gd name="connsiteX3" fmla="*/ 320675 w 643922"/>
                  <a:gd name="connsiteY3" fmla="*/ 443485 h 443485"/>
                  <a:gd name="connsiteX4" fmla="*/ 0 w 643922"/>
                  <a:gd name="connsiteY4" fmla="*/ 114300 h 443485"/>
                  <a:gd name="connsiteX0" fmla="*/ 0 w 659797"/>
                  <a:gd name="connsiteY0" fmla="*/ 276225 h 443485"/>
                  <a:gd name="connsiteX1" fmla="*/ 364522 w 659797"/>
                  <a:gd name="connsiteY1" fmla="*/ 0 h 443485"/>
                  <a:gd name="connsiteX2" fmla="*/ 659797 w 659797"/>
                  <a:gd name="connsiteY2" fmla="*/ 195835 h 443485"/>
                  <a:gd name="connsiteX3" fmla="*/ 336550 w 659797"/>
                  <a:gd name="connsiteY3" fmla="*/ 443485 h 443485"/>
                  <a:gd name="connsiteX4" fmla="*/ 0 w 659797"/>
                  <a:gd name="connsiteY4" fmla="*/ 276225 h 443485"/>
                  <a:gd name="connsiteX0" fmla="*/ 0 w 720122"/>
                  <a:gd name="connsiteY0" fmla="*/ 203200 h 443485"/>
                  <a:gd name="connsiteX1" fmla="*/ 424847 w 720122"/>
                  <a:gd name="connsiteY1" fmla="*/ 0 h 443485"/>
                  <a:gd name="connsiteX2" fmla="*/ 720122 w 720122"/>
                  <a:gd name="connsiteY2" fmla="*/ 195835 h 443485"/>
                  <a:gd name="connsiteX3" fmla="*/ 396875 w 720122"/>
                  <a:gd name="connsiteY3" fmla="*/ 443485 h 443485"/>
                  <a:gd name="connsiteX4" fmla="*/ 0 w 720122"/>
                  <a:gd name="connsiteY4" fmla="*/ 203200 h 443485"/>
                  <a:gd name="connsiteX0" fmla="*/ 0 w 720122"/>
                  <a:gd name="connsiteY0" fmla="*/ 120650 h 360935"/>
                  <a:gd name="connsiteX1" fmla="*/ 250222 w 720122"/>
                  <a:gd name="connsiteY1" fmla="*/ 0 h 360935"/>
                  <a:gd name="connsiteX2" fmla="*/ 720122 w 720122"/>
                  <a:gd name="connsiteY2" fmla="*/ 113285 h 360935"/>
                  <a:gd name="connsiteX3" fmla="*/ 396875 w 720122"/>
                  <a:gd name="connsiteY3" fmla="*/ 360935 h 360935"/>
                  <a:gd name="connsiteX4" fmla="*/ 0 w 720122"/>
                  <a:gd name="connsiteY4" fmla="*/ 120650 h 360935"/>
                  <a:gd name="connsiteX0" fmla="*/ 0 w 612172"/>
                  <a:gd name="connsiteY0" fmla="*/ 120650 h 360935"/>
                  <a:gd name="connsiteX1" fmla="*/ 250222 w 612172"/>
                  <a:gd name="connsiteY1" fmla="*/ 0 h 360935"/>
                  <a:gd name="connsiteX2" fmla="*/ 612172 w 612172"/>
                  <a:gd name="connsiteY2" fmla="*/ 237110 h 360935"/>
                  <a:gd name="connsiteX3" fmla="*/ 396875 w 612172"/>
                  <a:gd name="connsiteY3" fmla="*/ 360935 h 360935"/>
                  <a:gd name="connsiteX4" fmla="*/ 0 w 612172"/>
                  <a:gd name="connsiteY4" fmla="*/ 120650 h 360935"/>
                  <a:gd name="connsiteX0" fmla="*/ 0 w 650272"/>
                  <a:gd name="connsiteY0" fmla="*/ 161925 h 360935"/>
                  <a:gd name="connsiteX1" fmla="*/ 288322 w 650272"/>
                  <a:gd name="connsiteY1" fmla="*/ 0 h 360935"/>
                  <a:gd name="connsiteX2" fmla="*/ 650272 w 650272"/>
                  <a:gd name="connsiteY2" fmla="*/ 237110 h 360935"/>
                  <a:gd name="connsiteX3" fmla="*/ 434975 w 650272"/>
                  <a:gd name="connsiteY3" fmla="*/ 360935 h 360935"/>
                  <a:gd name="connsiteX4" fmla="*/ 0 w 650272"/>
                  <a:gd name="connsiteY4" fmla="*/ 161925 h 360935"/>
                  <a:gd name="connsiteX0" fmla="*/ 0 w 650272"/>
                  <a:gd name="connsiteY0" fmla="*/ 123825 h 322835"/>
                  <a:gd name="connsiteX1" fmla="*/ 231172 w 650272"/>
                  <a:gd name="connsiteY1" fmla="*/ 0 h 322835"/>
                  <a:gd name="connsiteX2" fmla="*/ 650272 w 650272"/>
                  <a:gd name="connsiteY2" fmla="*/ 199010 h 322835"/>
                  <a:gd name="connsiteX3" fmla="*/ 434975 w 650272"/>
                  <a:gd name="connsiteY3" fmla="*/ 322835 h 322835"/>
                  <a:gd name="connsiteX4" fmla="*/ 0 w 650272"/>
                  <a:gd name="connsiteY4" fmla="*/ 123825 h 322835"/>
                  <a:gd name="connsiteX0" fmla="*/ 0 w 675672"/>
                  <a:gd name="connsiteY0" fmla="*/ 111125 h 322835"/>
                  <a:gd name="connsiteX1" fmla="*/ 256572 w 675672"/>
                  <a:gd name="connsiteY1" fmla="*/ 0 h 322835"/>
                  <a:gd name="connsiteX2" fmla="*/ 675672 w 675672"/>
                  <a:gd name="connsiteY2" fmla="*/ 199010 h 322835"/>
                  <a:gd name="connsiteX3" fmla="*/ 460375 w 675672"/>
                  <a:gd name="connsiteY3" fmla="*/ 322835 h 322835"/>
                  <a:gd name="connsiteX4" fmla="*/ 0 w 675672"/>
                  <a:gd name="connsiteY4" fmla="*/ 111125 h 322835"/>
                  <a:gd name="connsiteX0" fmla="*/ 0 w 675672"/>
                  <a:gd name="connsiteY0" fmla="*/ 111125 h 313310"/>
                  <a:gd name="connsiteX1" fmla="*/ 256572 w 675672"/>
                  <a:gd name="connsiteY1" fmla="*/ 0 h 313310"/>
                  <a:gd name="connsiteX2" fmla="*/ 675672 w 675672"/>
                  <a:gd name="connsiteY2" fmla="*/ 199010 h 313310"/>
                  <a:gd name="connsiteX3" fmla="*/ 447675 w 675672"/>
                  <a:gd name="connsiteY3" fmla="*/ 313310 h 313310"/>
                  <a:gd name="connsiteX4" fmla="*/ 0 w 675672"/>
                  <a:gd name="connsiteY4" fmla="*/ 111125 h 313310"/>
                  <a:gd name="connsiteX0" fmla="*/ 0 w 675672"/>
                  <a:gd name="connsiteY0" fmla="*/ 106362 h 308547"/>
                  <a:gd name="connsiteX1" fmla="*/ 247047 w 675672"/>
                  <a:gd name="connsiteY1" fmla="*/ 0 h 308547"/>
                  <a:gd name="connsiteX2" fmla="*/ 675672 w 675672"/>
                  <a:gd name="connsiteY2" fmla="*/ 194247 h 308547"/>
                  <a:gd name="connsiteX3" fmla="*/ 447675 w 675672"/>
                  <a:gd name="connsiteY3" fmla="*/ 308547 h 308547"/>
                  <a:gd name="connsiteX4" fmla="*/ 0 w 675672"/>
                  <a:gd name="connsiteY4" fmla="*/ 106362 h 308547"/>
                  <a:gd name="connsiteX0" fmla="*/ 0 w 647097"/>
                  <a:gd name="connsiteY0" fmla="*/ 115887 h 308547"/>
                  <a:gd name="connsiteX1" fmla="*/ 218472 w 647097"/>
                  <a:gd name="connsiteY1" fmla="*/ 0 h 308547"/>
                  <a:gd name="connsiteX2" fmla="*/ 647097 w 647097"/>
                  <a:gd name="connsiteY2" fmla="*/ 194247 h 308547"/>
                  <a:gd name="connsiteX3" fmla="*/ 419100 w 647097"/>
                  <a:gd name="connsiteY3" fmla="*/ 308547 h 308547"/>
                  <a:gd name="connsiteX4" fmla="*/ 0 w 647097"/>
                  <a:gd name="connsiteY4" fmla="*/ 115887 h 308547"/>
                  <a:gd name="connsiteX0" fmla="*/ 0 w 647097"/>
                  <a:gd name="connsiteY0" fmla="*/ 108744 h 301404"/>
                  <a:gd name="connsiteX1" fmla="*/ 232759 w 647097"/>
                  <a:gd name="connsiteY1" fmla="*/ 0 h 301404"/>
                  <a:gd name="connsiteX2" fmla="*/ 647097 w 647097"/>
                  <a:gd name="connsiteY2" fmla="*/ 187104 h 301404"/>
                  <a:gd name="connsiteX3" fmla="*/ 419100 w 647097"/>
                  <a:gd name="connsiteY3" fmla="*/ 301404 h 301404"/>
                  <a:gd name="connsiteX4" fmla="*/ 0 w 647097"/>
                  <a:gd name="connsiteY4" fmla="*/ 108744 h 301404"/>
                  <a:gd name="connsiteX0" fmla="*/ 0 w 642335"/>
                  <a:gd name="connsiteY0" fmla="*/ 108744 h 301404"/>
                  <a:gd name="connsiteX1" fmla="*/ 232759 w 642335"/>
                  <a:gd name="connsiteY1" fmla="*/ 0 h 301404"/>
                  <a:gd name="connsiteX2" fmla="*/ 642335 w 642335"/>
                  <a:gd name="connsiteY2" fmla="*/ 187104 h 301404"/>
                  <a:gd name="connsiteX3" fmla="*/ 419100 w 642335"/>
                  <a:gd name="connsiteY3" fmla="*/ 301404 h 301404"/>
                  <a:gd name="connsiteX4" fmla="*/ 0 w 642335"/>
                  <a:gd name="connsiteY4" fmla="*/ 108744 h 301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335" h="301404">
                    <a:moveTo>
                      <a:pt x="0" y="108744"/>
                    </a:moveTo>
                    <a:lnTo>
                      <a:pt x="232759" y="0"/>
                    </a:lnTo>
                    <a:lnTo>
                      <a:pt x="642335" y="187104"/>
                    </a:lnTo>
                    <a:lnTo>
                      <a:pt x="419100" y="301404"/>
                    </a:lnTo>
                    <a:lnTo>
                      <a:pt x="0" y="108744"/>
                    </a:lnTo>
                    <a:close/>
                  </a:path>
                </a:pathLst>
              </a:custGeom>
              <a:solidFill>
                <a:schemeClr val="tx1">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0" name="Rectangle 20"/>
              <p:cNvSpPr/>
              <p:nvPr/>
            </p:nvSpPr>
            <p:spPr>
              <a:xfrm>
                <a:off x="6948185" y="1032989"/>
                <a:ext cx="1384290" cy="646478"/>
              </a:xfrm>
              <a:custGeom>
                <a:avLst/>
                <a:gdLst>
                  <a:gd name="connsiteX0" fmla="*/ 0 w 402622"/>
                  <a:gd name="connsiteY0" fmla="*/ 0 h 252985"/>
                  <a:gd name="connsiteX1" fmla="*/ 402622 w 402622"/>
                  <a:gd name="connsiteY1" fmla="*/ 0 h 252985"/>
                  <a:gd name="connsiteX2" fmla="*/ 402622 w 402622"/>
                  <a:gd name="connsiteY2" fmla="*/ 252985 h 252985"/>
                  <a:gd name="connsiteX3" fmla="*/ 0 w 402622"/>
                  <a:gd name="connsiteY3" fmla="*/ 252985 h 252985"/>
                  <a:gd name="connsiteX4" fmla="*/ 0 w 402622"/>
                  <a:gd name="connsiteY4" fmla="*/ 0 h 252985"/>
                  <a:gd name="connsiteX0" fmla="*/ 0 w 402622"/>
                  <a:gd name="connsiteY0" fmla="*/ 114300 h 367285"/>
                  <a:gd name="connsiteX1" fmla="*/ 348647 w 402622"/>
                  <a:gd name="connsiteY1" fmla="*/ 0 h 367285"/>
                  <a:gd name="connsiteX2" fmla="*/ 402622 w 402622"/>
                  <a:gd name="connsiteY2" fmla="*/ 367285 h 367285"/>
                  <a:gd name="connsiteX3" fmla="*/ 0 w 402622"/>
                  <a:gd name="connsiteY3" fmla="*/ 367285 h 367285"/>
                  <a:gd name="connsiteX4" fmla="*/ 0 w 402622"/>
                  <a:gd name="connsiteY4" fmla="*/ 114300 h 367285"/>
                  <a:gd name="connsiteX0" fmla="*/ 0 w 643922"/>
                  <a:gd name="connsiteY0" fmla="*/ 114300 h 367285"/>
                  <a:gd name="connsiteX1" fmla="*/ 348647 w 643922"/>
                  <a:gd name="connsiteY1" fmla="*/ 0 h 367285"/>
                  <a:gd name="connsiteX2" fmla="*/ 643922 w 643922"/>
                  <a:gd name="connsiteY2" fmla="*/ 195835 h 367285"/>
                  <a:gd name="connsiteX3" fmla="*/ 0 w 643922"/>
                  <a:gd name="connsiteY3" fmla="*/ 367285 h 367285"/>
                  <a:gd name="connsiteX4" fmla="*/ 0 w 643922"/>
                  <a:gd name="connsiteY4" fmla="*/ 114300 h 367285"/>
                  <a:gd name="connsiteX0" fmla="*/ 0 w 643922"/>
                  <a:gd name="connsiteY0" fmla="*/ 114300 h 443485"/>
                  <a:gd name="connsiteX1" fmla="*/ 348647 w 643922"/>
                  <a:gd name="connsiteY1" fmla="*/ 0 h 443485"/>
                  <a:gd name="connsiteX2" fmla="*/ 643922 w 643922"/>
                  <a:gd name="connsiteY2" fmla="*/ 195835 h 443485"/>
                  <a:gd name="connsiteX3" fmla="*/ 320675 w 643922"/>
                  <a:gd name="connsiteY3" fmla="*/ 443485 h 443485"/>
                  <a:gd name="connsiteX4" fmla="*/ 0 w 643922"/>
                  <a:gd name="connsiteY4" fmla="*/ 114300 h 443485"/>
                  <a:gd name="connsiteX0" fmla="*/ 0 w 659797"/>
                  <a:gd name="connsiteY0" fmla="*/ 276225 h 443485"/>
                  <a:gd name="connsiteX1" fmla="*/ 364522 w 659797"/>
                  <a:gd name="connsiteY1" fmla="*/ 0 h 443485"/>
                  <a:gd name="connsiteX2" fmla="*/ 659797 w 659797"/>
                  <a:gd name="connsiteY2" fmla="*/ 195835 h 443485"/>
                  <a:gd name="connsiteX3" fmla="*/ 336550 w 659797"/>
                  <a:gd name="connsiteY3" fmla="*/ 443485 h 443485"/>
                  <a:gd name="connsiteX4" fmla="*/ 0 w 659797"/>
                  <a:gd name="connsiteY4" fmla="*/ 276225 h 443485"/>
                  <a:gd name="connsiteX0" fmla="*/ 0 w 720122"/>
                  <a:gd name="connsiteY0" fmla="*/ 203200 h 443485"/>
                  <a:gd name="connsiteX1" fmla="*/ 424847 w 720122"/>
                  <a:gd name="connsiteY1" fmla="*/ 0 h 443485"/>
                  <a:gd name="connsiteX2" fmla="*/ 720122 w 720122"/>
                  <a:gd name="connsiteY2" fmla="*/ 195835 h 443485"/>
                  <a:gd name="connsiteX3" fmla="*/ 396875 w 720122"/>
                  <a:gd name="connsiteY3" fmla="*/ 443485 h 443485"/>
                  <a:gd name="connsiteX4" fmla="*/ 0 w 720122"/>
                  <a:gd name="connsiteY4" fmla="*/ 203200 h 443485"/>
                  <a:gd name="connsiteX0" fmla="*/ 0 w 720122"/>
                  <a:gd name="connsiteY0" fmla="*/ 120650 h 360935"/>
                  <a:gd name="connsiteX1" fmla="*/ 250222 w 720122"/>
                  <a:gd name="connsiteY1" fmla="*/ 0 h 360935"/>
                  <a:gd name="connsiteX2" fmla="*/ 720122 w 720122"/>
                  <a:gd name="connsiteY2" fmla="*/ 113285 h 360935"/>
                  <a:gd name="connsiteX3" fmla="*/ 396875 w 720122"/>
                  <a:gd name="connsiteY3" fmla="*/ 360935 h 360935"/>
                  <a:gd name="connsiteX4" fmla="*/ 0 w 720122"/>
                  <a:gd name="connsiteY4" fmla="*/ 120650 h 360935"/>
                  <a:gd name="connsiteX0" fmla="*/ 0 w 612172"/>
                  <a:gd name="connsiteY0" fmla="*/ 120650 h 360935"/>
                  <a:gd name="connsiteX1" fmla="*/ 250222 w 612172"/>
                  <a:gd name="connsiteY1" fmla="*/ 0 h 360935"/>
                  <a:gd name="connsiteX2" fmla="*/ 612172 w 612172"/>
                  <a:gd name="connsiteY2" fmla="*/ 237110 h 360935"/>
                  <a:gd name="connsiteX3" fmla="*/ 396875 w 612172"/>
                  <a:gd name="connsiteY3" fmla="*/ 360935 h 360935"/>
                  <a:gd name="connsiteX4" fmla="*/ 0 w 612172"/>
                  <a:gd name="connsiteY4" fmla="*/ 120650 h 360935"/>
                  <a:gd name="connsiteX0" fmla="*/ 0 w 650272"/>
                  <a:gd name="connsiteY0" fmla="*/ 161925 h 360935"/>
                  <a:gd name="connsiteX1" fmla="*/ 288322 w 650272"/>
                  <a:gd name="connsiteY1" fmla="*/ 0 h 360935"/>
                  <a:gd name="connsiteX2" fmla="*/ 650272 w 650272"/>
                  <a:gd name="connsiteY2" fmla="*/ 237110 h 360935"/>
                  <a:gd name="connsiteX3" fmla="*/ 434975 w 650272"/>
                  <a:gd name="connsiteY3" fmla="*/ 360935 h 360935"/>
                  <a:gd name="connsiteX4" fmla="*/ 0 w 650272"/>
                  <a:gd name="connsiteY4" fmla="*/ 161925 h 360935"/>
                  <a:gd name="connsiteX0" fmla="*/ 0 w 650272"/>
                  <a:gd name="connsiteY0" fmla="*/ 123825 h 322835"/>
                  <a:gd name="connsiteX1" fmla="*/ 231172 w 650272"/>
                  <a:gd name="connsiteY1" fmla="*/ 0 h 322835"/>
                  <a:gd name="connsiteX2" fmla="*/ 650272 w 650272"/>
                  <a:gd name="connsiteY2" fmla="*/ 199010 h 322835"/>
                  <a:gd name="connsiteX3" fmla="*/ 434975 w 650272"/>
                  <a:gd name="connsiteY3" fmla="*/ 322835 h 322835"/>
                  <a:gd name="connsiteX4" fmla="*/ 0 w 650272"/>
                  <a:gd name="connsiteY4" fmla="*/ 123825 h 322835"/>
                  <a:gd name="connsiteX0" fmla="*/ 0 w 675672"/>
                  <a:gd name="connsiteY0" fmla="*/ 111125 h 322835"/>
                  <a:gd name="connsiteX1" fmla="*/ 256572 w 675672"/>
                  <a:gd name="connsiteY1" fmla="*/ 0 h 322835"/>
                  <a:gd name="connsiteX2" fmla="*/ 675672 w 675672"/>
                  <a:gd name="connsiteY2" fmla="*/ 199010 h 322835"/>
                  <a:gd name="connsiteX3" fmla="*/ 460375 w 675672"/>
                  <a:gd name="connsiteY3" fmla="*/ 322835 h 322835"/>
                  <a:gd name="connsiteX4" fmla="*/ 0 w 675672"/>
                  <a:gd name="connsiteY4" fmla="*/ 111125 h 322835"/>
                  <a:gd name="connsiteX0" fmla="*/ 0 w 675672"/>
                  <a:gd name="connsiteY0" fmla="*/ 111125 h 313310"/>
                  <a:gd name="connsiteX1" fmla="*/ 256572 w 675672"/>
                  <a:gd name="connsiteY1" fmla="*/ 0 h 313310"/>
                  <a:gd name="connsiteX2" fmla="*/ 675672 w 675672"/>
                  <a:gd name="connsiteY2" fmla="*/ 199010 h 313310"/>
                  <a:gd name="connsiteX3" fmla="*/ 447675 w 675672"/>
                  <a:gd name="connsiteY3" fmla="*/ 313310 h 313310"/>
                  <a:gd name="connsiteX4" fmla="*/ 0 w 675672"/>
                  <a:gd name="connsiteY4" fmla="*/ 111125 h 313310"/>
                  <a:gd name="connsiteX0" fmla="*/ 0 w 675672"/>
                  <a:gd name="connsiteY0" fmla="*/ 106362 h 308547"/>
                  <a:gd name="connsiteX1" fmla="*/ 247047 w 675672"/>
                  <a:gd name="connsiteY1" fmla="*/ 0 h 308547"/>
                  <a:gd name="connsiteX2" fmla="*/ 675672 w 675672"/>
                  <a:gd name="connsiteY2" fmla="*/ 194247 h 308547"/>
                  <a:gd name="connsiteX3" fmla="*/ 447675 w 675672"/>
                  <a:gd name="connsiteY3" fmla="*/ 308547 h 308547"/>
                  <a:gd name="connsiteX4" fmla="*/ 0 w 675672"/>
                  <a:gd name="connsiteY4" fmla="*/ 106362 h 308547"/>
                  <a:gd name="connsiteX0" fmla="*/ 0 w 635191"/>
                  <a:gd name="connsiteY0" fmla="*/ 125412 h 308547"/>
                  <a:gd name="connsiteX1" fmla="*/ 206566 w 635191"/>
                  <a:gd name="connsiteY1" fmla="*/ 0 h 308547"/>
                  <a:gd name="connsiteX2" fmla="*/ 635191 w 635191"/>
                  <a:gd name="connsiteY2" fmla="*/ 194247 h 308547"/>
                  <a:gd name="connsiteX3" fmla="*/ 407194 w 635191"/>
                  <a:gd name="connsiteY3" fmla="*/ 308547 h 308547"/>
                  <a:gd name="connsiteX4" fmla="*/ 0 w 635191"/>
                  <a:gd name="connsiteY4" fmla="*/ 125412 h 308547"/>
                  <a:gd name="connsiteX0" fmla="*/ 0 w 635191"/>
                  <a:gd name="connsiteY0" fmla="*/ 113506 h 296641"/>
                  <a:gd name="connsiteX1" fmla="*/ 242285 w 635191"/>
                  <a:gd name="connsiteY1" fmla="*/ 0 h 296641"/>
                  <a:gd name="connsiteX2" fmla="*/ 635191 w 635191"/>
                  <a:gd name="connsiteY2" fmla="*/ 182341 h 296641"/>
                  <a:gd name="connsiteX3" fmla="*/ 407194 w 635191"/>
                  <a:gd name="connsiteY3" fmla="*/ 296641 h 296641"/>
                  <a:gd name="connsiteX4" fmla="*/ 0 w 635191"/>
                  <a:gd name="connsiteY4" fmla="*/ 113506 h 296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191" h="296641">
                    <a:moveTo>
                      <a:pt x="0" y="113506"/>
                    </a:moveTo>
                    <a:lnTo>
                      <a:pt x="242285" y="0"/>
                    </a:lnTo>
                    <a:lnTo>
                      <a:pt x="635191" y="182341"/>
                    </a:lnTo>
                    <a:lnTo>
                      <a:pt x="407194" y="296641"/>
                    </a:lnTo>
                    <a:lnTo>
                      <a:pt x="0" y="113506"/>
                    </a:lnTo>
                    <a:close/>
                  </a:path>
                </a:pathLst>
              </a:custGeom>
              <a:solidFill>
                <a:schemeClr val="tx1">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1" name="Rectangle 20"/>
              <p:cNvSpPr/>
              <p:nvPr/>
            </p:nvSpPr>
            <p:spPr>
              <a:xfrm>
                <a:off x="5065047" y="916611"/>
                <a:ext cx="1399859" cy="656858"/>
              </a:xfrm>
              <a:custGeom>
                <a:avLst/>
                <a:gdLst>
                  <a:gd name="connsiteX0" fmla="*/ 0 w 402622"/>
                  <a:gd name="connsiteY0" fmla="*/ 0 h 252985"/>
                  <a:gd name="connsiteX1" fmla="*/ 402622 w 402622"/>
                  <a:gd name="connsiteY1" fmla="*/ 0 h 252985"/>
                  <a:gd name="connsiteX2" fmla="*/ 402622 w 402622"/>
                  <a:gd name="connsiteY2" fmla="*/ 252985 h 252985"/>
                  <a:gd name="connsiteX3" fmla="*/ 0 w 402622"/>
                  <a:gd name="connsiteY3" fmla="*/ 252985 h 252985"/>
                  <a:gd name="connsiteX4" fmla="*/ 0 w 402622"/>
                  <a:gd name="connsiteY4" fmla="*/ 0 h 252985"/>
                  <a:gd name="connsiteX0" fmla="*/ 0 w 402622"/>
                  <a:gd name="connsiteY0" fmla="*/ 114300 h 367285"/>
                  <a:gd name="connsiteX1" fmla="*/ 348647 w 402622"/>
                  <a:gd name="connsiteY1" fmla="*/ 0 h 367285"/>
                  <a:gd name="connsiteX2" fmla="*/ 402622 w 402622"/>
                  <a:gd name="connsiteY2" fmla="*/ 367285 h 367285"/>
                  <a:gd name="connsiteX3" fmla="*/ 0 w 402622"/>
                  <a:gd name="connsiteY3" fmla="*/ 367285 h 367285"/>
                  <a:gd name="connsiteX4" fmla="*/ 0 w 402622"/>
                  <a:gd name="connsiteY4" fmla="*/ 114300 h 367285"/>
                  <a:gd name="connsiteX0" fmla="*/ 0 w 643922"/>
                  <a:gd name="connsiteY0" fmla="*/ 114300 h 367285"/>
                  <a:gd name="connsiteX1" fmla="*/ 348647 w 643922"/>
                  <a:gd name="connsiteY1" fmla="*/ 0 h 367285"/>
                  <a:gd name="connsiteX2" fmla="*/ 643922 w 643922"/>
                  <a:gd name="connsiteY2" fmla="*/ 195835 h 367285"/>
                  <a:gd name="connsiteX3" fmla="*/ 0 w 643922"/>
                  <a:gd name="connsiteY3" fmla="*/ 367285 h 367285"/>
                  <a:gd name="connsiteX4" fmla="*/ 0 w 643922"/>
                  <a:gd name="connsiteY4" fmla="*/ 114300 h 367285"/>
                  <a:gd name="connsiteX0" fmla="*/ 0 w 643922"/>
                  <a:gd name="connsiteY0" fmla="*/ 114300 h 443485"/>
                  <a:gd name="connsiteX1" fmla="*/ 348647 w 643922"/>
                  <a:gd name="connsiteY1" fmla="*/ 0 h 443485"/>
                  <a:gd name="connsiteX2" fmla="*/ 643922 w 643922"/>
                  <a:gd name="connsiteY2" fmla="*/ 195835 h 443485"/>
                  <a:gd name="connsiteX3" fmla="*/ 320675 w 643922"/>
                  <a:gd name="connsiteY3" fmla="*/ 443485 h 443485"/>
                  <a:gd name="connsiteX4" fmla="*/ 0 w 643922"/>
                  <a:gd name="connsiteY4" fmla="*/ 114300 h 443485"/>
                  <a:gd name="connsiteX0" fmla="*/ 0 w 659797"/>
                  <a:gd name="connsiteY0" fmla="*/ 276225 h 443485"/>
                  <a:gd name="connsiteX1" fmla="*/ 364522 w 659797"/>
                  <a:gd name="connsiteY1" fmla="*/ 0 h 443485"/>
                  <a:gd name="connsiteX2" fmla="*/ 659797 w 659797"/>
                  <a:gd name="connsiteY2" fmla="*/ 195835 h 443485"/>
                  <a:gd name="connsiteX3" fmla="*/ 336550 w 659797"/>
                  <a:gd name="connsiteY3" fmla="*/ 443485 h 443485"/>
                  <a:gd name="connsiteX4" fmla="*/ 0 w 659797"/>
                  <a:gd name="connsiteY4" fmla="*/ 276225 h 443485"/>
                  <a:gd name="connsiteX0" fmla="*/ 0 w 720122"/>
                  <a:gd name="connsiteY0" fmla="*/ 203200 h 443485"/>
                  <a:gd name="connsiteX1" fmla="*/ 424847 w 720122"/>
                  <a:gd name="connsiteY1" fmla="*/ 0 h 443485"/>
                  <a:gd name="connsiteX2" fmla="*/ 720122 w 720122"/>
                  <a:gd name="connsiteY2" fmla="*/ 195835 h 443485"/>
                  <a:gd name="connsiteX3" fmla="*/ 396875 w 720122"/>
                  <a:gd name="connsiteY3" fmla="*/ 443485 h 443485"/>
                  <a:gd name="connsiteX4" fmla="*/ 0 w 720122"/>
                  <a:gd name="connsiteY4" fmla="*/ 203200 h 443485"/>
                  <a:gd name="connsiteX0" fmla="*/ 0 w 720122"/>
                  <a:gd name="connsiteY0" fmla="*/ 120650 h 360935"/>
                  <a:gd name="connsiteX1" fmla="*/ 250222 w 720122"/>
                  <a:gd name="connsiteY1" fmla="*/ 0 h 360935"/>
                  <a:gd name="connsiteX2" fmla="*/ 720122 w 720122"/>
                  <a:gd name="connsiteY2" fmla="*/ 113285 h 360935"/>
                  <a:gd name="connsiteX3" fmla="*/ 396875 w 720122"/>
                  <a:gd name="connsiteY3" fmla="*/ 360935 h 360935"/>
                  <a:gd name="connsiteX4" fmla="*/ 0 w 720122"/>
                  <a:gd name="connsiteY4" fmla="*/ 120650 h 360935"/>
                  <a:gd name="connsiteX0" fmla="*/ 0 w 612172"/>
                  <a:gd name="connsiteY0" fmla="*/ 120650 h 360935"/>
                  <a:gd name="connsiteX1" fmla="*/ 250222 w 612172"/>
                  <a:gd name="connsiteY1" fmla="*/ 0 h 360935"/>
                  <a:gd name="connsiteX2" fmla="*/ 612172 w 612172"/>
                  <a:gd name="connsiteY2" fmla="*/ 237110 h 360935"/>
                  <a:gd name="connsiteX3" fmla="*/ 396875 w 612172"/>
                  <a:gd name="connsiteY3" fmla="*/ 360935 h 360935"/>
                  <a:gd name="connsiteX4" fmla="*/ 0 w 612172"/>
                  <a:gd name="connsiteY4" fmla="*/ 120650 h 360935"/>
                  <a:gd name="connsiteX0" fmla="*/ 0 w 650272"/>
                  <a:gd name="connsiteY0" fmla="*/ 161925 h 360935"/>
                  <a:gd name="connsiteX1" fmla="*/ 288322 w 650272"/>
                  <a:gd name="connsiteY1" fmla="*/ 0 h 360935"/>
                  <a:gd name="connsiteX2" fmla="*/ 650272 w 650272"/>
                  <a:gd name="connsiteY2" fmla="*/ 237110 h 360935"/>
                  <a:gd name="connsiteX3" fmla="*/ 434975 w 650272"/>
                  <a:gd name="connsiteY3" fmla="*/ 360935 h 360935"/>
                  <a:gd name="connsiteX4" fmla="*/ 0 w 650272"/>
                  <a:gd name="connsiteY4" fmla="*/ 161925 h 360935"/>
                  <a:gd name="connsiteX0" fmla="*/ 0 w 650272"/>
                  <a:gd name="connsiteY0" fmla="*/ 123825 h 322835"/>
                  <a:gd name="connsiteX1" fmla="*/ 231172 w 650272"/>
                  <a:gd name="connsiteY1" fmla="*/ 0 h 322835"/>
                  <a:gd name="connsiteX2" fmla="*/ 650272 w 650272"/>
                  <a:gd name="connsiteY2" fmla="*/ 199010 h 322835"/>
                  <a:gd name="connsiteX3" fmla="*/ 434975 w 650272"/>
                  <a:gd name="connsiteY3" fmla="*/ 322835 h 322835"/>
                  <a:gd name="connsiteX4" fmla="*/ 0 w 650272"/>
                  <a:gd name="connsiteY4" fmla="*/ 123825 h 322835"/>
                  <a:gd name="connsiteX0" fmla="*/ 0 w 675672"/>
                  <a:gd name="connsiteY0" fmla="*/ 111125 h 322835"/>
                  <a:gd name="connsiteX1" fmla="*/ 256572 w 675672"/>
                  <a:gd name="connsiteY1" fmla="*/ 0 h 322835"/>
                  <a:gd name="connsiteX2" fmla="*/ 675672 w 675672"/>
                  <a:gd name="connsiteY2" fmla="*/ 199010 h 322835"/>
                  <a:gd name="connsiteX3" fmla="*/ 460375 w 675672"/>
                  <a:gd name="connsiteY3" fmla="*/ 322835 h 322835"/>
                  <a:gd name="connsiteX4" fmla="*/ 0 w 675672"/>
                  <a:gd name="connsiteY4" fmla="*/ 111125 h 322835"/>
                  <a:gd name="connsiteX0" fmla="*/ 0 w 675672"/>
                  <a:gd name="connsiteY0" fmla="*/ 111125 h 313310"/>
                  <a:gd name="connsiteX1" fmla="*/ 256572 w 675672"/>
                  <a:gd name="connsiteY1" fmla="*/ 0 h 313310"/>
                  <a:gd name="connsiteX2" fmla="*/ 675672 w 675672"/>
                  <a:gd name="connsiteY2" fmla="*/ 199010 h 313310"/>
                  <a:gd name="connsiteX3" fmla="*/ 447675 w 675672"/>
                  <a:gd name="connsiteY3" fmla="*/ 313310 h 313310"/>
                  <a:gd name="connsiteX4" fmla="*/ 0 w 675672"/>
                  <a:gd name="connsiteY4" fmla="*/ 111125 h 313310"/>
                  <a:gd name="connsiteX0" fmla="*/ 0 w 675672"/>
                  <a:gd name="connsiteY0" fmla="*/ 106362 h 308547"/>
                  <a:gd name="connsiteX1" fmla="*/ 247047 w 675672"/>
                  <a:gd name="connsiteY1" fmla="*/ 0 h 308547"/>
                  <a:gd name="connsiteX2" fmla="*/ 675672 w 675672"/>
                  <a:gd name="connsiteY2" fmla="*/ 194247 h 308547"/>
                  <a:gd name="connsiteX3" fmla="*/ 447675 w 675672"/>
                  <a:gd name="connsiteY3" fmla="*/ 308547 h 308547"/>
                  <a:gd name="connsiteX4" fmla="*/ 0 w 675672"/>
                  <a:gd name="connsiteY4" fmla="*/ 106362 h 308547"/>
                  <a:gd name="connsiteX0" fmla="*/ 0 w 647097"/>
                  <a:gd name="connsiteY0" fmla="*/ 115887 h 308547"/>
                  <a:gd name="connsiteX1" fmla="*/ 218472 w 647097"/>
                  <a:gd name="connsiteY1" fmla="*/ 0 h 308547"/>
                  <a:gd name="connsiteX2" fmla="*/ 647097 w 647097"/>
                  <a:gd name="connsiteY2" fmla="*/ 194247 h 308547"/>
                  <a:gd name="connsiteX3" fmla="*/ 419100 w 647097"/>
                  <a:gd name="connsiteY3" fmla="*/ 308547 h 308547"/>
                  <a:gd name="connsiteX4" fmla="*/ 0 w 647097"/>
                  <a:gd name="connsiteY4" fmla="*/ 115887 h 308547"/>
                  <a:gd name="connsiteX0" fmla="*/ 0 w 647097"/>
                  <a:gd name="connsiteY0" fmla="*/ 108744 h 301404"/>
                  <a:gd name="connsiteX1" fmla="*/ 232759 w 647097"/>
                  <a:gd name="connsiteY1" fmla="*/ 0 h 301404"/>
                  <a:gd name="connsiteX2" fmla="*/ 647097 w 647097"/>
                  <a:gd name="connsiteY2" fmla="*/ 187104 h 301404"/>
                  <a:gd name="connsiteX3" fmla="*/ 419100 w 647097"/>
                  <a:gd name="connsiteY3" fmla="*/ 301404 h 301404"/>
                  <a:gd name="connsiteX4" fmla="*/ 0 w 647097"/>
                  <a:gd name="connsiteY4" fmla="*/ 108744 h 301404"/>
                  <a:gd name="connsiteX0" fmla="*/ 0 w 642335"/>
                  <a:gd name="connsiteY0" fmla="*/ 108744 h 301404"/>
                  <a:gd name="connsiteX1" fmla="*/ 232759 w 642335"/>
                  <a:gd name="connsiteY1" fmla="*/ 0 h 301404"/>
                  <a:gd name="connsiteX2" fmla="*/ 642335 w 642335"/>
                  <a:gd name="connsiteY2" fmla="*/ 187104 h 301404"/>
                  <a:gd name="connsiteX3" fmla="*/ 419100 w 642335"/>
                  <a:gd name="connsiteY3" fmla="*/ 301404 h 301404"/>
                  <a:gd name="connsiteX4" fmla="*/ 0 w 642335"/>
                  <a:gd name="connsiteY4" fmla="*/ 108744 h 301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335" h="301404">
                    <a:moveTo>
                      <a:pt x="0" y="108744"/>
                    </a:moveTo>
                    <a:lnTo>
                      <a:pt x="232759" y="0"/>
                    </a:lnTo>
                    <a:lnTo>
                      <a:pt x="642335" y="187104"/>
                    </a:lnTo>
                    <a:lnTo>
                      <a:pt x="419100" y="301404"/>
                    </a:lnTo>
                    <a:lnTo>
                      <a:pt x="0" y="108744"/>
                    </a:lnTo>
                    <a:close/>
                  </a:path>
                </a:pathLst>
              </a:custGeom>
              <a:solidFill>
                <a:schemeClr val="tx1">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2" name="Rectangle 20"/>
              <p:cNvSpPr/>
              <p:nvPr/>
            </p:nvSpPr>
            <p:spPr>
              <a:xfrm>
                <a:off x="5881077" y="534784"/>
                <a:ext cx="1384290" cy="646478"/>
              </a:xfrm>
              <a:custGeom>
                <a:avLst/>
                <a:gdLst>
                  <a:gd name="connsiteX0" fmla="*/ 0 w 402622"/>
                  <a:gd name="connsiteY0" fmla="*/ 0 h 252985"/>
                  <a:gd name="connsiteX1" fmla="*/ 402622 w 402622"/>
                  <a:gd name="connsiteY1" fmla="*/ 0 h 252985"/>
                  <a:gd name="connsiteX2" fmla="*/ 402622 w 402622"/>
                  <a:gd name="connsiteY2" fmla="*/ 252985 h 252985"/>
                  <a:gd name="connsiteX3" fmla="*/ 0 w 402622"/>
                  <a:gd name="connsiteY3" fmla="*/ 252985 h 252985"/>
                  <a:gd name="connsiteX4" fmla="*/ 0 w 402622"/>
                  <a:gd name="connsiteY4" fmla="*/ 0 h 252985"/>
                  <a:gd name="connsiteX0" fmla="*/ 0 w 402622"/>
                  <a:gd name="connsiteY0" fmla="*/ 114300 h 367285"/>
                  <a:gd name="connsiteX1" fmla="*/ 348647 w 402622"/>
                  <a:gd name="connsiteY1" fmla="*/ 0 h 367285"/>
                  <a:gd name="connsiteX2" fmla="*/ 402622 w 402622"/>
                  <a:gd name="connsiteY2" fmla="*/ 367285 h 367285"/>
                  <a:gd name="connsiteX3" fmla="*/ 0 w 402622"/>
                  <a:gd name="connsiteY3" fmla="*/ 367285 h 367285"/>
                  <a:gd name="connsiteX4" fmla="*/ 0 w 402622"/>
                  <a:gd name="connsiteY4" fmla="*/ 114300 h 367285"/>
                  <a:gd name="connsiteX0" fmla="*/ 0 w 643922"/>
                  <a:gd name="connsiteY0" fmla="*/ 114300 h 367285"/>
                  <a:gd name="connsiteX1" fmla="*/ 348647 w 643922"/>
                  <a:gd name="connsiteY1" fmla="*/ 0 h 367285"/>
                  <a:gd name="connsiteX2" fmla="*/ 643922 w 643922"/>
                  <a:gd name="connsiteY2" fmla="*/ 195835 h 367285"/>
                  <a:gd name="connsiteX3" fmla="*/ 0 w 643922"/>
                  <a:gd name="connsiteY3" fmla="*/ 367285 h 367285"/>
                  <a:gd name="connsiteX4" fmla="*/ 0 w 643922"/>
                  <a:gd name="connsiteY4" fmla="*/ 114300 h 367285"/>
                  <a:gd name="connsiteX0" fmla="*/ 0 w 643922"/>
                  <a:gd name="connsiteY0" fmla="*/ 114300 h 443485"/>
                  <a:gd name="connsiteX1" fmla="*/ 348647 w 643922"/>
                  <a:gd name="connsiteY1" fmla="*/ 0 h 443485"/>
                  <a:gd name="connsiteX2" fmla="*/ 643922 w 643922"/>
                  <a:gd name="connsiteY2" fmla="*/ 195835 h 443485"/>
                  <a:gd name="connsiteX3" fmla="*/ 320675 w 643922"/>
                  <a:gd name="connsiteY3" fmla="*/ 443485 h 443485"/>
                  <a:gd name="connsiteX4" fmla="*/ 0 w 643922"/>
                  <a:gd name="connsiteY4" fmla="*/ 114300 h 443485"/>
                  <a:gd name="connsiteX0" fmla="*/ 0 w 659797"/>
                  <a:gd name="connsiteY0" fmla="*/ 276225 h 443485"/>
                  <a:gd name="connsiteX1" fmla="*/ 364522 w 659797"/>
                  <a:gd name="connsiteY1" fmla="*/ 0 h 443485"/>
                  <a:gd name="connsiteX2" fmla="*/ 659797 w 659797"/>
                  <a:gd name="connsiteY2" fmla="*/ 195835 h 443485"/>
                  <a:gd name="connsiteX3" fmla="*/ 336550 w 659797"/>
                  <a:gd name="connsiteY3" fmla="*/ 443485 h 443485"/>
                  <a:gd name="connsiteX4" fmla="*/ 0 w 659797"/>
                  <a:gd name="connsiteY4" fmla="*/ 276225 h 443485"/>
                  <a:gd name="connsiteX0" fmla="*/ 0 w 720122"/>
                  <a:gd name="connsiteY0" fmla="*/ 203200 h 443485"/>
                  <a:gd name="connsiteX1" fmla="*/ 424847 w 720122"/>
                  <a:gd name="connsiteY1" fmla="*/ 0 h 443485"/>
                  <a:gd name="connsiteX2" fmla="*/ 720122 w 720122"/>
                  <a:gd name="connsiteY2" fmla="*/ 195835 h 443485"/>
                  <a:gd name="connsiteX3" fmla="*/ 396875 w 720122"/>
                  <a:gd name="connsiteY3" fmla="*/ 443485 h 443485"/>
                  <a:gd name="connsiteX4" fmla="*/ 0 w 720122"/>
                  <a:gd name="connsiteY4" fmla="*/ 203200 h 443485"/>
                  <a:gd name="connsiteX0" fmla="*/ 0 w 720122"/>
                  <a:gd name="connsiteY0" fmla="*/ 120650 h 360935"/>
                  <a:gd name="connsiteX1" fmla="*/ 250222 w 720122"/>
                  <a:gd name="connsiteY1" fmla="*/ 0 h 360935"/>
                  <a:gd name="connsiteX2" fmla="*/ 720122 w 720122"/>
                  <a:gd name="connsiteY2" fmla="*/ 113285 h 360935"/>
                  <a:gd name="connsiteX3" fmla="*/ 396875 w 720122"/>
                  <a:gd name="connsiteY3" fmla="*/ 360935 h 360935"/>
                  <a:gd name="connsiteX4" fmla="*/ 0 w 720122"/>
                  <a:gd name="connsiteY4" fmla="*/ 120650 h 360935"/>
                  <a:gd name="connsiteX0" fmla="*/ 0 w 612172"/>
                  <a:gd name="connsiteY0" fmla="*/ 120650 h 360935"/>
                  <a:gd name="connsiteX1" fmla="*/ 250222 w 612172"/>
                  <a:gd name="connsiteY1" fmla="*/ 0 h 360935"/>
                  <a:gd name="connsiteX2" fmla="*/ 612172 w 612172"/>
                  <a:gd name="connsiteY2" fmla="*/ 237110 h 360935"/>
                  <a:gd name="connsiteX3" fmla="*/ 396875 w 612172"/>
                  <a:gd name="connsiteY3" fmla="*/ 360935 h 360935"/>
                  <a:gd name="connsiteX4" fmla="*/ 0 w 612172"/>
                  <a:gd name="connsiteY4" fmla="*/ 120650 h 360935"/>
                  <a:gd name="connsiteX0" fmla="*/ 0 w 650272"/>
                  <a:gd name="connsiteY0" fmla="*/ 161925 h 360935"/>
                  <a:gd name="connsiteX1" fmla="*/ 288322 w 650272"/>
                  <a:gd name="connsiteY1" fmla="*/ 0 h 360935"/>
                  <a:gd name="connsiteX2" fmla="*/ 650272 w 650272"/>
                  <a:gd name="connsiteY2" fmla="*/ 237110 h 360935"/>
                  <a:gd name="connsiteX3" fmla="*/ 434975 w 650272"/>
                  <a:gd name="connsiteY3" fmla="*/ 360935 h 360935"/>
                  <a:gd name="connsiteX4" fmla="*/ 0 w 650272"/>
                  <a:gd name="connsiteY4" fmla="*/ 161925 h 360935"/>
                  <a:gd name="connsiteX0" fmla="*/ 0 w 650272"/>
                  <a:gd name="connsiteY0" fmla="*/ 123825 h 322835"/>
                  <a:gd name="connsiteX1" fmla="*/ 231172 w 650272"/>
                  <a:gd name="connsiteY1" fmla="*/ 0 h 322835"/>
                  <a:gd name="connsiteX2" fmla="*/ 650272 w 650272"/>
                  <a:gd name="connsiteY2" fmla="*/ 199010 h 322835"/>
                  <a:gd name="connsiteX3" fmla="*/ 434975 w 650272"/>
                  <a:gd name="connsiteY3" fmla="*/ 322835 h 322835"/>
                  <a:gd name="connsiteX4" fmla="*/ 0 w 650272"/>
                  <a:gd name="connsiteY4" fmla="*/ 123825 h 322835"/>
                  <a:gd name="connsiteX0" fmla="*/ 0 w 675672"/>
                  <a:gd name="connsiteY0" fmla="*/ 111125 h 322835"/>
                  <a:gd name="connsiteX1" fmla="*/ 256572 w 675672"/>
                  <a:gd name="connsiteY1" fmla="*/ 0 h 322835"/>
                  <a:gd name="connsiteX2" fmla="*/ 675672 w 675672"/>
                  <a:gd name="connsiteY2" fmla="*/ 199010 h 322835"/>
                  <a:gd name="connsiteX3" fmla="*/ 460375 w 675672"/>
                  <a:gd name="connsiteY3" fmla="*/ 322835 h 322835"/>
                  <a:gd name="connsiteX4" fmla="*/ 0 w 675672"/>
                  <a:gd name="connsiteY4" fmla="*/ 111125 h 322835"/>
                  <a:gd name="connsiteX0" fmla="*/ 0 w 675672"/>
                  <a:gd name="connsiteY0" fmla="*/ 111125 h 313310"/>
                  <a:gd name="connsiteX1" fmla="*/ 256572 w 675672"/>
                  <a:gd name="connsiteY1" fmla="*/ 0 h 313310"/>
                  <a:gd name="connsiteX2" fmla="*/ 675672 w 675672"/>
                  <a:gd name="connsiteY2" fmla="*/ 199010 h 313310"/>
                  <a:gd name="connsiteX3" fmla="*/ 447675 w 675672"/>
                  <a:gd name="connsiteY3" fmla="*/ 313310 h 313310"/>
                  <a:gd name="connsiteX4" fmla="*/ 0 w 675672"/>
                  <a:gd name="connsiteY4" fmla="*/ 111125 h 313310"/>
                  <a:gd name="connsiteX0" fmla="*/ 0 w 675672"/>
                  <a:gd name="connsiteY0" fmla="*/ 106362 h 308547"/>
                  <a:gd name="connsiteX1" fmla="*/ 247047 w 675672"/>
                  <a:gd name="connsiteY1" fmla="*/ 0 h 308547"/>
                  <a:gd name="connsiteX2" fmla="*/ 675672 w 675672"/>
                  <a:gd name="connsiteY2" fmla="*/ 194247 h 308547"/>
                  <a:gd name="connsiteX3" fmla="*/ 447675 w 675672"/>
                  <a:gd name="connsiteY3" fmla="*/ 308547 h 308547"/>
                  <a:gd name="connsiteX4" fmla="*/ 0 w 675672"/>
                  <a:gd name="connsiteY4" fmla="*/ 106362 h 308547"/>
                  <a:gd name="connsiteX0" fmla="*/ 0 w 635191"/>
                  <a:gd name="connsiteY0" fmla="*/ 125412 h 308547"/>
                  <a:gd name="connsiteX1" fmla="*/ 206566 w 635191"/>
                  <a:gd name="connsiteY1" fmla="*/ 0 h 308547"/>
                  <a:gd name="connsiteX2" fmla="*/ 635191 w 635191"/>
                  <a:gd name="connsiteY2" fmla="*/ 194247 h 308547"/>
                  <a:gd name="connsiteX3" fmla="*/ 407194 w 635191"/>
                  <a:gd name="connsiteY3" fmla="*/ 308547 h 308547"/>
                  <a:gd name="connsiteX4" fmla="*/ 0 w 635191"/>
                  <a:gd name="connsiteY4" fmla="*/ 125412 h 308547"/>
                  <a:gd name="connsiteX0" fmla="*/ 0 w 635191"/>
                  <a:gd name="connsiteY0" fmla="*/ 113506 h 296641"/>
                  <a:gd name="connsiteX1" fmla="*/ 242285 w 635191"/>
                  <a:gd name="connsiteY1" fmla="*/ 0 h 296641"/>
                  <a:gd name="connsiteX2" fmla="*/ 635191 w 635191"/>
                  <a:gd name="connsiteY2" fmla="*/ 182341 h 296641"/>
                  <a:gd name="connsiteX3" fmla="*/ 407194 w 635191"/>
                  <a:gd name="connsiteY3" fmla="*/ 296641 h 296641"/>
                  <a:gd name="connsiteX4" fmla="*/ 0 w 635191"/>
                  <a:gd name="connsiteY4" fmla="*/ 113506 h 296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191" h="296641">
                    <a:moveTo>
                      <a:pt x="0" y="113506"/>
                    </a:moveTo>
                    <a:lnTo>
                      <a:pt x="242285" y="0"/>
                    </a:lnTo>
                    <a:lnTo>
                      <a:pt x="635191" y="182341"/>
                    </a:lnTo>
                    <a:lnTo>
                      <a:pt x="407194" y="296641"/>
                    </a:lnTo>
                    <a:lnTo>
                      <a:pt x="0" y="113506"/>
                    </a:lnTo>
                    <a:close/>
                  </a:path>
                </a:pathLst>
              </a:custGeom>
              <a:solidFill>
                <a:schemeClr val="tx1">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18" name="Group 17"/>
            <p:cNvGrpSpPr/>
            <p:nvPr/>
          </p:nvGrpSpPr>
          <p:grpSpPr>
            <a:xfrm>
              <a:off x="6496378" y="2968196"/>
              <a:ext cx="701578" cy="485094"/>
              <a:chOff x="2621983" y="-89225"/>
              <a:chExt cx="7286095" cy="5037832"/>
            </a:xfrm>
          </p:grpSpPr>
          <p:sp>
            <p:nvSpPr>
              <p:cNvPr id="19" name="Freeform 18"/>
              <p:cNvSpPr/>
              <p:nvPr/>
            </p:nvSpPr>
            <p:spPr>
              <a:xfrm>
                <a:off x="2621983" y="-89225"/>
                <a:ext cx="7286095" cy="5037832"/>
              </a:xfrm>
              <a:custGeom>
                <a:avLst/>
                <a:gdLst>
                  <a:gd name="connsiteX0" fmla="*/ 2681855 w 7286095"/>
                  <a:gd name="connsiteY0" fmla="*/ 2147419 h 5037832"/>
                  <a:gd name="connsiteX1" fmla="*/ 2681855 w 7286095"/>
                  <a:gd name="connsiteY1" fmla="*/ 2235525 h 5037832"/>
                  <a:gd name="connsiteX2" fmla="*/ 3672455 w 7286095"/>
                  <a:gd name="connsiteY2" fmla="*/ 2687963 h 5037832"/>
                  <a:gd name="connsiteX3" fmla="*/ 4160611 w 7286095"/>
                  <a:gd name="connsiteY3" fmla="*/ 2428406 h 5037832"/>
                  <a:gd name="connsiteX4" fmla="*/ 4160611 w 7286095"/>
                  <a:gd name="connsiteY4" fmla="*/ 2337919 h 5037832"/>
                  <a:gd name="connsiteX5" fmla="*/ 2681855 w 7286095"/>
                  <a:gd name="connsiteY5" fmla="*/ 2147419 h 5037832"/>
                  <a:gd name="connsiteX6" fmla="*/ 6858354 w 7286095"/>
                  <a:gd name="connsiteY6" fmla="*/ 1929286 h 5037832"/>
                  <a:gd name="connsiteX7" fmla="*/ 3541261 w 7286095"/>
                  <a:gd name="connsiteY7" fmla="*/ 3836527 h 5037832"/>
                  <a:gd name="connsiteX8" fmla="*/ 43626 w 7286095"/>
                  <a:gd name="connsiteY8" fmla="*/ 1971532 h 5037832"/>
                  <a:gd name="connsiteX9" fmla="*/ 3542717 w 7286095"/>
                  <a:gd name="connsiteY9" fmla="*/ 3953437 h 5037832"/>
                  <a:gd name="connsiteX10" fmla="*/ 6858354 w 7286095"/>
                  <a:gd name="connsiteY10" fmla="*/ 1929286 h 5037832"/>
                  <a:gd name="connsiteX11" fmla="*/ 3521642 w 7286095"/>
                  <a:gd name="connsiteY11" fmla="*/ 1748956 h 5037832"/>
                  <a:gd name="connsiteX12" fmla="*/ 3521642 w 7286095"/>
                  <a:gd name="connsiteY12" fmla="*/ 1818013 h 5037832"/>
                  <a:gd name="connsiteX13" fmla="*/ 4445567 w 7286095"/>
                  <a:gd name="connsiteY13" fmla="*/ 2251400 h 5037832"/>
                  <a:gd name="connsiteX14" fmla="*/ 4931342 w 7286095"/>
                  <a:gd name="connsiteY14" fmla="*/ 1989463 h 5037832"/>
                  <a:gd name="connsiteX15" fmla="*/ 4931342 w 7286095"/>
                  <a:gd name="connsiteY15" fmla="*/ 1918025 h 5037832"/>
                  <a:gd name="connsiteX16" fmla="*/ 3521642 w 7286095"/>
                  <a:gd name="connsiteY16" fmla="*/ 1748956 h 5037832"/>
                  <a:gd name="connsiteX17" fmla="*/ 1567430 w 7286095"/>
                  <a:gd name="connsiteY17" fmla="*/ 1621163 h 5037832"/>
                  <a:gd name="connsiteX18" fmla="*/ 1567430 w 7286095"/>
                  <a:gd name="connsiteY18" fmla="*/ 1704506 h 5037832"/>
                  <a:gd name="connsiteX19" fmla="*/ 2548505 w 7286095"/>
                  <a:gd name="connsiteY19" fmla="*/ 2147419 h 5037832"/>
                  <a:gd name="connsiteX20" fmla="*/ 3046186 w 7286095"/>
                  <a:gd name="connsiteY20" fmla="*/ 1887863 h 5037832"/>
                  <a:gd name="connsiteX21" fmla="*/ 3046186 w 7286095"/>
                  <a:gd name="connsiteY21" fmla="*/ 1809281 h 5037832"/>
                  <a:gd name="connsiteX22" fmla="*/ 1567430 w 7286095"/>
                  <a:gd name="connsiteY22" fmla="*/ 1621163 h 5037832"/>
                  <a:gd name="connsiteX23" fmla="*/ 6182457 w 7286095"/>
                  <a:gd name="connsiteY23" fmla="*/ 1573175 h 5037832"/>
                  <a:gd name="connsiteX24" fmla="*/ 3587694 w 7286095"/>
                  <a:gd name="connsiteY24" fmla="*/ 2901693 h 5037832"/>
                  <a:gd name="connsiteX25" fmla="*/ 1179754 w 7286095"/>
                  <a:gd name="connsiteY25" fmla="*/ 1713292 h 5037832"/>
                  <a:gd name="connsiteX26" fmla="*/ 1179754 w 7286095"/>
                  <a:gd name="connsiteY26" fmla="*/ 1874168 h 5037832"/>
                  <a:gd name="connsiteX27" fmla="*/ 3598688 w 7286095"/>
                  <a:gd name="connsiteY27" fmla="*/ 3163595 h 5037832"/>
                  <a:gd name="connsiteX28" fmla="*/ 6182457 w 7286095"/>
                  <a:gd name="connsiteY28" fmla="*/ 1687345 h 5037832"/>
                  <a:gd name="connsiteX29" fmla="*/ 6182457 w 7286095"/>
                  <a:gd name="connsiteY29" fmla="*/ 1573175 h 5037832"/>
                  <a:gd name="connsiteX30" fmla="*/ 4326505 w 7286095"/>
                  <a:gd name="connsiteY30" fmla="*/ 1372719 h 5037832"/>
                  <a:gd name="connsiteX31" fmla="*/ 4326505 w 7286095"/>
                  <a:gd name="connsiteY31" fmla="*/ 1432250 h 5037832"/>
                  <a:gd name="connsiteX32" fmla="*/ 5226617 w 7286095"/>
                  <a:gd name="connsiteY32" fmla="*/ 1837063 h 5037832"/>
                  <a:gd name="connsiteX33" fmla="*/ 5712392 w 7286095"/>
                  <a:gd name="connsiteY33" fmla="*/ 1577506 h 5037832"/>
                  <a:gd name="connsiteX34" fmla="*/ 5712392 w 7286095"/>
                  <a:gd name="connsiteY34" fmla="*/ 1520356 h 5037832"/>
                  <a:gd name="connsiteX35" fmla="*/ 4326505 w 7286095"/>
                  <a:gd name="connsiteY35" fmla="*/ 1372719 h 5037832"/>
                  <a:gd name="connsiteX36" fmla="*/ 2442936 w 7286095"/>
                  <a:gd name="connsiteY36" fmla="*/ 1241750 h 5037832"/>
                  <a:gd name="connsiteX37" fmla="*/ 2442936 w 7286095"/>
                  <a:gd name="connsiteY37" fmla="*/ 1306044 h 5037832"/>
                  <a:gd name="connsiteX38" fmla="*/ 3371623 w 7286095"/>
                  <a:gd name="connsiteY38" fmla="*/ 1739431 h 5037832"/>
                  <a:gd name="connsiteX39" fmla="*/ 3847873 w 7286095"/>
                  <a:gd name="connsiteY39" fmla="*/ 1475113 h 5037832"/>
                  <a:gd name="connsiteX40" fmla="*/ 3847873 w 7286095"/>
                  <a:gd name="connsiteY40" fmla="*/ 1410819 h 5037832"/>
                  <a:gd name="connsiteX41" fmla="*/ 2442936 w 7286095"/>
                  <a:gd name="connsiteY41" fmla="*/ 1241750 h 5037832"/>
                  <a:gd name="connsiteX42" fmla="*/ 3259705 w 7286095"/>
                  <a:gd name="connsiteY42" fmla="*/ 875038 h 5037832"/>
                  <a:gd name="connsiteX43" fmla="*/ 3257324 w 7286095"/>
                  <a:gd name="connsiteY43" fmla="*/ 934569 h 5037832"/>
                  <a:gd name="connsiteX44" fmla="*/ 4157436 w 7286095"/>
                  <a:gd name="connsiteY44" fmla="*/ 1348906 h 5037832"/>
                  <a:gd name="connsiteX45" fmla="*/ 4647973 w 7286095"/>
                  <a:gd name="connsiteY45" fmla="*/ 1086969 h 5037832"/>
                  <a:gd name="connsiteX46" fmla="*/ 4647973 w 7286095"/>
                  <a:gd name="connsiteY46" fmla="*/ 1017913 h 5037832"/>
                  <a:gd name="connsiteX47" fmla="*/ 3259705 w 7286095"/>
                  <a:gd name="connsiteY47" fmla="*/ 875038 h 5037832"/>
                  <a:gd name="connsiteX48" fmla="*/ 3826413 w 7286095"/>
                  <a:gd name="connsiteY48" fmla="*/ 369202 h 5037832"/>
                  <a:gd name="connsiteX49" fmla="*/ 1662381 w 7286095"/>
                  <a:gd name="connsiteY49" fmla="*/ 1469382 h 5037832"/>
                  <a:gd name="connsiteX50" fmla="*/ 3821224 w 7286095"/>
                  <a:gd name="connsiteY50" fmla="*/ 426288 h 5037832"/>
                  <a:gd name="connsiteX51" fmla="*/ 5513009 w 7286095"/>
                  <a:gd name="connsiteY51" fmla="*/ 1225474 h 5037832"/>
                  <a:gd name="connsiteX52" fmla="*/ 3826413 w 7286095"/>
                  <a:gd name="connsiteY52" fmla="*/ 369202 h 5037832"/>
                  <a:gd name="connsiteX53" fmla="*/ 3789789 w 7286095"/>
                  <a:gd name="connsiteY53" fmla="*/ 0 h 5037832"/>
                  <a:gd name="connsiteX54" fmla="*/ 7284571 w 7286095"/>
                  <a:gd name="connsiteY54" fmla="*/ 1684220 h 5037832"/>
                  <a:gd name="connsiteX55" fmla="*/ 7286095 w 7286095"/>
                  <a:gd name="connsiteY55" fmla="*/ 2057530 h 5037832"/>
                  <a:gd name="connsiteX56" fmla="*/ 7154815 w 7286095"/>
                  <a:gd name="connsiteY56" fmla="*/ 2137797 h 5037832"/>
                  <a:gd name="connsiteX57" fmla="*/ 7154815 w 7286095"/>
                  <a:gd name="connsiteY57" fmla="*/ 2835810 h 5037832"/>
                  <a:gd name="connsiteX58" fmla="*/ 7013117 w 7286095"/>
                  <a:gd name="connsiteY58" fmla="*/ 2924661 h 5037832"/>
                  <a:gd name="connsiteX59" fmla="*/ 7013117 w 7286095"/>
                  <a:gd name="connsiteY59" fmla="*/ 2224434 h 5037832"/>
                  <a:gd name="connsiteX60" fmla="*/ 6848443 w 7286095"/>
                  <a:gd name="connsiteY60" fmla="*/ 2325119 h 5037832"/>
                  <a:gd name="connsiteX61" fmla="*/ 6848443 w 7286095"/>
                  <a:gd name="connsiteY61" fmla="*/ 3027918 h 5037832"/>
                  <a:gd name="connsiteX62" fmla="*/ 6706745 w 7286095"/>
                  <a:gd name="connsiteY62" fmla="*/ 3116769 h 5037832"/>
                  <a:gd name="connsiteX63" fmla="*/ 6706745 w 7286095"/>
                  <a:gd name="connsiteY63" fmla="*/ 2411756 h 5037832"/>
                  <a:gd name="connsiteX64" fmla="*/ 6542073 w 7286095"/>
                  <a:gd name="connsiteY64" fmla="*/ 2512439 h 5037832"/>
                  <a:gd name="connsiteX65" fmla="*/ 6542073 w 7286095"/>
                  <a:gd name="connsiteY65" fmla="*/ 3220024 h 5037832"/>
                  <a:gd name="connsiteX66" fmla="*/ 6400375 w 7286095"/>
                  <a:gd name="connsiteY66" fmla="*/ 3308875 h 5037832"/>
                  <a:gd name="connsiteX67" fmla="*/ 6400375 w 7286095"/>
                  <a:gd name="connsiteY67" fmla="*/ 2599076 h 5037832"/>
                  <a:gd name="connsiteX68" fmla="*/ 6235703 w 7286095"/>
                  <a:gd name="connsiteY68" fmla="*/ 2699759 h 5037832"/>
                  <a:gd name="connsiteX69" fmla="*/ 6235703 w 7286095"/>
                  <a:gd name="connsiteY69" fmla="*/ 3412131 h 5037832"/>
                  <a:gd name="connsiteX70" fmla="*/ 6094005 w 7286095"/>
                  <a:gd name="connsiteY70" fmla="*/ 3500981 h 5037832"/>
                  <a:gd name="connsiteX71" fmla="*/ 6094005 w 7286095"/>
                  <a:gd name="connsiteY71" fmla="*/ 2786396 h 5037832"/>
                  <a:gd name="connsiteX72" fmla="*/ 5929332 w 7286095"/>
                  <a:gd name="connsiteY72" fmla="*/ 2887081 h 5037832"/>
                  <a:gd name="connsiteX73" fmla="*/ 5929332 w 7286095"/>
                  <a:gd name="connsiteY73" fmla="*/ 3604237 h 5037832"/>
                  <a:gd name="connsiteX74" fmla="*/ 5787635 w 7286095"/>
                  <a:gd name="connsiteY74" fmla="*/ 3693086 h 5037832"/>
                  <a:gd name="connsiteX75" fmla="*/ 5787635 w 7286095"/>
                  <a:gd name="connsiteY75" fmla="*/ 2973716 h 5037832"/>
                  <a:gd name="connsiteX76" fmla="*/ 5622962 w 7286095"/>
                  <a:gd name="connsiteY76" fmla="*/ 3074401 h 5037832"/>
                  <a:gd name="connsiteX77" fmla="*/ 5622962 w 7286095"/>
                  <a:gd name="connsiteY77" fmla="*/ 3796343 h 5037832"/>
                  <a:gd name="connsiteX78" fmla="*/ 5481265 w 7286095"/>
                  <a:gd name="connsiteY78" fmla="*/ 3885194 h 5037832"/>
                  <a:gd name="connsiteX79" fmla="*/ 5481265 w 7286095"/>
                  <a:gd name="connsiteY79" fmla="*/ 3161036 h 5037832"/>
                  <a:gd name="connsiteX80" fmla="*/ 5316592 w 7286095"/>
                  <a:gd name="connsiteY80" fmla="*/ 3261721 h 5037832"/>
                  <a:gd name="connsiteX81" fmla="*/ 5316592 w 7286095"/>
                  <a:gd name="connsiteY81" fmla="*/ 3988448 h 5037832"/>
                  <a:gd name="connsiteX82" fmla="*/ 5174895 w 7286095"/>
                  <a:gd name="connsiteY82" fmla="*/ 4077300 h 5037832"/>
                  <a:gd name="connsiteX83" fmla="*/ 5174895 w 7286095"/>
                  <a:gd name="connsiteY83" fmla="*/ 3348358 h 5037832"/>
                  <a:gd name="connsiteX84" fmla="*/ 5010222 w 7286095"/>
                  <a:gd name="connsiteY84" fmla="*/ 3449041 h 5037832"/>
                  <a:gd name="connsiteX85" fmla="*/ 5010222 w 7286095"/>
                  <a:gd name="connsiteY85" fmla="*/ 4180556 h 5037832"/>
                  <a:gd name="connsiteX86" fmla="*/ 4868525 w 7286095"/>
                  <a:gd name="connsiteY86" fmla="*/ 4269405 h 5037832"/>
                  <a:gd name="connsiteX87" fmla="*/ 4868525 w 7286095"/>
                  <a:gd name="connsiteY87" fmla="*/ 3535678 h 5037832"/>
                  <a:gd name="connsiteX88" fmla="*/ 4703852 w 7286095"/>
                  <a:gd name="connsiteY88" fmla="*/ 3636360 h 5037832"/>
                  <a:gd name="connsiteX89" fmla="*/ 4703852 w 7286095"/>
                  <a:gd name="connsiteY89" fmla="*/ 4372662 h 5037832"/>
                  <a:gd name="connsiteX90" fmla="*/ 4562155 w 7286095"/>
                  <a:gd name="connsiteY90" fmla="*/ 4461513 h 5037832"/>
                  <a:gd name="connsiteX91" fmla="*/ 4562155 w 7286095"/>
                  <a:gd name="connsiteY91" fmla="*/ 3722997 h 5037832"/>
                  <a:gd name="connsiteX92" fmla="*/ 4397482 w 7286095"/>
                  <a:gd name="connsiteY92" fmla="*/ 3823680 h 5037832"/>
                  <a:gd name="connsiteX93" fmla="*/ 4397482 w 7286095"/>
                  <a:gd name="connsiteY93" fmla="*/ 4564768 h 5037832"/>
                  <a:gd name="connsiteX94" fmla="*/ 4255785 w 7286095"/>
                  <a:gd name="connsiteY94" fmla="*/ 4653619 h 5037832"/>
                  <a:gd name="connsiteX95" fmla="*/ 4255785 w 7286095"/>
                  <a:gd name="connsiteY95" fmla="*/ 3910317 h 5037832"/>
                  <a:gd name="connsiteX96" fmla="*/ 4091112 w 7286095"/>
                  <a:gd name="connsiteY96" fmla="*/ 4011000 h 5037832"/>
                  <a:gd name="connsiteX97" fmla="*/ 4091112 w 7286095"/>
                  <a:gd name="connsiteY97" fmla="*/ 4756875 h 5037832"/>
                  <a:gd name="connsiteX98" fmla="*/ 3949414 w 7286095"/>
                  <a:gd name="connsiteY98" fmla="*/ 4845724 h 5037832"/>
                  <a:gd name="connsiteX99" fmla="*/ 3949414 w 7286095"/>
                  <a:gd name="connsiteY99" fmla="*/ 4097637 h 5037832"/>
                  <a:gd name="connsiteX100" fmla="*/ 3784742 w 7286095"/>
                  <a:gd name="connsiteY100" fmla="*/ 4198322 h 5037832"/>
                  <a:gd name="connsiteX101" fmla="*/ 3784742 w 7286095"/>
                  <a:gd name="connsiteY101" fmla="*/ 4948981 h 5037832"/>
                  <a:gd name="connsiteX102" fmla="*/ 3643044 w 7286095"/>
                  <a:gd name="connsiteY102" fmla="*/ 5037832 h 5037832"/>
                  <a:gd name="connsiteX103" fmla="*/ 3643044 w 7286095"/>
                  <a:gd name="connsiteY103" fmla="*/ 4284957 h 5037832"/>
                  <a:gd name="connsiteX104" fmla="*/ 3528878 w 7286095"/>
                  <a:gd name="connsiteY104" fmla="*/ 4354761 h 5037832"/>
                  <a:gd name="connsiteX105" fmla="*/ 3436697 w 7286095"/>
                  <a:gd name="connsiteY105" fmla="*/ 4303067 h 5037832"/>
                  <a:gd name="connsiteX106" fmla="*/ 3436697 w 7286095"/>
                  <a:gd name="connsiteY106" fmla="*/ 5010554 h 5037832"/>
                  <a:gd name="connsiteX107" fmla="*/ 3294999 w 7286095"/>
                  <a:gd name="connsiteY107" fmla="*/ 4927162 h 5037832"/>
                  <a:gd name="connsiteX108" fmla="*/ 3294999 w 7286095"/>
                  <a:gd name="connsiteY108" fmla="*/ 4223605 h 5037832"/>
                  <a:gd name="connsiteX109" fmla="*/ 3147557 w 7286095"/>
                  <a:gd name="connsiteY109" fmla="*/ 4140923 h 5037832"/>
                  <a:gd name="connsiteX110" fmla="*/ 3147557 w 7286095"/>
                  <a:gd name="connsiteY110" fmla="*/ 4840389 h 5037832"/>
                  <a:gd name="connsiteX111" fmla="*/ 3005859 w 7286095"/>
                  <a:gd name="connsiteY111" fmla="*/ 4757000 h 5037832"/>
                  <a:gd name="connsiteX112" fmla="*/ 3005859 w 7286095"/>
                  <a:gd name="connsiteY112" fmla="*/ 4061460 h 5037832"/>
                  <a:gd name="connsiteX113" fmla="*/ 2858425 w 7286095"/>
                  <a:gd name="connsiteY113" fmla="*/ 3978781 h 5037832"/>
                  <a:gd name="connsiteX114" fmla="*/ 2858425 w 7286095"/>
                  <a:gd name="connsiteY114" fmla="*/ 4670232 h 5037832"/>
                  <a:gd name="connsiteX115" fmla="*/ 2716727 w 7286095"/>
                  <a:gd name="connsiteY115" fmla="*/ 4586840 h 5037832"/>
                  <a:gd name="connsiteX116" fmla="*/ 2716727 w 7286095"/>
                  <a:gd name="connsiteY116" fmla="*/ 3899320 h 5037832"/>
                  <a:gd name="connsiteX117" fmla="*/ 2569294 w 7286095"/>
                  <a:gd name="connsiteY117" fmla="*/ 3816641 h 5037832"/>
                  <a:gd name="connsiteX118" fmla="*/ 2569294 w 7286095"/>
                  <a:gd name="connsiteY118" fmla="*/ 4500072 h 5037832"/>
                  <a:gd name="connsiteX119" fmla="*/ 2427596 w 7286095"/>
                  <a:gd name="connsiteY119" fmla="*/ 4416680 h 5037832"/>
                  <a:gd name="connsiteX120" fmla="*/ 2427596 w 7286095"/>
                  <a:gd name="connsiteY120" fmla="*/ 3737178 h 5037832"/>
                  <a:gd name="connsiteX121" fmla="*/ 2280162 w 7286095"/>
                  <a:gd name="connsiteY121" fmla="*/ 3654501 h 5037832"/>
                  <a:gd name="connsiteX122" fmla="*/ 2280162 w 7286095"/>
                  <a:gd name="connsiteY122" fmla="*/ 4329914 h 5037832"/>
                  <a:gd name="connsiteX123" fmla="*/ 2138464 w 7286095"/>
                  <a:gd name="connsiteY123" fmla="*/ 4246522 h 5037832"/>
                  <a:gd name="connsiteX124" fmla="*/ 2138464 w 7286095"/>
                  <a:gd name="connsiteY124" fmla="*/ 3575038 h 5037832"/>
                  <a:gd name="connsiteX125" fmla="*/ 1991031 w 7286095"/>
                  <a:gd name="connsiteY125" fmla="*/ 3492361 h 5037832"/>
                  <a:gd name="connsiteX126" fmla="*/ 1991031 w 7286095"/>
                  <a:gd name="connsiteY126" fmla="*/ 4159755 h 5037832"/>
                  <a:gd name="connsiteX127" fmla="*/ 1849333 w 7286095"/>
                  <a:gd name="connsiteY127" fmla="*/ 4076363 h 5037832"/>
                  <a:gd name="connsiteX128" fmla="*/ 1849333 w 7286095"/>
                  <a:gd name="connsiteY128" fmla="*/ 3412899 h 5037832"/>
                  <a:gd name="connsiteX129" fmla="*/ 1701899 w 7286095"/>
                  <a:gd name="connsiteY129" fmla="*/ 3330219 h 5037832"/>
                  <a:gd name="connsiteX130" fmla="*/ 1701899 w 7286095"/>
                  <a:gd name="connsiteY130" fmla="*/ 3989597 h 5037832"/>
                  <a:gd name="connsiteX131" fmla="*/ 1560201 w 7286095"/>
                  <a:gd name="connsiteY131" fmla="*/ 3906205 h 5037832"/>
                  <a:gd name="connsiteX132" fmla="*/ 1560201 w 7286095"/>
                  <a:gd name="connsiteY132" fmla="*/ 3250759 h 5037832"/>
                  <a:gd name="connsiteX133" fmla="*/ 1412767 w 7286095"/>
                  <a:gd name="connsiteY133" fmla="*/ 3168079 h 5037832"/>
                  <a:gd name="connsiteX134" fmla="*/ 1412767 w 7286095"/>
                  <a:gd name="connsiteY134" fmla="*/ 3819437 h 5037832"/>
                  <a:gd name="connsiteX135" fmla="*/ 1271070 w 7286095"/>
                  <a:gd name="connsiteY135" fmla="*/ 3736045 h 5037832"/>
                  <a:gd name="connsiteX136" fmla="*/ 1271070 w 7286095"/>
                  <a:gd name="connsiteY136" fmla="*/ 3088617 h 5037832"/>
                  <a:gd name="connsiteX137" fmla="*/ 1123636 w 7286095"/>
                  <a:gd name="connsiteY137" fmla="*/ 3005939 h 5037832"/>
                  <a:gd name="connsiteX138" fmla="*/ 1123636 w 7286095"/>
                  <a:gd name="connsiteY138" fmla="*/ 3649279 h 5037832"/>
                  <a:gd name="connsiteX139" fmla="*/ 981938 w 7286095"/>
                  <a:gd name="connsiteY139" fmla="*/ 3565887 h 5037832"/>
                  <a:gd name="connsiteX140" fmla="*/ 981938 w 7286095"/>
                  <a:gd name="connsiteY140" fmla="*/ 2926477 h 5037832"/>
                  <a:gd name="connsiteX141" fmla="*/ 834504 w 7286095"/>
                  <a:gd name="connsiteY141" fmla="*/ 2843800 h 5037832"/>
                  <a:gd name="connsiteX142" fmla="*/ 834504 w 7286095"/>
                  <a:gd name="connsiteY142" fmla="*/ 3479120 h 5037832"/>
                  <a:gd name="connsiteX143" fmla="*/ 692807 w 7286095"/>
                  <a:gd name="connsiteY143" fmla="*/ 3395728 h 5037832"/>
                  <a:gd name="connsiteX144" fmla="*/ 692807 w 7286095"/>
                  <a:gd name="connsiteY144" fmla="*/ 2764337 h 5037832"/>
                  <a:gd name="connsiteX145" fmla="*/ 545373 w 7286095"/>
                  <a:gd name="connsiteY145" fmla="*/ 2681658 h 5037832"/>
                  <a:gd name="connsiteX146" fmla="*/ 545373 w 7286095"/>
                  <a:gd name="connsiteY146" fmla="*/ 3308962 h 5037832"/>
                  <a:gd name="connsiteX147" fmla="*/ 403675 w 7286095"/>
                  <a:gd name="connsiteY147" fmla="*/ 3225570 h 5037832"/>
                  <a:gd name="connsiteX148" fmla="*/ 403675 w 7286095"/>
                  <a:gd name="connsiteY148" fmla="*/ 2602197 h 5037832"/>
                  <a:gd name="connsiteX149" fmla="*/ 256241 w 7286095"/>
                  <a:gd name="connsiteY149" fmla="*/ 2519518 h 5037832"/>
                  <a:gd name="connsiteX150" fmla="*/ 256241 w 7286095"/>
                  <a:gd name="connsiteY150" fmla="*/ 3138802 h 5037832"/>
                  <a:gd name="connsiteX151" fmla="*/ 114543 w 7286095"/>
                  <a:gd name="connsiteY151" fmla="*/ 3055410 h 5037832"/>
                  <a:gd name="connsiteX152" fmla="*/ 114543 w 7286095"/>
                  <a:gd name="connsiteY152" fmla="*/ 2440055 h 5037832"/>
                  <a:gd name="connsiteX153" fmla="*/ 0 w 7286095"/>
                  <a:gd name="connsiteY153" fmla="*/ 2375821 h 5037832"/>
                  <a:gd name="connsiteX154" fmla="*/ 0 w 7286095"/>
                  <a:gd name="connsiteY154" fmla="*/ 1946821 h 5037832"/>
                  <a:gd name="connsiteX155" fmla="*/ 5283 w 7286095"/>
                  <a:gd name="connsiteY155" fmla="*/ 1949813 h 5037832"/>
                  <a:gd name="connsiteX156" fmla="*/ 3789789 w 7286095"/>
                  <a:gd name="connsiteY156" fmla="*/ 0 h 5037832"/>
                  <a:gd name="connsiteX0" fmla="*/ 2681855 w 7286095"/>
                  <a:gd name="connsiteY0" fmla="*/ 2147419 h 5037832"/>
                  <a:gd name="connsiteX1" fmla="*/ 2681855 w 7286095"/>
                  <a:gd name="connsiteY1" fmla="*/ 2235525 h 5037832"/>
                  <a:gd name="connsiteX2" fmla="*/ 3672455 w 7286095"/>
                  <a:gd name="connsiteY2" fmla="*/ 2687963 h 5037832"/>
                  <a:gd name="connsiteX3" fmla="*/ 4160611 w 7286095"/>
                  <a:gd name="connsiteY3" fmla="*/ 2428406 h 5037832"/>
                  <a:gd name="connsiteX4" fmla="*/ 4160611 w 7286095"/>
                  <a:gd name="connsiteY4" fmla="*/ 2337919 h 5037832"/>
                  <a:gd name="connsiteX5" fmla="*/ 2681855 w 7286095"/>
                  <a:gd name="connsiteY5" fmla="*/ 2147419 h 5037832"/>
                  <a:gd name="connsiteX6" fmla="*/ 6858354 w 7286095"/>
                  <a:gd name="connsiteY6" fmla="*/ 1929286 h 5037832"/>
                  <a:gd name="connsiteX7" fmla="*/ 3541261 w 7286095"/>
                  <a:gd name="connsiteY7" fmla="*/ 3836527 h 5037832"/>
                  <a:gd name="connsiteX8" fmla="*/ 43626 w 7286095"/>
                  <a:gd name="connsiteY8" fmla="*/ 1971532 h 5037832"/>
                  <a:gd name="connsiteX9" fmla="*/ 3542717 w 7286095"/>
                  <a:gd name="connsiteY9" fmla="*/ 3953437 h 5037832"/>
                  <a:gd name="connsiteX10" fmla="*/ 6858354 w 7286095"/>
                  <a:gd name="connsiteY10" fmla="*/ 1929286 h 5037832"/>
                  <a:gd name="connsiteX11" fmla="*/ 3521642 w 7286095"/>
                  <a:gd name="connsiteY11" fmla="*/ 1748956 h 5037832"/>
                  <a:gd name="connsiteX12" fmla="*/ 3521642 w 7286095"/>
                  <a:gd name="connsiteY12" fmla="*/ 1818013 h 5037832"/>
                  <a:gd name="connsiteX13" fmla="*/ 4445567 w 7286095"/>
                  <a:gd name="connsiteY13" fmla="*/ 2251400 h 5037832"/>
                  <a:gd name="connsiteX14" fmla="*/ 4931342 w 7286095"/>
                  <a:gd name="connsiteY14" fmla="*/ 1989463 h 5037832"/>
                  <a:gd name="connsiteX15" fmla="*/ 4931342 w 7286095"/>
                  <a:gd name="connsiteY15" fmla="*/ 1918025 h 5037832"/>
                  <a:gd name="connsiteX16" fmla="*/ 3521642 w 7286095"/>
                  <a:gd name="connsiteY16" fmla="*/ 1748956 h 5037832"/>
                  <a:gd name="connsiteX17" fmla="*/ 1567430 w 7286095"/>
                  <a:gd name="connsiteY17" fmla="*/ 1621163 h 5037832"/>
                  <a:gd name="connsiteX18" fmla="*/ 1567430 w 7286095"/>
                  <a:gd name="connsiteY18" fmla="*/ 1704506 h 5037832"/>
                  <a:gd name="connsiteX19" fmla="*/ 2548505 w 7286095"/>
                  <a:gd name="connsiteY19" fmla="*/ 2147419 h 5037832"/>
                  <a:gd name="connsiteX20" fmla="*/ 3046186 w 7286095"/>
                  <a:gd name="connsiteY20" fmla="*/ 1887863 h 5037832"/>
                  <a:gd name="connsiteX21" fmla="*/ 3046186 w 7286095"/>
                  <a:gd name="connsiteY21" fmla="*/ 1809281 h 5037832"/>
                  <a:gd name="connsiteX22" fmla="*/ 1567430 w 7286095"/>
                  <a:gd name="connsiteY22" fmla="*/ 1621163 h 5037832"/>
                  <a:gd name="connsiteX23" fmla="*/ 6182457 w 7286095"/>
                  <a:gd name="connsiteY23" fmla="*/ 1573175 h 5037832"/>
                  <a:gd name="connsiteX24" fmla="*/ 3609060 w 7286095"/>
                  <a:gd name="connsiteY24" fmla="*/ 2987154 h 5037832"/>
                  <a:gd name="connsiteX25" fmla="*/ 1179754 w 7286095"/>
                  <a:gd name="connsiteY25" fmla="*/ 1713292 h 5037832"/>
                  <a:gd name="connsiteX26" fmla="*/ 1179754 w 7286095"/>
                  <a:gd name="connsiteY26" fmla="*/ 1874168 h 5037832"/>
                  <a:gd name="connsiteX27" fmla="*/ 3598688 w 7286095"/>
                  <a:gd name="connsiteY27" fmla="*/ 3163595 h 5037832"/>
                  <a:gd name="connsiteX28" fmla="*/ 6182457 w 7286095"/>
                  <a:gd name="connsiteY28" fmla="*/ 1687345 h 5037832"/>
                  <a:gd name="connsiteX29" fmla="*/ 6182457 w 7286095"/>
                  <a:gd name="connsiteY29" fmla="*/ 1573175 h 5037832"/>
                  <a:gd name="connsiteX30" fmla="*/ 4326505 w 7286095"/>
                  <a:gd name="connsiteY30" fmla="*/ 1372719 h 5037832"/>
                  <a:gd name="connsiteX31" fmla="*/ 4326505 w 7286095"/>
                  <a:gd name="connsiteY31" fmla="*/ 1432250 h 5037832"/>
                  <a:gd name="connsiteX32" fmla="*/ 5226617 w 7286095"/>
                  <a:gd name="connsiteY32" fmla="*/ 1837063 h 5037832"/>
                  <a:gd name="connsiteX33" fmla="*/ 5712392 w 7286095"/>
                  <a:gd name="connsiteY33" fmla="*/ 1577506 h 5037832"/>
                  <a:gd name="connsiteX34" fmla="*/ 5712392 w 7286095"/>
                  <a:gd name="connsiteY34" fmla="*/ 1520356 h 5037832"/>
                  <a:gd name="connsiteX35" fmla="*/ 4326505 w 7286095"/>
                  <a:gd name="connsiteY35" fmla="*/ 1372719 h 5037832"/>
                  <a:gd name="connsiteX36" fmla="*/ 2442936 w 7286095"/>
                  <a:gd name="connsiteY36" fmla="*/ 1241750 h 5037832"/>
                  <a:gd name="connsiteX37" fmla="*/ 2442936 w 7286095"/>
                  <a:gd name="connsiteY37" fmla="*/ 1306044 h 5037832"/>
                  <a:gd name="connsiteX38" fmla="*/ 3371623 w 7286095"/>
                  <a:gd name="connsiteY38" fmla="*/ 1739431 h 5037832"/>
                  <a:gd name="connsiteX39" fmla="*/ 3847873 w 7286095"/>
                  <a:gd name="connsiteY39" fmla="*/ 1475113 h 5037832"/>
                  <a:gd name="connsiteX40" fmla="*/ 3847873 w 7286095"/>
                  <a:gd name="connsiteY40" fmla="*/ 1410819 h 5037832"/>
                  <a:gd name="connsiteX41" fmla="*/ 2442936 w 7286095"/>
                  <a:gd name="connsiteY41" fmla="*/ 1241750 h 5037832"/>
                  <a:gd name="connsiteX42" fmla="*/ 3259705 w 7286095"/>
                  <a:gd name="connsiteY42" fmla="*/ 875038 h 5037832"/>
                  <a:gd name="connsiteX43" fmla="*/ 3257324 w 7286095"/>
                  <a:gd name="connsiteY43" fmla="*/ 934569 h 5037832"/>
                  <a:gd name="connsiteX44" fmla="*/ 4157436 w 7286095"/>
                  <a:gd name="connsiteY44" fmla="*/ 1348906 h 5037832"/>
                  <a:gd name="connsiteX45" fmla="*/ 4647973 w 7286095"/>
                  <a:gd name="connsiteY45" fmla="*/ 1086969 h 5037832"/>
                  <a:gd name="connsiteX46" fmla="*/ 4647973 w 7286095"/>
                  <a:gd name="connsiteY46" fmla="*/ 1017913 h 5037832"/>
                  <a:gd name="connsiteX47" fmla="*/ 3259705 w 7286095"/>
                  <a:gd name="connsiteY47" fmla="*/ 875038 h 5037832"/>
                  <a:gd name="connsiteX48" fmla="*/ 3826413 w 7286095"/>
                  <a:gd name="connsiteY48" fmla="*/ 369202 h 5037832"/>
                  <a:gd name="connsiteX49" fmla="*/ 1662381 w 7286095"/>
                  <a:gd name="connsiteY49" fmla="*/ 1469382 h 5037832"/>
                  <a:gd name="connsiteX50" fmla="*/ 3821224 w 7286095"/>
                  <a:gd name="connsiteY50" fmla="*/ 426288 h 5037832"/>
                  <a:gd name="connsiteX51" fmla="*/ 5513009 w 7286095"/>
                  <a:gd name="connsiteY51" fmla="*/ 1225474 h 5037832"/>
                  <a:gd name="connsiteX52" fmla="*/ 3826413 w 7286095"/>
                  <a:gd name="connsiteY52" fmla="*/ 369202 h 5037832"/>
                  <a:gd name="connsiteX53" fmla="*/ 3789789 w 7286095"/>
                  <a:gd name="connsiteY53" fmla="*/ 0 h 5037832"/>
                  <a:gd name="connsiteX54" fmla="*/ 7284571 w 7286095"/>
                  <a:gd name="connsiteY54" fmla="*/ 1684220 h 5037832"/>
                  <a:gd name="connsiteX55" fmla="*/ 7286095 w 7286095"/>
                  <a:gd name="connsiteY55" fmla="*/ 2057530 h 5037832"/>
                  <a:gd name="connsiteX56" fmla="*/ 7154815 w 7286095"/>
                  <a:gd name="connsiteY56" fmla="*/ 2137797 h 5037832"/>
                  <a:gd name="connsiteX57" fmla="*/ 7154815 w 7286095"/>
                  <a:gd name="connsiteY57" fmla="*/ 2835810 h 5037832"/>
                  <a:gd name="connsiteX58" fmla="*/ 7013117 w 7286095"/>
                  <a:gd name="connsiteY58" fmla="*/ 2924661 h 5037832"/>
                  <a:gd name="connsiteX59" fmla="*/ 7013117 w 7286095"/>
                  <a:gd name="connsiteY59" fmla="*/ 2224434 h 5037832"/>
                  <a:gd name="connsiteX60" fmla="*/ 6848443 w 7286095"/>
                  <a:gd name="connsiteY60" fmla="*/ 2325119 h 5037832"/>
                  <a:gd name="connsiteX61" fmla="*/ 6848443 w 7286095"/>
                  <a:gd name="connsiteY61" fmla="*/ 3027918 h 5037832"/>
                  <a:gd name="connsiteX62" fmla="*/ 6706745 w 7286095"/>
                  <a:gd name="connsiteY62" fmla="*/ 3116769 h 5037832"/>
                  <a:gd name="connsiteX63" fmla="*/ 6706745 w 7286095"/>
                  <a:gd name="connsiteY63" fmla="*/ 2411756 h 5037832"/>
                  <a:gd name="connsiteX64" fmla="*/ 6542073 w 7286095"/>
                  <a:gd name="connsiteY64" fmla="*/ 2512439 h 5037832"/>
                  <a:gd name="connsiteX65" fmla="*/ 6542073 w 7286095"/>
                  <a:gd name="connsiteY65" fmla="*/ 3220024 h 5037832"/>
                  <a:gd name="connsiteX66" fmla="*/ 6400375 w 7286095"/>
                  <a:gd name="connsiteY66" fmla="*/ 3308875 h 5037832"/>
                  <a:gd name="connsiteX67" fmla="*/ 6400375 w 7286095"/>
                  <a:gd name="connsiteY67" fmla="*/ 2599076 h 5037832"/>
                  <a:gd name="connsiteX68" fmla="*/ 6235703 w 7286095"/>
                  <a:gd name="connsiteY68" fmla="*/ 2699759 h 5037832"/>
                  <a:gd name="connsiteX69" fmla="*/ 6235703 w 7286095"/>
                  <a:gd name="connsiteY69" fmla="*/ 3412131 h 5037832"/>
                  <a:gd name="connsiteX70" fmla="*/ 6094005 w 7286095"/>
                  <a:gd name="connsiteY70" fmla="*/ 3500981 h 5037832"/>
                  <a:gd name="connsiteX71" fmla="*/ 6094005 w 7286095"/>
                  <a:gd name="connsiteY71" fmla="*/ 2786396 h 5037832"/>
                  <a:gd name="connsiteX72" fmla="*/ 5929332 w 7286095"/>
                  <a:gd name="connsiteY72" fmla="*/ 2887081 h 5037832"/>
                  <a:gd name="connsiteX73" fmla="*/ 5929332 w 7286095"/>
                  <a:gd name="connsiteY73" fmla="*/ 3604237 h 5037832"/>
                  <a:gd name="connsiteX74" fmla="*/ 5787635 w 7286095"/>
                  <a:gd name="connsiteY74" fmla="*/ 3693086 h 5037832"/>
                  <a:gd name="connsiteX75" fmla="*/ 5787635 w 7286095"/>
                  <a:gd name="connsiteY75" fmla="*/ 2973716 h 5037832"/>
                  <a:gd name="connsiteX76" fmla="*/ 5622962 w 7286095"/>
                  <a:gd name="connsiteY76" fmla="*/ 3074401 h 5037832"/>
                  <a:gd name="connsiteX77" fmla="*/ 5622962 w 7286095"/>
                  <a:gd name="connsiteY77" fmla="*/ 3796343 h 5037832"/>
                  <a:gd name="connsiteX78" fmla="*/ 5481265 w 7286095"/>
                  <a:gd name="connsiteY78" fmla="*/ 3885194 h 5037832"/>
                  <a:gd name="connsiteX79" fmla="*/ 5481265 w 7286095"/>
                  <a:gd name="connsiteY79" fmla="*/ 3161036 h 5037832"/>
                  <a:gd name="connsiteX80" fmla="*/ 5316592 w 7286095"/>
                  <a:gd name="connsiteY80" fmla="*/ 3261721 h 5037832"/>
                  <a:gd name="connsiteX81" fmla="*/ 5316592 w 7286095"/>
                  <a:gd name="connsiteY81" fmla="*/ 3988448 h 5037832"/>
                  <a:gd name="connsiteX82" fmla="*/ 5174895 w 7286095"/>
                  <a:gd name="connsiteY82" fmla="*/ 4077300 h 5037832"/>
                  <a:gd name="connsiteX83" fmla="*/ 5174895 w 7286095"/>
                  <a:gd name="connsiteY83" fmla="*/ 3348358 h 5037832"/>
                  <a:gd name="connsiteX84" fmla="*/ 5010222 w 7286095"/>
                  <a:gd name="connsiteY84" fmla="*/ 3449041 h 5037832"/>
                  <a:gd name="connsiteX85" fmla="*/ 5010222 w 7286095"/>
                  <a:gd name="connsiteY85" fmla="*/ 4180556 h 5037832"/>
                  <a:gd name="connsiteX86" fmla="*/ 4868525 w 7286095"/>
                  <a:gd name="connsiteY86" fmla="*/ 4269405 h 5037832"/>
                  <a:gd name="connsiteX87" fmla="*/ 4868525 w 7286095"/>
                  <a:gd name="connsiteY87" fmla="*/ 3535678 h 5037832"/>
                  <a:gd name="connsiteX88" fmla="*/ 4703852 w 7286095"/>
                  <a:gd name="connsiteY88" fmla="*/ 3636360 h 5037832"/>
                  <a:gd name="connsiteX89" fmla="*/ 4703852 w 7286095"/>
                  <a:gd name="connsiteY89" fmla="*/ 4372662 h 5037832"/>
                  <a:gd name="connsiteX90" fmla="*/ 4562155 w 7286095"/>
                  <a:gd name="connsiteY90" fmla="*/ 4461513 h 5037832"/>
                  <a:gd name="connsiteX91" fmla="*/ 4562155 w 7286095"/>
                  <a:gd name="connsiteY91" fmla="*/ 3722997 h 5037832"/>
                  <a:gd name="connsiteX92" fmla="*/ 4397482 w 7286095"/>
                  <a:gd name="connsiteY92" fmla="*/ 3823680 h 5037832"/>
                  <a:gd name="connsiteX93" fmla="*/ 4397482 w 7286095"/>
                  <a:gd name="connsiteY93" fmla="*/ 4564768 h 5037832"/>
                  <a:gd name="connsiteX94" fmla="*/ 4255785 w 7286095"/>
                  <a:gd name="connsiteY94" fmla="*/ 4653619 h 5037832"/>
                  <a:gd name="connsiteX95" fmla="*/ 4255785 w 7286095"/>
                  <a:gd name="connsiteY95" fmla="*/ 3910317 h 5037832"/>
                  <a:gd name="connsiteX96" fmla="*/ 4091112 w 7286095"/>
                  <a:gd name="connsiteY96" fmla="*/ 4011000 h 5037832"/>
                  <a:gd name="connsiteX97" fmla="*/ 4091112 w 7286095"/>
                  <a:gd name="connsiteY97" fmla="*/ 4756875 h 5037832"/>
                  <a:gd name="connsiteX98" fmla="*/ 3949414 w 7286095"/>
                  <a:gd name="connsiteY98" fmla="*/ 4845724 h 5037832"/>
                  <a:gd name="connsiteX99" fmla="*/ 3949414 w 7286095"/>
                  <a:gd name="connsiteY99" fmla="*/ 4097637 h 5037832"/>
                  <a:gd name="connsiteX100" fmla="*/ 3784742 w 7286095"/>
                  <a:gd name="connsiteY100" fmla="*/ 4198322 h 5037832"/>
                  <a:gd name="connsiteX101" fmla="*/ 3784742 w 7286095"/>
                  <a:gd name="connsiteY101" fmla="*/ 4948981 h 5037832"/>
                  <a:gd name="connsiteX102" fmla="*/ 3643044 w 7286095"/>
                  <a:gd name="connsiteY102" fmla="*/ 5037832 h 5037832"/>
                  <a:gd name="connsiteX103" fmla="*/ 3643044 w 7286095"/>
                  <a:gd name="connsiteY103" fmla="*/ 4284957 h 5037832"/>
                  <a:gd name="connsiteX104" fmla="*/ 3528878 w 7286095"/>
                  <a:gd name="connsiteY104" fmla="*/ 4354761 h 5037832"/>
                  <a:gd name="connsiteX105" fmla="*/ 3436697 w 7286095"/>
                  <a:gd name="connsiteY105" fmla="*/ 4303067 h 5037832"/>
                  <a:gd name="connsiteX106" fmla="*/ 3436697 w 7286095"/>
                  <a:gd name="connsiteY106" fmla="*/ 5010554 h 5037832"/>
                  <a:gd name="connsiteX107" fmla="*/ 3294999 w 7286095"/>
                  <a:gd name="connsiteY107" fmla="*/ 4927162 h 5037832"/>
                  <a:gd name="connsiteX108" fmla="*/ 3294999 w 7286095"/>
                  <a:gd name="connsiteY108" fmla="*/ 4223605 h 5037832"/>
                  <a:gd name="connsiteX109" fmla="*/ 3147557 w 7286095"/>
                  <a:gd name="connsiteY109" fmla="*/ 4140923 h 5037832"/>
                  <a:gd name="connsiteX110" fmla="*/ 3147557 w 7286095"/>
                  <a:gd name="connsiteY110" fmla="*/ 4840389 h 5037832"/>
                  <a:gd name="connsiteX111" fmla="*/ 3005859 w 7286095"/>
                  <a:gd name="connsiteY111" fmla="*/ 4757000 h 5037832"/>
                  <a:gd name="connsiteX112" fmla="*/ 3005859 w 7286095"/>
                  <a:gd name="connsiteY112" fmla="*/ 4061460 h 5037832"/>
                  <a:gd name="connsiteX113" fmla="*/ 2858425 w 7286095"/>
                  <a:gd name="connsiteY113" fmla="*/ 3978781 h 5037832"/>
                  <a:gd name="connsiteX114" fmla="*/ 2858425 w 7286095"/>
                  <a:gd name="connsiteY114" fmla="*/ 4670232 h 5037832"/>
                  <a:gd name="connsiteX115" fmla="*/ 2716727 w 7286095"/>
                  <a:gd name="connsiteY115" fmla="*/ 4586840 h 5037832"/>
                  <a:gd name="connsiteX116" fmla="*/ 2716727 w 7286095"/>
                  <a:gd name="connsiteY116" fmla="*/ 3899320 h 5037832"/>
                  <a:gd name="connsiteX117" fmla="*/ 2569294 w 7286095"/>
                  <a:gd name="connsiteY117" fmla="*/ 3816641 h 5037832"/>
                  <a:gd name="connsiteX118" fmla="*/ 2569294 w 7286095"/>
                  <a:gd name="connsiteY118" fmla="*/ 4500072 h 5037832"/>
                  <a:gd name="connsiteX119" fmla="*/ 2427596 w 7286095"/>
                  <a:gd name="connsiteY119" fmla="*/ 4416680 h 5037832"/>
                  <a:gd name="connsiteX120" fmla="*/ 2427596 w 7286095"/>
                  <a:gd name="connsiteY120" fmla="*/ 3737178 h 5037832"/>
                  <a:gd name="connsiteX121" fmla="*/ 2280162 w 7286095"/>
                  <a:gd name="connsiteY121" fmla="*/ 3654501 h 5037832"/>
                  <a:gd name="connsiteX122" fmla="*/ 2280162 w 7286095"/>
                  <a:gd name="connsiteY122" fmla="*/ 4329914 h 5037832"/>
                  <a:gd name="connsiteX123" fmla="*/ 2138464 w 7286095"/>
                  <a:gd name="connsiteY123" fmla="*/ 4246522 h 5037832"/>
                  <a:gd name="connsiteX124" fmla="*/ 2138464 w 7286095"/>
                  <a:gd name="connsiteY124" fmla="*/ 3575038 h 5037832"/>
                  <a:gd name="connsiteX125" fmla="*/ 1991031 w 7286095"/>
                  <a:gd name="connsiteY125" fmla="*/ 3492361 h 5037832"/>
                  <a:gd name="connsiteX126" fmla="*/ 1991031 w 7286095"/>
                  <a:gd name="connsiteY126" fmla="*/ 4159755 h 5037832"/>
                  <a:gd name="connsiteX127" fmla="*/ 1849333 w 7286095"/>
                  <a:gd name="connsiteY127" fmla="*/ 4076363 h 5037832"/>
                  <a:gd name="connsiteX128" fmla="*/ 1849333 w 7286095"/>
                  <a:gd name="connsiteY128" fmla="*/ 3412899 h 5037832"/>
                  <a:gd name="connsiteX129" fmla="*/ 1701899 w 7286095"/>
                  <a:gd name="connsiteY129" fmla="*/ 3330219 h 5037832"/>
                  <a:gd name="connsiteX130" fmla="*/ 1701899 w 7286095"/>
                  <a:gd name="connsiteY130" fmla="*/ 3989597 h 5037832"/>
                  <a:gd name="connsiteX131" fmla="*/ 1560201 w 7286095"/>
                  <a:gd name="connsiteY131" fmla="*/ 3906205 h 5037832"/>
                  <a:gd name="connsiteX132" fmla="*/ 1560201 w 7286095"/>
                  <a:gd name="connsiteY132" fmla="*/ 3250759 h 5037832"/>
                  <a:gd name="connsiteX133" fmla="*/ 1412767 w 7286095"/>
                  <a:gd name="connsiteY133" fmla="*/ 3168079 h 5037832"/>
                  <a:gd name="connsiteX134" fmla="*/ 1412767 w 7286095"/>
                  <a:gd name="connsiteY134" fmla="*/ 3819437 h 5037832"/>
                  <a:gd name="connsiteX135" fmla="*/ 1271070 w 7286095"/>
                  <a:gd name="connsiteY135" fmla="*/ 3736045 h 5037832"/>
                  <a:gd name="connsiteX136" fmla="*/ 1271070 w 7286095"/>
                  <a:gd name="connsiteY136" fmla="*/ 3088617 h 5037832"/>
                  <a:gd name="connsiteX137" fmla="*/ 1123636 w 7286095"/>
                  <a:gd name="connsiteY137" fmla="*/ 3005939 h 5037832"/>
                  <a:gd name="connsiteX138" fmla="*/ 1123636 w 7286095"/>
                  <a:gd name="connsiteY138" fmla="*/ 3649279 h 5037832"/>
                  <a:gd name="connsiteX139" fmla="*/ 981938 w 7286095"/>
                  <a:gd name="connsiteY139" fmla="*/ 3565887 h 5037832"/>
                  <a:gd name="connsiteX140" fmla="*/ 981938 w 7286095"/>
                  <a:gd name="connsiteY140" fmla="*/ 2926477 h 5037832"/>
                  <a:gd name="connsiteX141" fmla="*/ 834504 w 7286095"/>
                  <a:gd name="connsiteY141" fmla="*/ 2843800 h 5037832"/>
                  <a:gd name="connsiteX142" fmla="*/ 834504 w 7286095"/>
                  <a:gd name="connsiteY142" fmla="*/ 3479120 h 5037832"/>
                  <a:gd name="connsiteX143" fmla="*/ 692807 w 7286095"/>
                  <a:gd name="connsiteY143" fmla="*/ 3395728 h 5037832"/>
                  <a:gd name="connsiteX144" fmla="*/ 692807 w 7286095"/>
                  <a:gd name="connsiteY144" fmla="*/ 2764337 h 5037832"/>
                  <a:gd name="connsiteX145" fmla="*/ 545373 w 7286095"/>
                  <a:gd name="connsiteY145" fmla="*/ 2681658 h 5037832"/>
                  <a:gd name="connsiteX146" fmla="*/ 545373 w 7286095"/>
                  <a:gd name="connsiteY146" fmla="*/ 3308962 h 5037832"/>
                  <a:gd name="connsiteX147" fmla="*/ 403675 w 7286095"/>
                  <a:gd name="connsiteY147" fmla="*/ 3225570 h 5037832"/>
                  <a:gd name="connsiteX148" fmla="*/ 403675 w 7286095"/>
                  <a:gd name="connsiteY148" fmla="*/ 2602197 h 5037832"/>
                  <a:gd name="connsiteX149" fmla="*/ 256241 w 7286095"/>
                  <a:gd name="connsiteY149" fmla="*/ 2519518 h 5037832"/>
                  <a:gd name="connsiteX150" fmla="*/ 256241 w 7286095"/>
                  <a:gd name="connsiteY150" fmla="*/ 3138802 h 5037832"/>
                  <a:gd name="connsiteX151" fmla="*/ 114543 w 7286095"/>
                  <a:gd name="connsiteY151" fmla="*/ 3055410 h 5037832"/>
                  <a:gd name="connsiteX152" fmla="*/ 114543 w 7286095"/>
                  <a:gd name="connsiteY152" fmla="*/ 2440055 h 5037832"/>
                  <a:gd name="connsiteX153" fmla="*/ 0 w 7286095"/>
                  <a:gd name="connsiteY153" fmla="*/ 2375821 h 5037832"/>
                  <a:gd name="connsiteX154" fmla="*/ 0 w 7286095"/>
                  <a:gd name="connsiteY154" fmla="*/ 1946821 h 5037832"/>
                  <a:gd name="connsiteX155" fmla="*/ 5283 w 7286095"/>
                  <a:gd name="connsiteY155" fmla="*/ 1949813 h 5037832"/>
                  <a:gd name="connsiteX156" fmla="*/ 3789789 w 7286095"/>
                  <a:gd name="connsiteY156" fmla="*/ 0 h 5037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Lst>
                <a:rect l="l" t="t" r="r" b="b"/>
                <a:pathLst>
                  <a:path w="7286095" h="5037832">
                    <a:moveTo>
                      <a:pt x="2681855" y="2147419"/>
                    </a:moveTo>
                    <a:lnTo>
                      <a:pt x="2681855" y="2235525"/>
                    </a:lnTo>
                    <a:lnTo>
                      <a:pt x="3672455" y="2687963"/>
                    </a:lnTo>
                    <a:lnTo>
                      <a:pt x="4160611" y="2428406"/>
                    </a:lnTo>
                    <a:lnTo>
                      <a:pt x="4160611" y="2337919"/>
                    </a:lnTo>
                    <a:lnTo>
                      <a:pt x="2681855" y="2147419"/>
                    </a:lnTo>
                    <a:close/>
                    <a:moveTo>
                      <a:pt x="6858354" y="1929286"/>
                    </a:moveTo>
                    <a:lnTo>
                      <a:pt x="3541261" y="3836527"/>
                    </a:lnTo>
                    <a:lnTo>
                      <a:pt x="43626" y="1971532"/>
                    </a:lnTo>
                    <a:lnTo>
                      <a:pt x="3542717" y="3953437"/>
                    </a:lnTo>
                    <a:lnTo>
                      <a:pt x="6858354" y="1929286"/>
                    </a:lnTo>
                    <a:close/>
                    <a:moveTo>
                      <a:pt x="3521642" y="1748956"/>
                    </a:moveTo>
                    <a:lnTo>
                      <a:pt x="3521642" y="1818013"/>
                    </a:lnTo>
                    <a:lnTo>
                      <a:pt x="4445567" y="2251400"/>
                    </a:lnTo>
                    <a:lnTo>
                      <a:pt x="4931342" y="1989463"/>
                    </a:lnTo>
                    <a:lnTo>
                      <a:pt x="4931342" y="1918025"/>
                    </a:lnTo>
                    <a:lnTo>
                      <a:pt x="3521642" y="1748956"/>
                    </a:lnTo>
                    <a:close/>
                    <a:moveTo>
                      <a:pt x="1567430" y="1621163"/>
                    </a:moveTo>
                    <a:lnTo>
                      <a:pt x="1567430" y="1704506"/>
                    </a:lnTo>
                    <a:lnTo>
                      <a:pt x="2548505" y="2147419"/>
                    </a:lnTo>
                    <a:lnTo>
                      <a:pt x="3046186" y="1887863"/>
                    </a:lnTo>
                    <a:lnTo>
                      <a:pt x="3046186" y="1809281"/>
                    </a:lnTo>
                    <a:lnTo>
                      <a:pt x="1567430" y="1621163"/>
                    </a:lnTo>
                    <a:close/>
                    <a:moveTo>
                      <a:pt x="6182457" y="1573175"/>
                    </a:moveTo>
                    <a:lnTo>
                      <a:pt x="3609060" y="2987154"/>
                    </a:lnTo>
                    <a:lnTo>
                      <a:pt x="1179754" y="1713292"/>
                    </a:lnTo>
                    <a:lnTo>
                      <a:pt x="1179754" y="1874168"/>
                    </a:lnTo>
                    <a:lnTo>
                      <a:pt x="3598688" y="3163595"/>
                    </a:lnTo>
                    <a:cubicBezTo>
                      <a:pt x="4467069" y="2699997"/>
                      <a:pt x="5314076" y="2150943"/>
                      <a:pt x="6182457" y="1687345"/>
                    </a:cubicBezTo>
                    <a:lnTo>
                      <a:pt x="6182457" y="1573175"/>
                    </a:lnTo>
                    <a:close/>
                    <a:moveTo>
                      <a:pt x="4326505" y="1372719"/>
                    </a:moveTo>
                    <a:lnTo>
                      <a:pt x="4326505" y="1432250"/>
                    </a:lnTo>
                    <a:lnTo>
                      <a:pt x="5226617" y="1837063"/>
                    </a:lnTo>
                    <a:lnTo>
                      <a:pt x="5712392" y="1577506"/>
                    </a:lnTo>
                    <a:lnTo>
                      <a:pt x="5712392" y="1520356"/>
                    </a:lnTo>
                    <a:lnTo>
                      <a:pt x="4326505" y="1372719"/>
                    </a:lnTo>
                    <a:close/>
                    <a:moveTo>
                      <a:pt x="2442936" y="1241750"/>
                    </a:moveTo>
                    <a:lnTo>
                      <a:pt x="2442936" y="1306044"/>
                    </a:lnTo>
                    <a:lnTo>
                      <a:pt x="3371623" y="1739431"/>
                    </a:lnTo>
                    <a:lnTo>
                      <a:pt x="3847873" y="1475113"/>
                    </a:lnTo>
                    <a:lnTo>
                      <a:pt x="3847873" y="1410819"/>
                    </a:lnTo>
                    <a:lnTo>
                      <a:pt x="2442936" y="1241750"/>
                    </a:lnTo>
                    <a:close/>
                    <a:moveTo>
                      <a:pt x="3259705" y="875038"/>
                    </a:moveTo>
                    <a:cubicBezTo>
                      <a:pt x="3258911" y="894882"/>
                      <a:pt x="3258118" y="914725"/>
                      <a:pt x="3257324" y="934569"/>
                    </a:cubicBezTo>
                    <a:lnTo>
                      <a:pt x="4157436" y="1348906"/>
                    </a:lnTo>
                    <a:lnTo>
                      <a:pt x="4647973" y="1086969"/>
                    </a:lnTo>
                    <a:lnTo>
                      <a:pt x="4647973" y="1017913"/>
                    </a:lnTo>
                    <a:lnTo>
                      <a:pt x="3259705" y="875038"/>
                    </a:lnTo>
                    <a:close/>
                    <a:moveTo>
                      <a:pt x="3826413" y="369202"/>
                    </a:moveTo>
                    <a:lnTo>
                      <a:pt x="1662381" y="1469382"/>
                    </a:lnTo>
                    <a:lnTo>
                      <a:pt x="3821224" y="426288"/>
                    </a:lnTo>
                    <a:lnTo>
                      <a:pt x="5513009" y="1225474"/>
                    </a:lnTo>
                    <a:lnTo>
                      <a:pt x="3826413" y="369202"/>
                    </a:lnTo>
                    <a:close/>
                    <a:moveTo>
                      <a:pt x="3789789" y="0"/>
                    </a:moveTo>
                    <a:lnTo>
                      <a:pt x="7284571" y="1684220"/>
                    </a:lnTo>
                    <a:cubicBezTo>
                      <a:pt x="7287385" y="1808658"/>
                      <a:pt x="7283281" y="1933093"/>
                      <a:pt x="7286095" y="2057530"/>
                    </a:cubicBezTo>
                    <a:lnTo>
                      <a:pt x="7154815" y="2137797"/>
                    </a:lnTo>
                    <a:lnTo>
                      <a:pt x="7154815" y="2835810"/>
                    </a:lnTo>
                    <a:lnTo>
                      <a:pt x="7013117" y="2924661"/>
                    </a:lnTo>
                    <a:lnTo>
                      <a:pt x="7013117" y="2224434"/>
                    </a:lnTo>
                    <a:lnTo>
                      <a:pt x="6848443" y="2325119"/>
                    </a:lnTo>
                    <a:lnTo>
                      <a:pt x="6848443" y="3027918"/>
                    </a:lnTo>
                    <a:lnTo>
                      <a:pt x="6706745" y="3116769"/>
                    </a:lnTo>
                    <a:lnTo>
                      <a:pt x="6706745" y="2411756"/>
                    </a:lnTo>
                    <a:lnTo>
                      <a:pt x="6542073" y="2512439"/>
                    </a:lnTo>
                    <a:lnTo>
                      <a:pt x="6542073" y="3220024"/>
                    </a:lnTo>
                    <a:lnTo>
                      <a:pt x="6400375" y="3308875"/>
                    </a:lnTo>
                    <a:lnTo>
                      <a:pt x="6400375" y="2599076"/>
                    </a:lnTo>
                    <a:lnTo>
                      <a:pt x="6235703" y="2699759"/>
                    </a:lnTo>
                    <a:lnTo>
                      <a:pt x="6235703" y="3412131"/>
                    </a:lnTo>
                    <a:lnTo>
                      <a:pt x="6094005" y="3500981"/>
                    </a:lnTo>
                    <a:lnTo>
                      <a:pt x="6094005" y="2786396"/>
                    </a:lnTo>
                    <a:lnTo>
                      <a:pt x="5929332" y="2887081"/>
                    </a:lnTo>
                    <a:lnTo>
                      <a:pt x="5929332" y="3604237"/>
                    </a:lnTo>
                    <a:lnTo>
                      <a:pt x="5787635" y="3693086"/>
                    </a:lnTo>
                    <a:lnTo>
                      <a:pt x="5787635" y="2973716"/>
                    </a:lnTo>
                    <a:lnTo>
                      <a:pt x="5622962" y="3074401"/>
                    </a:lnTo>
                    <a:lnTo>
                      <a:pt x="5622962" y="3796343"/>
                    </a:lnTo>
                    <a:lnTo>
                      <a:pt x="5481265" y="3885194"/>
                    </a:lnTo>
                    <a:lnTo>
                      <a:pt x="5481265" y="3161036"/>
                    </a:lnTo>
                    <a:lnTo>
                      <a:pt x="5316592" y="3261721"/>
                    </a:lnTo>
                    <a:lnTo>
                      <a:pt x="5316592" y="3988448"/>
                    </a:lnTo>
                    <a:lnTo>
                      <a:pt x="5174895" y="4077300"/>
                    </a:lnTo>
                    <a:lnTo>
                      <a:pt x="5174895" y="3348358"/>
                    </a:lnTo>
                    <a:lnTo>
                      <a:pt x="5010222" y="3449041"/>
                    </a:lnTo>
                    <a:lnTo>
                      <a:pt x="5010222" y="4180556"/>
                    </a:lnTo>
                    <a:lnTo>
                      <a:pt x="4868525" y="4269405"/>
                    </a:lnTo>
                    <a:lnTo>
                      <a:pt x="4868525" y="3535678"/>
                    </a:lnTo>
                    <a:lnTo>
                      <a:pt x="4703852" y="3636360"/>
                    </a:lnTo>
                    <a:lnTo>
                      <a:pt x="4703852" y="4372662"/>
                    </a:lnTo>
                    <a:lnTo>
                      <a:pt x="4562155" y="4461513"/>
                    </a:lnTo>
                    <a:lnTo>
                      <a:pt x="4562155" y="3722997"/>
                    </a:lnTo>
                    <a:lnTo>
                      <a:pt x="4397482" y="3823680"/>
                    </a:lnTo>
                    <a:lnTo>
                      <a:pt x="4397482" y="4564768"/>
                    </a:lnTo>
                    <a:lnTo>
                      <a:pt x="4255785" y="4653619"/>
                    </a:lnTo>
                    <a:lnTo>
                      <a:pt x="4255785" y="3910317"/>
                    </a:lnTo>
                    <a:lnTo>
                      <a:pt x="4091112" y="4011000"/>
                    </a:lnTo>
                    <a:lnTo>
                      <a:pt x="4091112" y="4756875"/>
                    </a:lnTo>
                    <a:lnTo>
                      <a:pt x="3949414" y="4845724"/>
                    </a:lnTo>
                    <a:lnTo>
                      <a:pt x="3949414" y="4097637"/>
                    </a:lnTo>
                    <a:lnTo>
                      <a:pt x="3784742" y="4198322"/>
                    </a:lnTo>
                    <a:lnTo>
                      <a:pt x="3784742" y="4948981"/>
                    </a:lnTo>
                    <a:lnTo>
                      <a:pt x="3643044" y="5037832"/>
                    </a:lnTo>
                    <a:lnTo>
                      <a:pt x="3643044" y="4284957"/>
                    </a:lnTo>
                    <a:lnTo>
                      <a:pt x="3528878" y="4354761"/>
                    </a:lnTo>
                    <a:lnTo>
                      <a:pt x="3436697" y="4303067"/>
                    </a:lnTo>
                    <a:lnTo>
                      <a:pt x="3436697" y="5010554"/>
                    </a:lnTo>
                    <a:lnTo>
                      <a:pt x="3294999" y="4927162"/>
                    </a:lnTo>
                    <a:lnTo>
                      <a:pt x="3294999" y="4223605"/>
                    </a:lnTo>
                    <a:lnTo>
                      <a:pt x="3147557" y="4140923"/>
                    </a:lnTo>
                    <a:lnTo>
                      <a:pt x="3147557" y="4840389"/>
                    </a:lnTo>
                    <a:lnTo>
                      <a:pt x="3005859" y="4757000"/>
                    </a:lnTo>
                    <a:lnTo>
                      <a:pt x="3005859" y="4061460"/>
                    </a:lnTo>
                    <a:lnTo>
                      <a:pt x="2858425" y="3978781"/>
                    </a:lnTo>
                    <a:lnTo>
                      <a:pt x="2858425" y="4670232"/>
                    </a:lnTo>
                    <a:lnTo>
                      <a:pt x="2716727" y="4586840"/>
                    </a:lnTo>
                    <a:lnTo>
                      <a:pt x="2716727" y="3899320"/>
                    </a:lnTo>
                    <a:lnTo>
                      <a:pt x="2569294" y="3816641"/>
                    </a:lnTo>
                    <a:lnTo>
                      <a:pt x="2569294" y="4500072"/>
                    </a:lnTo>
                    <a:lnTo>
                      <a:pt x="2427596" y="4416680"/>
                    </a:lnTo>
                    <a:lnTo>
                      <a:pt x="2427596" y="3737178"/>
                    </a:lnTo>
                    <a:lnTo>
                      <a:pt x="2280162" y="3654501"/>
                    </a:lnTo>
                    <a:lnTo>
                      <a:pt x="2280162" y="4329914"/>
                    </a:lnTo>
                    <a:lnTo>
                      <a:pt x="2138464" y="4246522"/>
                    </a:lnTo>
                    <a:lnTo>
                      <a:pt x="2138464" y="3575038"/>
                    </a:lnTo>
                    <a:lnTo>
                      <a:pt x="1991031" y="3492361"/>
                    </a:lnTo>
                    <a:lnTo>
                      <a:pt x="1991031" y="4159755"/>
                    </a:lnTo>
                    <a:lnTo>
                      <a:pt x="1849333" y="4076363"/>
                    </a:lnTo>
                    <a:lnTo>
                      <a:pt x="1849333" y="3412899"/>
                    </a:lnTo>
                    <a:lnTo>
                      <a:pt x="1701899" y="3330219"/>
                    </a:lnTo>
                    <a:lnTo>
                      <a:pt x="1701899" y="3989597"/>
                    </a:lnTo>
                    <a:lnTo>
                      <a:pt x="1560201" y="3906205"/>
                    </a:lnTo>
                    <a:lnTo>
                      <a:pt x="1560201" y="3250759"/>
                    </a:lnTo>
                    <a:lnTo>
                      <a:pt x="1412767" y="3168079"/>
                    </a:lnTo>
                    <a:lnTo>
                      <a:pt x="1412767" y="3819437"/>
                    </a:lnTo>
                    <a:lnTo>
                      <a:pt x="1271070" y="3736045"/>
                    </a:lnTo>
                    <a:lnTo>
                      <a:pt x="1271070" y="3088617"/>
                    </a:lnTo>
                    <a:lnTo>
                      <a:pt x="1123636" y="3005939"/>
                    </a:lnTo>
                    <a:lnTo>
                      <a:pt x="1123636" y="3649279"/>
                    </a:lnTo>
                    <a:lnTo>
                      <a:pt x="981938" y="3565887"/>
                    </a:lnTo>
                    <a:lnTo>
                      <a:pt x="981938" y="2926477"/>
                    </a:lnTo>
                    <a:lnTo>
                      <a:pt x="834504" y="2843800"/>
                    </a:lnTo>
                    <a:lnTo>
                      <a:pt x="834504" y="3479120"/>
                    </a:lnTo>
                    <a:lnTo>
                      <a:pt x="692807" y="3395728"/>
                    </a:lnTo>
                    <a:lnTo>
                      <a:pt x="692807" y="2764337"/>
                    </a:lnTo>
                    <a:lnTo>
                      <a:pt x="545373" y="2681658"/>
                    </a:lnTo>
                    <a:lnTo>
                      <a:pt x="545373" y="3308962"/>
                    </a:lnTo>
                    <a:lnTo>
                      <a:pt x="403675" y="3225570"/>
                    </a:lnTo>
                    <a:lnTo>
                      <a:pt x="403675" y="2602197"/>
                    </a:lnTo>
                    <a:lnTo>
                      <a:pt x="256241" y="2519518"/>
                    </a:lnTo>
                    <a:lnTo>
                      <a:pt x="256241" y="3138802"/>
                    </a:lnTo>
                    <a:lnTo>
                      <a:pt x="114543" y="3055410"/>
                    </a:lnTo>
                    <a:lnTo>
                      <a:pt x="114543" y="2440055"/>
                    </a:lnTo>
                    <a:lnTo>
                      <a:pt x="0" y="2375821"/>
                    </a:lnTo>
                    <a:lnTo>
                      <a:pt x="0" y="1946821"/>
                    </a:lnTo>
                    <a:lnTo>
                      <a:pt x="5283" y="1949813"/>
                    </a:lnTo>
                    <a:lnTo>
                      <a:pt x="3789789" y="0"/>
                    </a:lnTo>
                    <a:close/>
                  </a:path>
                </a:pathLst>
              </a:custGeom>
              <a:solidFill>
                <a:srgbClr val="000000">
                  <a:lumMod val="50000"/>
                  <a:lumOff val="5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0" name="Rectangle 20"/>
              <p:cNvSpPr/>
              <p:nvPr/>
            </p:nvSpPr>
            <p:spPr>
              <a:xfrm>
                <a:off x="5303764" y="1811419"/>
                <a:ext cx="1472511" cy="687994"/>
              </a:xfrm>
              <a:custGeom>
                <a:avLst/>
                <a:gdLst>
                  <a:gd name="connsiteX0" fmla="*/ 0 w 402622"/>
                  <a:gd name="connsiteY0" fmla="*/ 0 h 252985"/>
                  <a:gd name="connsiteX1" fmla="*/ 402622 w 402622"/>
                  <a:gd name="connsiteY1" fmla="*/ 0 h 252985"/>
                  <a:gd name="connsiteX2" fmla="*/ 402622 w 402622"/>
                  <a:gd name="connsiteY2" fmla="*/ 252985 h 252985"/>
                  <a:gd name="connsiteX3" fmla="*/ 0 w 402622"/>
                  <a:gd name="connsiteY3" fmla="*/ 252985 h 252985"/>
                  <a:gd name="connsiteX4" fmla="*/ 0 w 402622"/>
                  <a:gd name="connsiteY4" fmla="*/ 0 h 252985"/>
                  <a:gd name="connsiteX0" fmla="*/ 0 w 402622"/>
                  <a:gd name="connsiteY0" fmla="*/ 114300 h 367285"/>
                  <a:gd name="connsiteX1" fmla="*/ 348647 w 402622"/>
                  <a:gd name="connsiteY1" fmla="*/ 0 h 367285"/>
                  <a:gd name="connsiteX2" fmla="*/ 402622 w 402622"/>
                  <a:gd name="connsiteY2" fmla="*/ 367285 h 367285"/>
                  <a:gd name="connsiteX3" fmla="*/ 0 w 402622"/>
                  <a:gd name="connsiteY3" fmla="*/ 367285 h 367285"/>
                  <a:gd name="connsiteX4" fmla="*/ 0 w 402622"/>
                  <a:gd name="connsiteY4" fmla="*/ 114300 h 367285"/>
                  <a:gd name="connsiteX0" fmla="*/ 0 w 643922"/>
                  <a:gd name="connsiteY0" fmla="*/ 114300 h 367285"/>
                  <a:gd name="connsiteX1" fmla="*/ 348647 w 643922"/>
                  <a:gd name="connsiteY1" fmla="*/ 0 h 367285"/>
                  <a:gd name="connsiteX2" fmla="*/ 643922 w 643922"/>
                  <a:gd name="connsiteY2" fmla="*/ 195835 h 367285"/>
                  <a:gd name="connsiteX3" fmla="*/ 0 w 643922"/>
                  <a:gd name="connsiteY3" fmla="*/ 367285 h 367285"/>
                  <a:gd name="connsiteX4" fmla="*/ 0 w 643922"/>
                  <a:gd name="connsiteY4" fmla="*/ 114300 h 367285"/>
                  <a:gd name="connsiteX0" fmla="*/ 0 w 643922"/>
                  <a:gd name="connsiteY0" fmla="*/ 114300 h 443485"/>
                  <a:gd name="connsiteX1" fmla="*/ 348647 w 643922"/>
                  <a:gd name="connsiteY1" fmla="*/ 0 h 443485"/>
                  <a:gd name="connsiteX2" fmla="*/ 643922 w 643922"/>
                  <a:gd name="connsiteY2" fmla="*/ 195835 h 443485"/>
                  <a:gd name="connsiteX3" fmla="*/ 320675 w 643922"/>
                  <a:gd name="connsiteY3" fmla="*/ 443485 h 443485"/>
                  <a:gd name="connsiteX4" fmla="*/ 0 w 643922"/>
                  <a:gd name="connsiteY4" fmla="*/ 114300 h 443485"/>
                  <a:gd name="connsiteX0" fmla="*/ 0 w 659797"/>
                  <a:gd name="connsiteY0" fmla="*/ 276225 h 443485"/>
                  <a:gd name="connsiteX1" fmla="*/ 364522 w 659797"/>
                  <a:gd name="connsiteY1" fmla="*/ 0 h 443485"/>
                  <a:gd name="connsiteX2" fmla="*/ 659797 w 659797"/>
                  <a:gd name="connsiteY2" fmla="*/ 195835 h 443485"/>
                  <a:gd name="connsiteX3" fmla="*/ 336550 w 659797"/>
                  <a:gd name="connsiteY3" fmla="*/ 443485 h 443485"/>
                  <a:gd name="connsiteX4" fmla="*/ 0 w 659797"/>
                  <a:gd name="connsiteY4" fmla="*/ 276225 h 443485"/>
                  <a:gd name="connsiteX0" fmla="*/ 0 w 720122"/>
                  <a:gd name="connsiteY0" fmla="*/ 203200 h 443485"/>
                  <a:gd name="connsiteX1" fmla="*/ 424847 w 720122"/>
                  <a:gd name="connsiteY1" fmla="*/ 0 h 443485"/>
                  <a:gd name="connsiteX2" fmla="*/ 720122 w 720122"/>
                  <a:gd name="connsiteY2" fmla="*/ 195835 h 443485"/>
                  <a:gd name="connsiteX3" fmla="*/ 396875 w 720122"/>
                  <a:gd name="connsiteY3" fmla="*/ 443485 h 443485"/>
                  <a:gd name="connsiteX4" fmla="*/ 0 w 720122"/>
                  <a:gd name="connsiteY4" fmla="*/ 203200 h 443485"/>
                  <a:gd name="connsiteX0" fmla="*/ 0 w 720122"/>
                  <a:gd name="connsiteY0" fmla="*/ 120650 h 360935"/>
                  <a:gd name="connsiteX1" fmla="*/ 250222 w 720122"/>
                  <a:gd name="connsiteY1" fmla="*/ 0 h 360935"/>
                  <a:gd name="connsiteX2" fmla="*/ 720122 w 720122"/>
                  <a:gd name="connsiteY2" fmla="*/ 113285 h 360935"/>
                  <a:gd name="connsiteX3" fmla="*/ 396875 w 720122"/>
                  <a:gd name="connsiteY3" fmla="*/ 360935 h 360935"/>
                  <a:gd name="connsiteX4" fmla="*/ 0 w 720122"/>
                  <a:gd name="connsiteY4" fmla="*/ 120650 h 360935"/>
                  <a:gd name="connsiteX0" fmla="*/ 0 w 612172"/>
                  <a:gd name="connsiteY0" fmla="*/ 120650 h 360935"/>
                  <a:gd name="connsiteX1" fmla="*/ 250222 w 612172"/>
                  <a:gd name="connsiteY1" fmla="*/ 0 h 360935"/>
                  <a:gd name="connsiteX2" fmla="*/ 612172 w 612172"/>
                  <a:gd name="connsiteY2" fmla="*/ 237110 h 360935"/>
                  <a:gd name="connsiteX3" fmla="*/ 396875 w 612172"/>
                  <a:gd name="connsiteY3" fmla="*/ 360935 h 360935"/>
                  <a:gd name="connsiteX4" fmla="*/ 0 w 612172"/>
                  <a:gd name="connsiteY4" fmla="*/ 120650 h 360935"/>
                  <a:gd name="connsiteX0" fmla="*/ 0 w 650272"/>
                  <a:gd name="connsiteY0" fmla="*/ 161925 h 360935"/>
                  <a:gd name="connsiteX1" fmla="*/ 288322 w 650272"/>
                  <a:gd name="connsiteY1" fmla="*/ 0 h 360935"/>
                  <a:gd name="connsiteX2" fmla="*/ 650272 w 650272"/>
                  <a:gd name="connsiteY2" fmla="*/ 237110 h 360935"/>
                  <a:gd name="connsiteX3" fmla="*/ 434975 w 650272"/>
                  <a:gd name="connsiteY3" fmla="*/ 360935 h 360935"/>
                  <a:gd name="connsiteX4" fmla="*/ 0 w 650272"/>
                  <a:gd name="connsiteY4" fmla="*/ 161925 h 360935"/>
                  <a:gd name="connsiteX0" fmla="*/ 0 w 650272"/>
                  <a:gd name="connsiteY0" fmla="*/ 123825 h 322835"/>
                  <a:gd name="connsiteX1" fmla="*/ 231172 w 650272"/>
                  <a:gd name="connsiteY1" fmla="*/ 0 h 322835"/>
                  <a:gd name="connsiteX2" fmla="*/ 650272 w 650272"/>
                  <a:gd name="connsiteY2" fmla="*/ 199010 h 322835"/>
                  <a:gd name="connsiteX3" fmla="*/ 434975 w 650272"/>
                  <a:gd name="connsiteY3" fmla="*/ 322835 h 322835"/>
                  <a:gd name="connsiteX4" fmla="*/ 0 w 650272"/>
                  <a:gd name="connsiteY4" fmla="*/ 123825 h 322835"/>
                  <a:gd name="connsiteX0" fmla="*/ 0 w 675672"/>
                  <a:gd name="connsiteY0" fmla="*/ 111125 h 322835"/>
                  <a:gd name="connsiteX1" fmla="*/ 256572 w 675672"/>
                  <a:gd name="connsiteY1" fmla="*/ 0 h 322835"/>
                  <a:gd name="connsiteX2" fmla="*/ 675672 w 675672"/>
                  <a:gd name="connsiteY2" fmla="*/ 199010 h 322835"/>
                  <a:gd name="connsiteX3" fmla="*/ 460375 w 675672"/>
                  <a:gd name="connsiteY3" fmla="*/ 322835 h 322835"/>
                  <a:gd name="connsiteX4" fmla="*/ 0 w 675672"/>
                  <a:gd name="connsiteY4" fmla="*/ 111125 h 322835"/>
                  <a:gd name="connsiteX0" fmla="*/ 0 w 675672"/>
                  <a:gd name="connsiteY0" fmla="*/ 111125 h 313310"/>
                  <a:gd name="connsiteX1" fmla="*/ 256572 w 675672"/>
                  <a:gd name="connsiteY1" fmla="*/ 0 h 313310"/>
                  <a:gd name="connsiteX2" fmla="*/ 675672 w 675672"/>
                  <a:gd name="connsiteY2" fmla="*/ 199010 h 313310"/>
                  <a:gd name="connsiteX3" fmla="*/ 447675 w 675672"/>
                  <a:gd name="connsiteY3" fmla="*/ 313310 h 313310"/>
                  <a:gd name="connsiteX4" fmla="*/ 0 w 675672"/>
                  <a:gd name="connsiteY4" fmla="*/ 111125 h 313310"/>
                  <a:gd name="connsiteX0" fmla="*/ 0 w 675672"/>
                  <a:gd name="connsiteY0" fmla="*/ 106362 h 308547"/>
                  <a:gd name="connsiteX1" fmla="*/ 247047 w 675672"/>
                  <a:gd name="connsiteY1" fmla="*/ 0 h 308547"/>
                  <a:gd name="connsiteX2" fmla="*/ 675672 w 675672"/>
                  <a:gd name="connsiteY2" fmla="*/ 194247 h 308547"/>
                  <a:gd name="connsiteX3" fmla="*/ 447675 w 675672"/>
                  <a:gd name="connsiteY3" fmla="*/ 308547 h 308547"/>
                  <a:gd name="connsiteX4" fmla="*/ 0 w 675672"/>
                  <a:gd name="connsiteY4" fmla="*/ 106362 h 308547"/>
                  <a:gd name="connsiteX0" fmla="*/ 0 w 675672"/>
                  <a:gd name="connsiteY0" fmla="*/ 113506 h 315691"/>
                  <a:gd name="connsiteX1" fmla="*/ 249428 w 675672"/>
                  <a:gd name="connsiteY1" fmla="*/ 0 h 315691"/>
                  <a:gd name="connsiteX2" fmla="*/ 675672 w 675672"/>
                  <a:gd name="connsiteY2" fmla="*/ 201391 h 315691"/>
                  <a:gd name="connsiteX3" fmla="*/ 447675 w 675672"/>
                  <a:gd name="connsiteY3" fmla="*/ 315691 h 315691"/>
                  <a:gd name="connsiteX4" fmla="*/ 0 w 675672"/>
                  <a:gd name="connsiteY4" fmla="*/ 113506 h 3156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672" h="315691">
                    <a:moveTo>
                      <a:pt x="0" y="113506"/>
                    </a:moveTo>
                    <a:lnTo>
                      <a:pt x="249428" y="0"/>
                    </a:lnTo>
                    <a:lnTo>
                      <a:pt x="675672" y="201391"/>
                    </a:lnTo>
                    <a:lnTo>
                      <a:pt x="447675" y="315691"/>
                    </a:lnTo>
                    <a:lnTo>
                      <a:pt x="0" y="113506"/>
                    </a:lnTo>
                    <a:close/>
                  </a:path>
                </a:pathLst>
              </a:custGeom>
              <a:solidFill>
                <a:schemeClr val="tx1">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1" name="Rectangle 20"/>
              <p:cNvSpPr/>
              <p:nvPr/>
            </p:nvSpPr>
            <p:spPr>
              <a:xfrm>
                <a:off x="4188015" y="1300299"/>
                <a:ext cx="1472511" cy="672427"/>
              </a:xfrm>
              <a:custGeom>
                <a:avLst/>
                <a:gdLst>
                  <a:gd name="connsiteX0" fmla="*/ 0 w 402622"/>
                  <a:gd name="connsiteY0" fmla="*/ 0 h 252985"/>
                  <a:gd name="connsiteX1" fmla="*/ 402622 w 402622"/>
                  <a:gd name="connsiteY1" fmla="*/ 0 h 252985"/>
                  <a:gd name="connsiteX2" fmla="*/ 402622 w 402622"/>
                  <a:gd name="connsiteY2" fmla="*/ 252985 h 252985"/>
                  <a:gd name="connsiteX3" fmla="*/ 0 w 402622"/>
                  <a:gd name="connsiteY3" fmla="*/ 252985 h 252985"/>
                  <a:gd name="connsiteX4" fmla="*/ 0 w 402622"/>
                  <a:gd name="connsiteY4" fmla="*/ 0 h 252985"/>
                  <a:gd name="connsiteX0" fmla="*/ 0 w 402622"/>
                  <a:gd name="connsiteY0" fmla="*/ 114300 h 367285"/>
                  <a:gd name="connsiteX1" fmla="*/ 348647 w 402622"/>
                  <a:gd name="connsiteY1" fmla="*/ 0 h 367285"/>
                  <a:gd name="connsiteX2" fmla="*/ 402622 w 402622"/>
                  <a:gd name="connsiteY2" fmla="*/ 367285 h 367285"/>
                  <a:gd name="connsiteX3" fmla="*/ 0 w 402622"/>
                  <a:gd name="connsiteY3" fmla="*/ 367285 h 367285"/>
                  <a:gd name="connsiteX4" fmla="*/ 0 w 402622"/>
                  <a:gd name="connsiteY4" fmla="*/ 114300 h 367285"/>
                  <a:gd name="connsiteX0" fmla="*/ 0 w 643922"/>
                  <a:gd name="connsiteY0" fmla="*/ 114300 h 367285"/>
                  <a:gd name="connsiteX1" fmla="*/ 348647 w 643922"/>
                  <a:gd name="connsiteY1" fmla="*/ 0 h 367285"/>
                  <a:gd name="connsiteX2" fmla="*/ 643922 w 643922"/>
                  <a:gd name="connsiteY2" fmla="*/ 195835 h 367285"/>
                  <a:gd name="connsiteX3" fmla="*/ 0 w 643922"/>
                  <a:gd name="connsiteY3" fmla="*/ 367285 h 367285"/>
                  <a:gd name="connsiteX4" fmla="*/ 0 w 643922"/>
                  <a:gd name="connsiteY4" fmla="*/ 114300 h 367285"/>
                  <a:gd name="connsiteX0" fmla="*/ 0 w 643922"/>
                  <a:gd name="connsiteY0" fmla="*/ 114300 h 443485"/>
                  <a:gd name="connsiteX1" fmla="*/ 348647 w 643922"/>
                  <a:gd name="connsiteY1" fmla="*/ 0 h 443485"/>
                  <a:gd name="connsiteX2" fmla="*/ 643922 w 643922"/>
                  <a:gd name="connsiteY2" fmla="*/ 195835 h 443485"/>
                  <a:gd name="connsiteX3" fmla="*/ 320675 w 643922"/>
                  <a:gd name="connsiteY3" fmla="*/ 443485 h 443485"/>
                  <a:gd name="connsiteX4" fmla="*/ 0 w 643922"/>
                  <a:gd name="connsiteY4" fmla="*/ 114300 h 443485"/>
                  <a:gd name="connsiteX0" fmla="*/ 0 w 659797"/>
                  <a:gd name="connsiteY0" fmla="*/ 276225 h 443485"/>
                  <a:gd name="connsiteX1" fmla="*/ 364522 w 659797"/>
                  <a:gd name="connsiteY1" fmla="*/ 0 h 443485"/>
                  <a:gd name="connsiteX2" fmla="*/ 659797 w 659797"/>
                  <a:gd name="connsiteY2" fmla="*/ 195835 h 443485"/>
                  <a:gd name="connsiteX3" fmla="*/ 336550 w 659797"/>
                  <a:gd name="connsiteY3" fmla="*/ 443485 h 443485"/>
                  <a:gd name="connsiteX4" fmla="*/ 0 w 659797"/>
                  <a:gd name="connsiteY4" fmla="*/ 276225 h 443485"/>
                  <a:gd name="connsiteX0" fmla="*/ 0 w 720122"/>
                  <a:gd name="connsiteY0" fmla="*/ 203200 h 443485"/>
                  <a:gd name="connsiteX1" fmla="*/ 424847 w 720122"/>
                  <a:gd name="connsiteY1" fmla="*/ 0 h 443485"/>
                  <a:gd name="connsiteX2" fmla="*/ 720122 w 720122"/>
                  <a:gd name="connsiteY2" fmla="*/ 195835 h 443485"/>
                  <a:gd name="connsiteX3" fmla="*/ 396875 w 720122"/>
                  <a:gd name="connsiteY3" fmla="*/ 443485 h 443485"/>
                  <a:gd name="connsiteX4" fmla="*/ 0 w 720122"/>
                  <a:gd name="connsiteY4" fmla="*/ 203200 h 443485"/>
                  <a:gd name="connsiteX0" fmla="*/ 0 w 720122"/>
                  <a:gd name="connsiteY0" fmla="*/ 120650 h 360935"/>
                  <a:gd name="connsiteX1" fmla="*/ 250222 w 720122"/>
                  <a:gd name="connsiteY1" fmla="*/ 0 h 360935"/>
                  <a:gd name="connsiteX2" fmla="*/ 720122 w 720122"/>
                  <a:gd name="connsiteY2" fmla="*/ 113285 h 360935"/>
                  <a:gd name="connsiteX3" fmla="*/ 396875 w 720122"/>
                  <a:gd name="connsiteY3" fmla="*/ 360935 h 360935"/>
                  <a:gd name="connsiteX4" fmla="*/ 0 w 720122"/>
                  <a:gd name="connsiteY4" fmla="*/ 120650 h 360935"/>
                  <a:gd name="connsiteX0" fmla="*/ 0 w 612172"/>
                  <a:gd name="connsiteY0" fmla="*/ 120650 h 360935"/>
                  <a:gd name="connsiteX1" fmla="*/ 250222 w 612172"/>
                  <a:gd name="connsiteY1" fmla="*/ 0 h 360935"/>
                  <a:gd name="connsiteX2" fmla="*/ 612172 w 612172"/>
                  <a:gd name="connsiteY2" fmla="*/ 237110 h 360935"/>
                  <a:gd name="connsiteX3" fmla="*/ 396875 w 612172"/>
                  <a:gd name="connsiteY3" fmla="*/ 360935 h 360935"/>
                  <a:gd name="connsiteX4" fmla="*/ 0 w 612172"/>
                  <a:gd name="connsiteY4" fmla="*/ 120650 h 360935"/>
                  <a:gd name="connsiteX0" fmla="*/ 0 w 650272"/>
                  <a:gd name="connsiteY0" fmla="*/ 161925 h 360935"/>
                  <a:gd name="connsiteX1" fmla="*/ 288322 w 650272"/>
                  <a:gd name="connsiteY1" fmla="*/ 0 h 360935"/>
                  <a:gd name="connsiteX2" fmla="*/ 650272 w 650272"/>
                  <a:gd name="connsiteY2" fmla="*/ 237110 h 360935"/>
                  <a:gd name="connsiteX3" fmla="*/ 434975 w 650272"/>
                  <a:gd name="connsiteY3" fmla="*/ 360935 h 360935"/>
                  <a:gd name="connsiteX4" fmla="*/ 0 w 650272"/>
                  <a:gd name="connsiteY4" fmla="*/ 161925 h 360935"/>
                  <a:gd name="connsiteX0" fmla="*/ 0 w 650272"/>
                  <a:gd name="connsiteY0" fmla="*/ 123825 h 322835"/>
                  <a:gd name="connsiteX1" fmla="*/ 231172 w 650272"/>
                  <a:gd name="connsiteY1" fmla="*/ 0 h 322835"/>
                  <a:gd name="connsiteX2" fmla="*/ 650272 w 650272"/>
                  <a:gd name="connsiteY2" fmla="*/ 199010 h 322835"/>
                  <a:gd name="connsiteX3" fmla="*/ 434975 w 650272"/>
                  <a:gd name="connsiteY3" fmla="*/ 322835 h 322835"/>
                  <a:gd name="connsiteX4" fmla="*/ 0 w 650272"/>
                  <a:gd name="connsiteY4" fmla="*/ 123825 h 322835"/>
                  <a:gd name="connsiteX0" fmla="*/ 0 w 675672"/>
                  <a:gd name="connsiteY0" fmla="*/ 111125 h 322835"/>
                  <a:gd name="connsiteX1" fmla="*/ 256572 w 675672"/>
                  <a:gd name="connsiteY1" fmla="*/ 0 h 322835"/>
                  <a:gd name="connsiteX2" fmla="*/ 675672 w 675672"/>
                  <a:gd name="connsiteY2" fmla="*/ 199010 h 322835"/>
                  <a:gd name="connsiteX3" fmla="*/ 460375 w 675672"/>
                  <a:gd name="connsiteY3" fmla="*/ 322835 h 322835"/>
                  <a:gd name="connsiteX4" fmla="*/ 0 w 675672"/>
                  <a:gd name="connsiteY4" fmla="*/ 111125 h 322835"/>
                  <a:gd name="connsiteX0" fmla="*/ 0 w 675672"/>
                  <a:gd name="connsiteY0" fmla="*/ 111125 h 313310"/>
                  <a:gd name="connsiteX1" fmla="*/ 256572 w 675672"/>
                  <a:gd name="connsiteY1" fmla="*/ 0 h 313310"/>
                  <a:gd name="connsiteX2" fmla="*/ 675672 w 675672"/>
                  <a:gd name="connsiteY2" fmla="*/ 199010 h 313310"/>
                  <a:gd name="connsiteX3" fmla="*/ 447675 w 675672"/>
                  <a:gd name="connsiteY3" fmla="*/ 313310 h 313310"/>
                  <a:gd name="connsiteX4" fmla="*/ 0 w 675672"/>
                  <a:gd name="connsiteY4" fmla="*/ 111125 h 313310"/>
                  <a:gd name="connsiteX0" fmla="*/ 0 w 675672"/>
                  <a:gd name="connsiteY0" fmla="*/ 106363 h 308548"/>
                  <a:gd name="connsiteX1" fmla="*/ 242285 w 675672"/>
                  <a:gd name="connsiteY1" fmla="*/ 0 h 308548"/>
                  <a:gd name="connsiteX2" fmla="*/ 675672 w 675672"/>
                  <a:gd name="connsiteY2" fmla="*/ 194248 h 308548"/>
                  <a:gd name="connsiteX3" fmla="*/ 447675 w 675672"/>
                  <a:gd name="connsiteY3" fmla="*/ 308548 h 308548"/>
                  <a:gd name="connsiteX4" fmla="*/ 0 w 675672"/>
                  <a:gd name="connsiteY4" fmla="*/ 106363 h 308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672" h="308548">
                    <a:moveTo>
                      <a:pt x="0" y="106363"/>
                    </a:moveTo>
                    <a:lnTo>
                      <a:pt x="242285" y="0"/>
                    </a:lnTo>
                    <a:lnTo>
                      <a:pt x="675672" y="194248"/>
                    </a:lnTo>
                    <a:lnTo>
                      <a:pt x="447675" y="308548"/>
                    </a:lnTo>
                    <a:lnTo>
                      <a:pt x="0" y="106363"/>
                    </a:lnTo>
                    <a:close/>
                  </a:path>
                </a:pathLst>
              </a:custGeom>
              <a:solidFill>
                <a:schemeClr val="tx1">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2" name="Rectangle 20"/>
              <p:cNvSpPr/>
              <p:nvPr/>
            </p:nvSpPr>
            <p:spPr>
              <a:xfrm>
                <a:off x="6144139" y="1422209"/>
                <a:ext cx="1399859" cy="656858"/>
              </a:xfrm>
              <a:custGeom>
                <a:avLst/>
                <a:gdLst>
                  <a:gd name="connsiteX0" fmla="*/ 0 w 402622"/>
                  <a:gd name="connsiteY0" fmla="*/ 0 h 252985"/>
                  <a:gd name="connsiteX1" fmla="*/ 402622 w 402622"/>
                  <a:gd name="connsiteY1" fmla="*/ 0 h 252985"/>
                  <a:gd name="connsiteX2" fmla="*/ 402622 w 402622"/>
                  <a:gd name="connsiteY2" fmla="*/ 252985 h 252985"/>
                  <a:gd name="connsiteX3" fmla="*/ 0 w 402622"/>
                  <a:gd name="connsiteY3" fmla="*/ 252985 h 252985"/>
                  <a:gd name="connsiteX4" fmla="*/ 0 w 402622"/>
                  <a:gd name="connsiteY4" fmla="*/ 0 h 252985"/>
                  <a:gd name="connsiteX0" fmla="*/ 0 w 402622"/>
                  <a:gd name="connsiteY0" fmla="*/ 114300 h 367285"/>
                  <a:gd name="connsiteX1" fmla="*/ 348647 w 402622"/>
                  <a:gd name="connsiteY1" fmla="*/ 0 h 367285"/>
                  <a:gd name="connsiteX2" fmla="*/ 402622 w 402622"/>
                  <a:gd name="connsiteY2" fmla="*/ 367285 h 367285"/>
                  <a:gd name="connsiteX3" fmla="*/ 0 w 402622"/>
                  <a:gd name="connsiteY3" fmla="*/ 367285 h 367285"/>
                  <a:gd name="connsiteX4" fmla="*/ 0 w 402622"/>
                  <a:gd name="connsiteY4" fmla="*/ 114300 h 367285"/>
                  <a:gd name="connsiteX0" fmla="*/ 0 w 643922"/>
                  <a:gd name="connsiteY0" fmla="*/ 114300 h 367285"/>
                  <a:gd name="connsiteX1" fmla="*/ 348647 w 643922"/>
                  <a:gd name="connsiteY1" fmla="*/ 0 h 367285"/>
                  <a:gd name="connsiteX2" fmla="*/ 643922 w 643922"/>
                  <a:gd name="connsiteY2" fmla="*/ 195835 h 367285"/>
                  <a:gd name="connsiteX3" fmla="*/ 0 w 643922"/>
                  <a:gd name="connsiteY3" fmla="*/ 367285 h 367285"/>
                  <a:gd name="connsiteX4" fmla="*/ 0 w 643922"/>
                  <a:gd name="connsiteY4" fmla="*/ 114300 h 367285"/>
                  <a:gd name="connsiteX0" fmla="*/ 0 w 643922"/>
                  <a:gd name="connsiteY0" fmla="*/ 114300 h 443485"/>
                  <a:gd name="connsiteX1" fmla="*/ 348647 w 643922"/>
                  <a:gd name="connsiteY1" fmla="*/ 0 h 443485"/>
                  <a:gd name="connsiteX2" fmla="*/ 643922 w 643922"/>
                  <a:gd name="connsiteY2" fmla="*/ 195835 h 443485"/>
                  <a:gd name="connsiteX3" fmla="*/ 320675 w 643922"/>
                  <a:gd name="connsiteY3" fmla="*/ 443485 h 443485"/>
                  <a:gd name="connsiteX4" fmla="*/ 0 w 643922"/>
                  <a:gd name="connsiteY4" fmla="*/ 114300 h 443485"/>
                  <a:gd name="connsiteX0" fmla="*/ 0 w 659797"/>
                  <a:gd name="connsiteY0" fmla="*/ 276225 h 443485"/>
                  <a:gd name="connsiteX1" fmla="*/ 364522 w 659797"/>
                  <a:gd name="connsiteY1" fmla="*/ 0 h 443485"/>
                  <a:gd name="connsiteX2" fmla="*/ 659797 w 659797"/>
                  <a:gd name="connsiteY2" fmla="*/ 195835 h 443485"/>
                  <a:gd name="connsiteX3" fmla="*/ 336550 w 659797"/>
                  <a:gd name="connsiteY3" fmla="*/ 443485 h 443485"/>
                  <a:gd name="connsiteX4" fmla="*/ 0 w 659797"/>
                  <a:gd name="connsiteY4" fmla="*/ 276225 h 443485"/>
                  <a:gd name="connsiteX0" fmla="*/ 0 w 720122"/>
                  <a:gd name="connsiteY0" fmla="*/ 203200 h 443485"/>
                  <a:gd name="connsiteX1" fmla="*/ 424847 w 720122"/>
                  <a:gd name="connsiteY1" fmla="*/ 0 h 443485"/>
                  <a:gd name="connsiteX2" fmla="*/ 720122 w 720122"/>
                  <a:gd name="connsiteY2" fmla="*/ 195835 h 443485"/>
                  <a:gd name="connsiteX3" fmla="*/ 396875 w 720122"/>
                  <a:gd name="connsiteY3" fmla="*/ 443485 h 443485"/>
                  <a:gd name="connsiteX4" fmla="*/ 0 w 720122"/>
                  <a:gd name="connsiteY4" fmla="*/ 203200 h 443485"/>
                  <a:gd name="connsiteX0" fmla="*/ 0 w 720122"/>
                  <a:gd name="connsiteY0" fmla="*/ 120650 h 360935"/>
                  <a:gd name="connsiteX1" fmla="*/ 250222 w 720122"/>
                  <a:gd name="connsiteY1" fmla="*/ 0 h 360935"/>
                  <a:gd name="connsiteX2" fmla="*/ 720122 w 720122"/>
                  <a:gd name="connsiteY2" fmla="*/ 113285 h 360935"/>
                  <a:gd name="connsiteX3" fmla="*/ 396875 w 720122"/>
                  <a:gd name="connsiteY3" fmla="*/ 360935 h 360935"/>
                  <a:gd name="connsiteX4" fmla="*/ 0 w 720122"/>
                  <a:gd name="connsiteY4" fmla="*/ 120650 h 360935"/>
                  <a:gd name="connsiteX0" fmla="*/ 0 w 612172"/>
                  <a:gd name="connsiteY0" fmla="*/ 120650 h 360935"/>
                  <a:gd name="connsiteX1" fmla="*/ 250222 w 612172"/>
                  <a:gd name="connsiteY1" fmla="*/ 0 h 360935"/>
                  <a:gd name="connsiteX2" fmla="*/ 612172 w 612172"/>
                  <a:gd name="connsiteY2" fmla="*/ 237110 h 360935"/>
                  <a:gd name="connsiteX3" fmla="*/ 396875 w 612172"/>
                  <a:gd name="connsiteY3" fmla="*/ 360935 h 360935"/>
                  <a:gd name="connsiteX4" fmla="*/ 0 w 612172"/>
                  <a:gd name="connsiteY4" fmla="*/ 120650 h 360935"/>
                  <a:gd name="connsiteX0" fmla="*/ 0 w 650272"/>
                  <a:gd name="connsiteY0" fmla="*/ 161925 h 360935"/>
                  <a:gd name="connsiteX1" fmla="*/ 288322 w 650272"/>
                  <a:gd name="connsiteY1" fmla="*/ 0 h 360935"/>
                  <a:gd name="connsiteX2" fmla="*/ 650272 w 650272"/>
                  <a:gd name="connsiteY2" fmla="*/ 237110 h 360935"/>
                  <a:gd name="connsiteX3" fmla="*/ 434975 w 650272"/>
                  <a:gd name="connsiteY3" fmla="*/ 360935 h 360935"/>
                  <a:gd name="connsiteX4" fmla="*/ 0 w 650272"/>
                  <a:gd name="connsiteY4" fmla="*/ 161925 h 360935"/>
                  <a:gd name="connsiteX0" fmla="*/ 0 w 650272"/>
                  <a:gd name="connsiteY0" fmla="*/ 123825 h 322835"/>
                  <a:gd name="connsiteX1" fmla="*/ 231172 w 650272"/>
                  <a:gd name="connsiteY1" fmla="*/ 0 h 322835"/>
                  <a:gd name="connsiteX2" fmla="*/ 650272 w 650272"/>
                  <a:gd name="connsiteY2" fmla="*/ 199010 h 322835"/>
                  <a:gd name="connsiteX3" fmla="*/ 434975 w 650272"/>
                  <a:gd name="connsiteY3" fmla="*/ 322835 h 322835"/>
                  <a:gd name="connsiteX4" fmla="*/ 0 w 650272"/>
                  <a:gd name="connsiteY4" fmla="*/ 123825 h 322835"/>
                  <a:gd name="connsiteX0" fmla="*/ 0 w 675672"/>
                  <a:gd name="connsiteY0" fmla="*/ 111125 h 322835"/>
                  <a:gd name="connsiteX1" fmla="*/ 256572 w 675672"/>
                  <a:gd name="connsiteY1" fmla="*/ 0 h 322835"/>
                  <a:gd name="connsiteX2" fmla="*/ 675672 w 675672"/>
                  <a:gd name="connsiteY2" fmla="*/ 199010 h 322835"/>
                  <a:gd name="connsiteX3" fmla="*/ 460375 w 675672"/>
                  <a:gd name="connsiteY3" fmla="*/ 322835 h 322835"/>
                  <a:gd name="connsiteX4" fmla="*/ 0 w 675672"/>
                  <a:gd name="connsiteY4" fmla="*/ 111125 h 322835"/>
                  <a:gd name="connsiteX0" fmla="*/ 0 w 675672"/>
                  <a:gd name="connsiteY0" fmla="*/ 111125 h 313310"/>
                  <a:gd name="connsiteX1" fmla="*/ 256572 w 675672"/>
                  <a:gd name="connsiteY1" fmla="*/ 0 h 313310"/>
                  <a:gd name="connsiteX2" fmla="*/ 675672 w 675672"/>
                  <a:gd name="connsiteY2" fmla="*/ 199010 h 313310"/>
                  <a:gd name="connsiteX3" fmla="*/ 447675 w 675672"/>
                  <a:gd name="connsiteY3" fmla="*/ 313310 h 313310"/>
                  <a:gd name="connsiteX4" fmla="*/ 0 w 675672"/>
                  <a:gd name="connsiteY4" fmla="*/ 111125 h 313310"/>
                  <a:gd name="connsiteX0" fmla="*/ 0 w 675672"/>
                  <a:gd name="connsiteY0" fmla="*/ 106362 h 308547"/>
                  <a:gd name="connsiteX1" fmla="*/ 247047 w 675672"/>
                  <a:gd name="connsiteY1" fmla="*/ 0 h 308547"/>
                  <a:gd name="connsiteX2" fmla="*/ 675672 w 675672"/>
                  <a:gd name="connsiteY2" fmla="*/ 194247 h 308547"/>
                  <a:gd name="connsiteX3" fmla="*/ 447675 w 675672"/>
                  <a:gd name="connsiteY3" fmla="*/ 308547 h 308547"/>
                  <a:gd name="connsiteX4" fmla="*/ 0 w 675672"/>
                  <a:gd name="connsiteY4" fmla="*/ 106362 h 308547"/>
                  <a:gd name="connsiteX0" fmla="*/ 0 w 647097"/>
                  <a:gd name="connsiteY0" fmla="*/ 115887 h 308547"/>
                  <a:gd name="connsiteX1" fmla="*/ 218472 w 647097"/>
                  <a:gd name="connsiteY1" fmla="*/ 0 h 308547"/>
                  <a:gd name="connsiteX2" fmla="*/ 647097 w 647097"/>
                  <a:gd name="connsiteY2" fmla="*/ 194247 h 308547"/>
                  <a:gd name="connsiteX3" fmla="*/ 419100 w 647097"/>
                  <a:gd name="connsiteY3" fmla="*/ 308547 h 308547"/>
                  <a:gd name="connsiteX4" fmla="*/ 0 w 647097"/>
                  <a:gd name="connsiteY4" fmla="*/ 115887 h 308547"/>
                  <a:gd name="connsiteX0" fmla="*/ 0 w 647097"/>
                  <a:gd name="connsiteY0" fmla="*/ 108744 h 301404"/>
                  <a:gd name="connsiteX1" fmla="*/ 232759 w 647097"/>
                  <a:gd name="connsiteY1" fmla="*/ 0 h 301404"/>
                  <a:gd name="connsiteX2" fmla="*/ 647097 w 647097"/>
                  <a:gd name="connsiteY2" fmla="*/ 187104 h 301404"/>
                  <a:gd name="connsiteX3" fmla="*/ 419100 w 647097"/>
                  <a:gd name="connsiteY3" fmla="*/ 301404 h 301404"/>
                  <a:gd name="connsiteX4" fmla="*/ 0 w 647097"/>
                  <a:gd name="connsiteY4" fmla="*/ 108744 h 301404"/>
                  <a:gd name="connsiteX0" fmla="*/ 0 w 642335"/>
                  <a:gd name="connsiteY0" fmla="*/ 108744 h 301404"/>
                  <a:gd name="connsiteX1" fmla="*/ 232759 w 642335"/>
                  <a:gd name="connsiteY1" fmla="*/ 0 h 301404"/>
                  <a:gd name="connsiteX2" fmla="*/ 642335 w 642335"/>
                  <a:gd name="connsiteY2" fmla="*/ 187104 h 301404"/>
                  <a:gd name="connsiteX3" fmla="*/ 419100 w 642335"/>
                  <a:gd name="connsiteY3" fmla="*/ 301404 h 301404"/>
                  <a:gd name="connsiteX4" fmla="*/ 0 w 642335"/>
                  <a:gd name="connsiteY4" fmla="*/ 108744 h 301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335" h="301404">
                    <a:moveTo>
                      <a:pt x="0" y="108744"/>
                    </a:moveTo>
                    <a:lnTo>
                      <a:pt x="232759" y="0"/>
                    </a:lnTo>
                    <a:lnTo>
                      <a:pt x="642335" y="187104"/>
                    </a:lnTo>
                    <a:lnTo>
                      <a:pt x="419100" y="301404"/>
                    </a:lnTo>
                    <a:lnTo>
                      <a:pt x="0" y="108744"/>
                    </a:lnTo>
                    <a:close/>
                  </a:path>
                </a:pathLst>
              </a:custGeom>
              <a:solidFill>
                <a:srgbClr val="FFFFFF">
                  <a:lumMod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3" name="Rectangle 20"/>
              <p:cNvSpPr/>
              <p:nvPr/>
            </p:nvSpPr>
            <p:spPr>
              <a:xfrm>
                <a:off x="6948185" y="1032989"/>
                <a:ext cx="1384290" cy="646478"/>
              </a:xfrm>
              <a:custGeom>
                <a:avLst/>
                <a:gdLst>
                  <a:gd name="connsiteX0" fmla="*/ 0 w 402622"/>
                  <a:gd name="connsiteY0" fmla="*/ 0 h 252985"/>
                  <a:gd name="connsiteX1" fmla="*/ 402622 w 402622"/>
                  <a:gd name="connsiteY1" fmla="*/ 0 h 252985"/>
                  <a:gd name="connsiteX2" fmla="*/ 402622 w 402622"/>
                  <a:gd name="connsiteY2" fmla="*/ 252985 h 252985"/>
                  <a:gd name="connsiteX3" fmla="*/ 0 w 402622"/>
                  <a:gd name="connsiteY3" fmla="*/ 252985 h 252985"/>
                  <a:gd name="connsiteX4" fmla="*/ 0 w 402622"/>
                  <a:gd name="connsiteY4" fmla="*/ 0 h 252985"/>
                  <a:gd name="connsiteX0" fmla="*/ 0 w 402622"/>
                  <a:gd name="connsiteY0" fmla="*/ 114300 h 367285"/>
                  <a:gd name="connsiteX1" fmla="*/ 348647 w 402622"/>
                  <a:gd name="connsiteY1" fmla="*/ 0 h 367285"/>
                  <a:gd name="connsiteX2" fmla="*/ 402622 w 402622"/>
                  <a:gd name="connsiteY2" fmla="*/ 367285 h 367285"/>
                  <a:gd name="connsiteX3" fmla="*/ 0 w 402622"/>
                  <a:gd name="connsiteY3" fmla="*/ 367285 h 367285"/>
                  <a:gd name="connsiteX4" fmla="*/ 0 w 402622"/>
                  <a:gd name="connsiteY4" fmla="*/ 114300 h 367285"/>
                  <a:gd name="connsiteX0" fmla="*/ 0 w 643922"/>
                  <a:gd name="connsiteY0" fmla="*/ 114300 h 367285"/>
                  <a:gd name="connsiteX1" fmla="*/ 348647 w 643922"/>
                  <a:gd name="connsiteY1" fmla="*/ 0 h 367285"/>
                  <a:gd name="connsiteX2" fmla="*/ 643922 w 643922"/>
                  <a:gd name="connsiteY2" fmla="*/ 195835 h 367285"/>
                  <a:gd name="connsiteX3" fmla="*/ 0 w 643922"/>
                  <a:gd name="connsiteY3" fmla="*/ 367285 h 367285"/>
                  <a:gd name="connsiteX4" fmla="*/ 0 w 643922"/>
                  <a:gd name="connsiteY4" fmla="*/ 114300 h 367285"/>
                  <a:gd name="connsiteX0" fmla="*/ 0 w 643922"/>
                  <a:gd name="connsiteY0" fmla="*/ 114300 h 443485"/>
                  <a:gd name="connsiteX1" fmla="*/ 348647 w 643922"/>
                  <a:gd name="connsiteY1" fmla="*/ 0 h 443485"/>
                  <a:gd name="connsiteX2" fmla="*/ 643922 w 643922"/>
                  <a:gd name="connsiteY2" fmla="*/ 195835 h 443485"/>
                  <a:gd name="connsiteX3" fmla="*/ 320675 w 643922"/>
                  <a:gd name="connsiteY3" fmla="*/ 443485 h 443485"/>
                  <a:gd name="connsiteX4" fmla="*/ 0 w 643922"/>
                  <a:gd name="connsiteY4" fmla="*/ 114300 h 443485"/>
                  <a:gd name="connsiteX0" fmla="*/ 0 w 659797"/>
                  <a:gd name="connsiteY0" fmla="*/ 276225 h 443485"/>
                  <a:gd name="connsiteX1" fmla="*/ 364522 w 659797"/>
                  <a:gd name="connsiteY1" fmla="*/ 0 h 443485"/>
                  <a:gd name="connsiteX2" fmla="*/ 659797 w 659797"/>
                  <a:gd name="connsiteY2" fmla="*/ 195835 h 443485"/>
                  <a:gd name="connsiteX3" fmla="*/ 336550 w 659797"/>
                  <a:gd name="connsiteY3" fmla="*/ 443485 h 443485"/>
                  <a:gd name="connsiteX4" fmla="*/ 0 w 659797"/>
                  <a:gd name="connsiteY4" fmla="*/ 276225 h 443485"/>
                  <a:gd name="connsiteX0" fmla="*/ 0 w 720122"/>
                  <a:gd name="connsiteY0" fmla="*/ 203200 h 443485"/>
                  <a:gd name="connsiteX1" fmla="*/ 424847 w 720122"/>
                  <a:gd name="connsiteY1" fmla="*/ 0 h 443485"/>
                  <a:gd name="connsiteX2" fmla="*/ 720122 w 720122"/>
                  <a:gd name="connsiteY2" fmla="*/ 195835 h 443485"/>
                  <a:gd name="connsiteX3" fmla="*/ 396875 w 720122"/>
                  <a:gd name="connsiteY3" fmla="*/ 443485 h 443485"/>
                  <a:gd name="connsiteX4" fmla="*/ 0 w 720122"/>
                  <a:gd name="connsiteY4" fmla="*/ 203200 h 443485"/>
                  <a:gd name="connsiteX0" fmla="*/ 0 w 720122"/>
                  <a:gd name="connsiteY0" fmla="*/ 120650 h 360935"/>
                  <a:gd name="connsiteX1" fmla="*/ 250222 w 720122"/>
                  <a:gd name="connsiteY1" fmla="*/ 0 h 360935"/>
                  <a:gd name="connsiteX2" fmla="*/ 720122 w 720122"/>
                  <a:gd name="connsiteY2" fmla="*/ 113285 h 360935"/>
                  <a:gd name="connsiteX3" fmla="*/ 396875 w 720122"/>
                  <a:gd name="connsiteY3" fmla="*/ 360935 h 360935"/>
                  <a:gd name="connsiteX4" fmla="*/ 0 w 720122"/>
                  <a:gd name="connsiteY4" fmla="*/ 120650 h 360935"/>
                  <a:gd name="connsiteX0" fmla="*/ 0 w 612172"/>
                  <a:gd name="connsiteY0" fmla="*/ 120650 h 360935"/>
                  <a:gd name="connsiteX1" fmla="*/ 250222 w 612172"/>
                  <a:gd name="connsiteY1" fmla="*/ 0 h 360935"/>
                  <a:gd name="connsiteX2" fmla="*/ 612172 w 612172"/>
                  <a:gd name="connsiteY2" fmla="*/ 237110 h 360935"/>
                  <a:gd name="connsiteX3" fmla="*/ 396875 w 612172"/>
                  <a:gd name="connsiteY3" fmla="*/ 360935 h 360935"/>
                  <a:gd name="connsiteX4" fmla="*/ 0 w 612172"/>
                  <a:gd name="connsiteY4" fmla="*/ 120650 h 360935"/>
                  <a:gd name="connsiteX0" fmla="*/ 0 w 650272"/>
                  <a:gd name="connsiteY0" fmla="*/ 161925 h 360935"/>
                  <a:gd name="connsiteX1" fmla="*/ 288322 w 650272"/>
                  <a:gd name="connsiteY1" fmla="*/ 0 h 360935"/>
                  <a:gd name="connsiteX2" fmla="*/ 650272 w 650272"/>
                  <a:gd name="connsiteY2" fmla="*/ 237110 h 360935"/>
                  <a:gd name="connsiteX3" fmla="*/ 434975 w 650272"/>
                  <a:gd name="connsiteY3" fmla="*/ 360935 h 360935"/>
                  <a:gd name="connsiteX4" fmla="*/ 0 w 650272"/>
                  <a:gd name="connsiteY4" fmla="*/ 161925 h 360935"/>
                  <a:gd name="connsiteX0" fmla="*/ 0 w 650272"/>
                  <a:gd name="connsiteY0" fmla="*/ 123825 h 322835"/>
                  <a:gd name="connsiteX1" fmla="*/ 231172 w 650272"/>
                  <a:gd name="connsiteY1" fmla="*/ 0 h 322835"/>
                  <a:gd name="connsiteX2" fmla="*/ 650272 w 650272"/>
                  <a:gd name="connsiteY2" fmla="*/ 199010 h 322835"/>
                  <a:gd name="connsiteX3" fmla="*/ 434975 w 650272"/>
                  <a:gd name="connsiteY3" fmla="*/ 322835 h 322835"/>
                  <a:gd name="connsiteX4" fmla="*/ 0 w 650272"/>
                  <a:gd name="connsiteY4" fmla="*/ 123825 h 322835"/>
                  <a:gd name="connsiteX0" fmla="*/ 0 w 675672"/>
                  <a:gd name="connsiteY0" fmla="*/ 111125 h 322835"/>
                  <a:gd name="connsiteX1" fmla="*/ 256572 w 675672"/>
                  <a:gd name="connsiteY1" fmla="*/ 0 h 322835"/>
                  <a:gd name="connsiteX2" fmla="*/ 675672 w 675672"/>
                  <a:gd name="connsiteY2" fmla="*/ 199010 h 322835"/>
                  <a:gd name="connsiteX3" fmla="*/ 460375 w 675672"/>
                  <a:gd name="connsiteY3" fmla="*/ 322835 h 322835"/>
                  <a:gd name="connsiteX4" fmla="*/ 0 w 675672"/>
                  <a:gd name="connsiteY4" fmla="*/ 111125 h 322835"/>
                  <a:gd name="connsiteX0" fmla="*/ 0 w 675672"/>
                  <a:gd name="connsiteY0" fmla="*/ 111125 h 313310"/>
                  <a:gd name="connsiteX1" fmla="*/ 256572 w 675672"/>
                  <a:gd name="connsiteY1" fmla="*/ 0 h 313310"/>
                  <a:gd name="connsiteX2" fmla="*/ 675672 w 675672"/>
                  <a:gd name="connsiteY2" fmla="*/ 199010 h 313310"/>
                  <a:gd name="connsiteX3" fmla="*/ 447675 w 675672"/>
                  <a:gd name="connsiteY3" fmla="*/ 313310 h 313310"/>
                  <a:gd name="connsiteX4" fmla="*/ 0 w 675672"/>
                  <a:gd name="connsiteY4" fmla="*/ 111125 h 313310"/>
                  <a:gd name="connsiteX0" fmla="*/ 0 w 675672"/>
                  <a:gd name="connsiteY0" fmla="*/ 106362 h 308547"/>
                  <a:gd name="connsiteX1" fmla="*/ 247047 w 675672"/>
                  <a:gd name="connsiteY1" fmla="*/ 0 h 308547"/>
                  <a:gd name="connsiteX2" fmla="*/ 675672 w 675672"/>
                  <a:gd name="connsiteY2" fmla="*/ 194247 h 308547"/>
                  <a:gd name="connsiteX3" fmla="*/ 447675 w 675672"/>
                  <a:gd name="connsiteY3" fmla="*/ 308547 h 308547"/>
                  <a:gd name="connsiteX4" fmla="*/ 0 w 675672"/>
                  <a:gd name="connsiteY4" fmla="*/ 106362 h 308547"/>
                  <a:gd name="connsiteX0" fmla="*/ 0 w 635191"/>
                  <a:gd name="connsiteY0" fmla="*/ 125412 h 308547"/>
                  <a:gd name="connsiteX1" fmla="*/ 206566 w 635191"/>
                  <a:gd name="connsiteY1" fmla="*/ 0 h 308547"/>
                  <a:gd name="connsiteX2" fmla="*/ 635191 w 635191"/>
                  <a:gd name="connsiteY2" fmla="*/ 194247 h 308547"/>
                  <a:gd name="connsiteX3" fmla="*/ 407194 w 635191"/>
                  <a:gd name="connsiteY3" fmla="*/ 308547 h 308547"/>
                  <a:gd name="connsiteX4" fmla="*/ 0 w 635191"/>
                  <a:gd name="connsiteY4" fmla="*/ 125412 h 308547"/>
                  <a:gd name="connsiteX0" fmla="*/ 0 w 635191"/>
                  <a:gd name="connsiteY0" fmla="*/ 113506 h 296641"/>
                  <a:gd name="connsiteX1" fmla="*/ 242285 w 635191"/>
                  <a:gd name="connsiteY1" fmla="*/ 0 h 296641"/>
                  <a:gd name="connsiteX2" fmla="*/ 635191 w 635191"/>
                  <a:gd name="connsiteY2" fmla="*/ 182341 h 296641"/>
                  <a:gd name="connsiteX3" fmla="*/ 407194 w 635191"/>
                  <a:gd name="connsiteY3" fmla="*/ 296641 h 296641"/>
                  <a:gd name="connsiteX4" fmla="*/ 0 w 635191"/>
                  <a:gd name="connsiteY4" fmla="*/ 113506 h 296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191" h="296641">
                    <a:moveTo>
                      <a:pt x="0" y="113506"/>
                    </a:moveTo>
                    <a:lnTo>
                      <a:pt x="242285" y="0"/>
                    </a:lnTo>
                    <a:lnTo>
                      <a:pt x="635191" y="182341"/>
                    </a:lnTo>
                    <a:lnTo>
                      <a:pt x="407194" y="296641"/>
                    </a:lnTo>
                    <a:lnTo>
                      <a:pt x="0" y="113506"/>
                    </a:lnTo>
                    <a:close/>
                  </a:path>
                </a:pathLst>
              </a:custGeom>
              <a:solidFill>
                <a:schemeClr val="tx1">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4" name="Rectangle 20"/>
              <p:cNvSpPr/>
              <p:nvPr/>
            </p:nvSpPr>
            <p:spPr>
              <a:xfrm>
                <a:off x="5065047" y="916611"/>
                <a:ext cx="1399859" cy="656858"/>
              </a:xfrm>
              <a:custGeom>
                <a:avLst/>
                <a:gdLst>
                  <a:gd name="connsiteX0" fmla="*/ 0 w 402622"/>
                  <a:gd name="connsiteY0" fmla="*/ 0 h 252985"/>
                  <a:gd name="connsiteX1" fmla="*/ 402622 w 402622"/>
                  <a:gd name="connsiteY1" fmla="*/ 0 h 252985"/>
                  <a:gd name="connsiteX2" fmla="*/ 402622 w 402622"/>
                  <a:gd name="connsiteY2" fmla="*/ 252985 h 252985"/>
                  <a:gd name="connsiteX3" fmla="*/ 0 w 402622"/>
                  <a:gd name="connsiteY3" fmla="*/ 252985 h 252985"/>
                  <a:gd name="connsiteX4" fmla="*/ 0 w 402622"/>
                  <a:gd name="connsiteY4" fmla="*/ 0 h 252985"/>
                  <a:gd name="connsiteX0" fmla="*/ 0 w 402622"/>
                  <a:gd name="connsiteY0" fmla="*/ 114300 h 367285"/>
                  <a:gd name="connsiteX1" fmla="*/ 348647 w 402622"/>
                  <a:gd name="connsiteY1" fmla="*/ 0 h 367285"/>
                  <a:gd name="connsiteX2" fmla="*/ 402622 w 402622"/>
                  <a:gd name="connsiteY2" fmla="*/ 367285 h 367285"/>
                  <a:gd name="connsiteX3" fmla="*/ 0 w 402622"/>
                  <a:gd name="connsiteY3" fmla="*/ 367285 h 367285"/>
                  <a:gd name="connsiteX4" fmla="*/ 0 w 402622"/>
                  <a:gd name="connsiteY4" fmla="*/ 114300 h 367285"/>
                  <a:gd name="connsiteX0" fmla="*/ 0 w 643922"/>
                  <a:gd name="connsiteY0" fmla="*/ 114300 h 367285"/>
                  <a:gd name="connsiteX1" fmla="*/ 348647 w 643922"/>
                  <a:gd name="connsiteY1" fmla="*/ 0 h 367285"/>
                  <a:gd name="connsiteX2" fmla="*/ 643922 w 643922"/>
                  <a:gd name="connsiteY2" fmla="*/ 195835 h 367285"/>
                  <a:gd name="connsiteX3" fmla="*/ 0 w 643922"/>
                  <a:gd name="connsiteY3" fmla="*/ 367285 h 367285"/>
                  <a:gd name="connsiteX4" fmla="*/ 0 w 643922"/>
                  <a:gd name="connsiteY4" fmla="*/ 114300 h 367285"/>
                  <a:gd name="connsiteX0" fmla="*/ 0 w 643922"/>
                  <a:gd name="connsiteY0" fmla="*/ 114300 h 443485"/>
                  <a:gd name="connsiteX1" fmla="*/ 348647 w 643922"/>
                  <a:gd name="connsiteY1" fmla="*/ 0 h 443485"/>
                  <a:gd name="connsiteX2" fmla="*/ 643922 w 643922"/>
                  <a:gd name="connsiteY2" fmla="*/ 195835 h 443485"/>
                  <a:gd name="connsiteX3" fmla="*/ 320675 w 643922"/>
                  <a:gd name="connsiteY3" fmla="*/ 443485 h 443485"/>
                  <a:gd name="connsiteX4" fmla="*/ 0 w 643922"/>
                  <a:gd name="connsiteY4" fmla="*/ 114300 h 443485"/>
                  <a:gd name="connsiteX0" fmla="*/ 0 w 659797"/>
                  <a:gd name="connsiteY0" fmla="*/ 276225 h 443485"/>
                  <a:gd name="connsiteX1" fmla="*/ 364522 w 659797"/>
                  <a:gd name="connsiteY1" fmla="*/ 0 h 443485"/>
                  <a:gd name="connsiteX2" fmla="*/ 659797 w 659797"/>
                  <a:gd name="connsiteY2" fmla="*/ 195835 h 443485"/>
                  <a:gd name="connsiteX3" fmla="*/ 336550 w 659797"/>
                  <a:gd name="connsiteY3" fmla="*/ 443485 h 443485"/>
                  <a:gd name="connsiteX4" fmla="*/ 0 w 659797"/>
                  <a:gd name="connsiteY4" fmla="*/ 276225 h 443485"/>
                  <a:gd name="connsiteX0" fmla="*/ 0 w 720122"/>
                  <a:gd name="connsiteY0" fmla="*/ 203200 h 443485"/>
                  <a:gd name="connsiteX1" fmla="*/ 424847 w 720122"/>
                  <a:gd name="connsiteY1" fmla="*/ 0 h 443485"/>
                  <a:gd name="connsiteX2" fmla="*/ 720122 w 720122"/>
                  <a:gd name="connsiteY2" fmla="*/ 195835 h 443485"/>
                  <a:gd name="connsiteX3" fmla="*/ 396875 w 720122"/>
                  <a:gd name="connsiteY3" fmla="*/ 443485 h 443485"/>
                  <a:gd name="connsiteX4" fmla="*/ 0 w 720122"/>
                  <a:gd name="connsiteY4" fmla="*/ 203200 h 443485"/>
                  <a:gd name="connsiteX0" fmla="*/ 0 w 720122"/>
                  <a:gd name="connsiteY0" fmla="*/ 120650 h 360935"/>
                  <a:gd name="connsiteX1" fmla="*/ 250222 w 720122"/>
                  <a:gd name="connsiteY1" fmla="*/ 0 h 360935"/>
                  <a:gd name="connsiteX2" fmla="*/ 720122 w 720122"/>
                  <a:gd name="connsiteY2" fmla="*/ 113285 h 360935"/>
                  <a:gd name="connsiteX3" fmla="*/ 396875 w 720122"/>
                  <a:gd name="connsiteY3" fmla="*/ 360935 h 360935"/>
                  <a:gd name="connsiteX4" fmla="*/ 0 w 720122"/>
                  <a:gd name="connsiteY4" fmla="*/ 120650 h 360935"/>
                  <a:gd name="connsiteX0" fmla="*/ 0 w 612172"/>
                  <a:gd name="connsiteY0" fmla="*/ 120650 h 360935"/>
                  <a:gd name="connsiteX1" fmla="*/ 250222 w 612172"/>
                  <a:gd name="connsiteY1" fmla="*/ 0 h 360935"/>
                  <a:gd name="connsiteX2" fmla="*/ 612172 w 612172"/>
                  <a:gd name="connsiteY2" fmla="*/ 237110 h 360935"/>
                  <a:gd name="connsiteX3" fmla="*/ 396875 w 612172"/>
                  <a:gd name="connsiteY3" fmla="*/ 360935 h 360935"/>
                  <a:gd name="connsiteX4" fmla="*/ 0 w 612172"/>
                  <a:gd name="connsiteY4" fmla="*/ 120650 h 360935"/>
                  <a:gd name="connsiteX0" fmla="*/ 0 w 650272"/>
                  <a:gd name="connsiteY0" fmla="*/ 161925 h 360935"/>
                  <a:gd name="connsiteX1" fmla="*/ 288322 w 650272"/>
                  <a:gd name="connsiteY1" fmla="*/ 0 h 360935"/>
                  <a:gd name="connsiteX2" fmla="*/ 650272 w 650272"/>
                  <a:gd name="connsiteY2" fmla="*/ 237110 h 360935"/>
                  <a:gd name="connsiteX3" fmla="*/ 434975 w 650272"/>
                  <a:gd name="connsiteY3" fmla="*/ 360935 h 360935"/>
                  <a:gd name="connsiteX4" fmla="*/ 0 w 650272"/>
                  <a:gd name="connsiteY4" fmla="*/ 161925 h 360935"/>
                  <a:gd name="connsiteX0" fmla="*/ 0 w 650272"/>
                  <a:gd name="connsiteY0" fmla="*/ 123825 h 322835"/>
                  <a:gd name="connsiteX1" fmla="*/ 231172 w 650272"/>
                  <a:gd name="connsiteY1" fmla="*/ 0 h 322835"/>
                  <a:gd name="connsiteX2" fmla="*/ 650272 w 650272"/>
                  <a:gd name="connsiteY2" fmla="*/ 199010 h 322835"/>
                  <a:gd name="connsiteX3" fmla="*/ 434975 w 650272"/>
                  <a:gd name="connsiteY3" fmla="*/ 322835 h 322835"/>
                  <a:gd name="connsiteX4" fmla="*/ 0 w 650272"/>
                  <a:gd name="connsiteY4" fmla="*/ 123825 h 322835"/>
                  <a:gd name="connsiteX0" fmla="*/ 0 w 675672"/>
                  <a:gd name="connsiteY0" fmla="*/ 111125 h 322835"/>
                  <a:gd name="connsiteX1" fmla="*/ 256572 w 675672"/>
                  <a:gd name="connsiteY1" fmla="*/ 0 h 322835"/>
                  <a:gd name="connsiteX2" fmla="*/ 675672 w 675672"/>
                  <a:gd name="connsiteY2" fmla="*/ 199010 h 322835"/>
                  <a:gd name="connsiteX3" fmla="*/ 460375 w 675672"/>
                  <a:gd name="connsiteY3" fmla="*/ 322835 h 322835"/>
                  <a:gd name="connsiteX4" fmla="*/ 0 w 675672"/>
                  <a:gd name="connsiteY4" fmla="*/ 111125 h 322835"/>
                  <a:gd name="connsiteX0" fmla="*/ 0 w 675672"/>
                  <a:gd name="connsiteY0" fmla="*/ 111125 h 313310"/>
                  <a:gd name="connsiteX1" fmla="*/ 256572 w 675672"/>
                  <a:gd name="connsiteY1" fmla="*/ 0 h 313310"/>
                  <a:gd name="connsiteX2" fmla="*/ 675672 w 675672"/>
                  <a:gd name="connsiteY2" fmla="*/ 199010 h 313310"/>
                  <a:gd name="connsiteX3" fmla="*/ 447675 w 675672"/>
                  <a:gd name="connsiteY3" fmla="*/ 313310 h 313310"/>
                  <a:gd name="connsiteX4" fmla="*/ 0 w 675672"/>
                  <a:gd name="connsiteY4" fmla="*/ 111125 h 313310"/>
                  <a:gd name="connsiteX0" fmla="*/ 0 w 675672"/>
                  <a:gd name="connsiteY0" fmla="*/ 106362 h 308547"/>
                  <a:gd name="connsiteX1" fmla="*/ 247047 w 675672"/>
                  <a:gd name="connsiteY1" fmla="*/ 0 h 308547"/>
                  <a:gd name="connsiteX2" fmla="*/ 675672 w 675672"/>
                  <a:gd name="connsiteY2" fmla="*/ 194247 h 308547"/>
                  <a:gd name="connsiteX3" fmla="*/ 447675 w 675672"/>
                  <a:gd name="connsiteY3" fmla="*/ 308547 h 308547"/>
                  <a:gd name="connsiteX4" fmla="*/ 0 w 675672"/>
                  <a:gd name="connsiteY4" fmla="*/ 106362 h 308547"/>
                  <a:gd name="connsiteX0" fmla="*/ 0 w 647097"/>
                  <a:gd name="connsiteY0" fmla="*/ 115887 h 308547"/>
                  <a:gd name="connsiteX1" fmla="*/ 218472 w 647097"/>
                  <a:gd name="connsiteY1" fmla="*/ 0 h 308547"/>
                  <a:gd name="connsiteX2" fmla="*/ 647097 w 647097"/>
                  <a:gd name="connsiteY2" fmla="*/ 194247 h 308547"/>
                  <a:gd name="connsiteX3" fmla="*/ 419100 w 647097"/>
                  <a:gd name="connsiteY3" fmla="*/ 308547 h 308547"/>
                  <a:gd name="connsiteX4" fmla="*/ 0 w 647097"/>
                  <a:gd name="connsiteY4" fmla="*/ 115887 h 308547"/>
                  <a:gd name="connsiteX0" fmla="*/ 0 w 647097"/>
                  <a:gd name="connsiteY0" fmla="*/ 108744 h 301404"/>
                  <a:gd name="connsiteX1" fmla="*/ 232759 w 647097"/>
                  <a:gd name="connsiteY1" fmla="*/ 0 h 301404"/>
                  <a:gd name="connsiteX2" fmla="*/ 647097 w 647097"/>
                  <a:gd name="connsiteY2" fmla="*/ 187104 h 301404"/>
                  <a:gd name="connsiteX3" fmla="*/ 419100 w 647097"/>
                  <a:gd name="connsiteY3" fmla="*/ 301404 h 301404"/>
                  <a:gd name="connsiteX4" fmla="*/ 0 w 647097"/>
                  <a:gd name="connsiteY4" fmla="*/ 108744 h 301404"/>
                  <a:gd name="connsiteX0" fmla="*/ 0 w 642335"/>
                  <a:gd name="connsiteY0" fmla="*/ 108744 h 301404"/>
                  <a:gd name="connsiteX1" fmla="*/ 232759 w 642335"/>
                  <a:gd name="connsiteY1" fmla="*/ 0 h 301404"/>
                  <a:gd name="connsiteX2" fmla="*/ 642335 w 642335"/>
                  <a:gd name="connsiteY2" fmla="*/ 187104 h 301404"/>
                  <a:gd name="connsiteX3" fmla="*/ 419100 w 642335"/>
                  <a:gd name="connsiteY3" fmla="*/ 301404 h 301404"/>
                  <a:gd name="connsiteX4" fmla="*/ 0 w 642335"/>
                  <a:gd name="connsiteY4" fmla="*/ 108744 h 301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335" h="301404">
                    <a:moveTo>
                      <a:pt x="0" y="108744"/>
                    </a:moveTo>
                    <a:lnTo>
                      <a:pt x="232759" y="0"/>
                    </a:lnTo>
                    <a:lnTo>
                      <a:pt x="642335" y="187104"/>
                    </a:lnTo>
                    <a:lnTo>
                      <a:pt x="419100" y="301404"/>
                    </a:lnTo>
                    <a:lnTo>
                      <a:pt x="0" y="108744"/>
                    </a:lnTo>
                    <a:close/>
                  </a:path>
                </a:pathLst>
              </a:custGeom>
              <a:solidFill>
                <a:schemeClr val="tx1">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5" name="Rectangle 20"/>
              <p:cNvSpPr/>
              <p:nvPr/>
            </p:nvSpPr>
            <p:spPr>
              <a:xfrm>
                <a:off x="5881077" y="534784"/>
                <a:ext cx="1384290" cy="646478"/>
              </a:xfrm>
              <a:custGeom>
                <a:avLst/>
                <a:gdLst>
                  <a:gd name="connsiteX0" fmla="*/ 0 w 402622"/>
                  <a:gd name="connsiteY0" fmla="*/ 0 h 252985"/>
                  <a:gd name="connsiteX1" fmla="*/ 402622 w 402622"/>
                  <a:gd name="connsiteY1" fmla="*/ 0 h 252985"/>
                  <a:gd name="connsiteX2" fmla="*/ 402622 w 402622"/>
                  <a:gd name="connsiteY2" fmla="*/ 252985 h 252985"/>
                  <a:gd name="connsiteX3" fmla="*/ 0 w 402622"/>
                  <a:gd name="connsiteY3" fmla="*/ 252985 h 252985"/>
                  <a:gd name="connsiteX4" fmla="*/ 0 w 402622"/>
                  <a:gd name="connsiteY4" fmla="*/ 0 h 252985"/>
                  <a:gd name="connsiteX0" fmla="*/ 0 w 402622"/>
                  <a:gd name="connsiteY0" fmla="*/ 114300 h 367285"/>
                  <a:gd name="connsiteX1" fmla="*/ 348647 w 402622"/>
                  <a:gd name="connsiteY1" fmla="*/ 0 h 367285"/>
                  <a:gd name="connsiteX2" fmla="*/ 402622 w 402622"/>
                  <a:gd name="connsiteY2" fmla="*/ 367285 h 367285"/>
                  <a:gd name="connsiteX3" fmla="*/ 0 w 402622"/>
                  <a:gd name="connsiteY3" fmla="*/ 367285 h 367285"/>
                  <a:gd name="connsiteX4" fmla="*/ 0 w 402622"/>
                  <a:gd name="connsiteY4" fmla="*/ 114300 h 367285"/>
                  <a:gd name="connsiteX0" fmla="*/ 0 w 643922"/>
                  <a:gd name="connsiteY0" fmla="*/ 114300 h 367285"/>
                  <a:gd name="connsiteX1" fmla="*/ 348647 w 643922"/>
                  <a:gd name="connsiteY1" fmla="*/ 0 h 367285"/>
                  <a:gd name="connsiteX2" fmla="*/ 643922 w 643922"/>
                  <a:gd name="connsiteY2" fmla="*/ 195835 h 367285"/>
                  <a:gd name="connsiteX3" fmla="*/ 0 w 643922"/>
                  <a:gd name="connsiteY3" fmla="*/ 367285 h 367285"/>
                  <a:gd name="connsiteX4" fmla="*/ 0 w 643922"/>
                  <a:gd name="connsiteY4" fmla="*/ 114300 h 367285"/>
                  <a:gd name="connsiteX0" fmla="*/ 0 w 643922"/>
                  <a:gd name="connsiteY0" fmla="*/ 114300 h 443485"/>
                  <a:gd name="connsiteX1" fmla="*/ 348647 w 643922"/>
                  <a:gd name="connsiteY1" fmla="*/ 0 h 443485"/>
                  <a:gd name="connsiteX2" fmla="*/ 643922 w 643922"/>
                  <a:gd name="connsiteY2" fmla="*/ 195835 h 443485"/>
                  <a:gd name="connsiteX3" fmla="*/ 320675 w 643922"/>
                  <a:gd name="connsiteY3" fmla="*/ 443485 h 443485"/>
                  <a:gd name="connsiteX4" fmla="*/ 0 w 643922"/>
                  <a:gd name="connsiteY4" fmla="*/ 114300 h 443485"/>
                  <a:gd name="connsiteX0" fmla="*/ 0 w 659797"/>
                  <a:gd name="connsiteY0" fmla="*/ 276225 h 443485"/>
                  <a:gd name="connsiteX1" fmla="*/ 364522 w 659797"/>
                  <a:gd name="connsiteY1" fmla="*/ 0 h 443485"/>
                  <a:gd name="connsiteX2" fmla="*/ 659797 w 659797"/>
                  <a:gd name="connsiteY2" fmla="*/ 195835 h 443485"/>
                  <a:gd name="connsiteX3" fmla="*/ 336550 w 659797"/>
                  <a:gd name="connsiteY3" fmla="*/ 443485 h 443485"/>
                  <a:gd name="connsiteX4" fmla="*/ 0 w 659797"/>
                  <a:gd name="connsiteY4" fmla="*/ 276225 h 443485"/>
                  <a:gd name="connsiteX0" fmla="*/ 0 w 720122"/>
                  <a:gd name="connsiteY0" fmla="*/ 203200 h 443485"/>
                  <a:gd name="connsiteX1" fmla="*/ 424847 w 720122"/>
                  <a:gd name="connsiteY1" fmla="*/ 0 h 443485"/>
                  <a:gd name="connsiteX2" fmla="*/ 720122 w 720122"/>
                  <a:gd name="connsiteY2" fmla="*/ 195835 h 443485"/>
                  <a:gd name="connsiteX3" fmla="*/ 396875 w 720122"/>
                  <a:gd name="connsiteY3" fmla="*/ 443485 h 443485"/>
                  <a:gd name="connsiteX4" fmla="*/ 0 w 720122"/>
                  <a:gd name="connsiteY4" fmla="*/ 203200 h 443485"/>
                  <a:gd name="connsiteX0" fmla="*/ 0 w 720122"/>
                  <a:gd name="connsiteY0" fmla="*/ 120650 h 360935"/>
                  <a:gd name="connsiteX1" fmla="*/ 250222 w 720122"/>
                  <a:gd name="connsiteY1" fmla="*/ 0 h 360935"/>
                  <a:gd name="connsiteX2" fmla="*/ 720122 w 720122"/>
                  <a:gd name="connsiteY2" fmla="*/ 113285 h 360935"/>
                  <a:gd name="connsiteX3" fmla="*/ 396875 w 720122"/>
                  <a:gd name="connsiteY3" fmla="*/ 360935 h 360935"/>
                  <a:gd name="connsiteX4" fmla="*/ 0 w 720122"/>
                  <a:gd name="connsiteY4" fmla="*/ 120650 h 360935"/>
                  <a:gd name="connsiteX0" fmla="*/ 0 w 612172"/>
                  <a:gd name="connsiteY0" fmla="*/ 120650 h 360935"/>
                  <a:gd name="connsiteX1" fmla="*/ 250222 w 612172"/>
                  <a:gd name="connsiteY1" fmla="*/ 0 h 360935"/>
                  <a:gd name="connsiteX2" fmla="*/ 612172 w 612172"/>
                  <a:gd name="connsiteY2" fmla="*/ 237110 h 360935"/>
                  <a:gd name="connsiteX3" fmla="*/ 396875 w 612172"/>
                  <a:gd name="connsiteY3" fmla="*/ 360935 h 360935"/>
                  <a:gd name="connsiteX4" fmla="*/ 0 w 612172"/>
                  <a:gd name="connsiteY4" fmla="*/ 120650 h 360935"/>
                  <a:gd name="connsiteX0" fmla="*/ 0 w 650272"/>
                  <a:gd name="connsiteY0" fmla="*/ 161925 h 360935"/>
                  <a:gd name="connsiteX1" fmla="*/ 288322 w 650272"/>
                  <a:gd name="connsiteY1" fmla="*/ 0 h 360935"/>
                  <a:gd name="connsiteX2" fmla="*/ 650272 w 650272"/>
                  <a:gd name="connsiteY2" fmla="*/ 237110 h 360935"/>
                  <a:gd name="connsiteX3" fmla="*/ 434975 w 650272"/>
                  <a:gd name="connsiteY3" fmla="*/ 360935 h 360935"/>
                  <a:gd name="connsiteX4" fmla="*/ 0 w 650272"/>
                  <a:gd name="connsiteY4" fmla="*/ 161925 h 360935"/>
                  <a:gd name="connsiteX0" fmla="*/ 0 w 650272"/>
                  <a:gd name="connsiteY0" fmla="*/ 123825 h 322835"/>
                  <a:gd name="connsiteX1" fmla="*/ 231172 w 650272"/>
                  <a:gd name="connsiteY1" fmla="*/ 0 h 322835"/>
                  <a:gd name="connsiteX2" fmla="*/ 650272 w 650272"/>
                  <a:gd name="connsiteY2" fmla="*/ 199010 h 322835"/>
                  <a:gd name="connsiteX3" fmla="*/ 434975 w 650272"/>
                  <a:gd name="connsiteY3" fmla="*/ 322835 h 322835"/>
                  <a:gd name="connsiteX4" fmla="*/ 0 w 650272"/>
                  <a:gd name="connsiteY4" fmla="*/ 123825 h 322835"/>
                  <a:gd name="connsiteX0" fmla="*/ 0 w 675672"/>
                  <a:gd name="connsiteY0" fmla="*/ 111125 h 322835"/>
                  <a:gd name="connsiteX1" fmla="*/ 256572 w 675672"/>
                  <a:gd name="connsiteY1" fmla="*/ 0 h 322835"/>
                  <a:gd name="connsiteX2" fmla="*/ 675672 w 675672"/>
                  <a:gd name="connsiteY2" fmla="*/ 199010 h 322835"/>
                  <a:gd name="connsiteX3" fmla="*/ 460375 w 675672"/>
                  <a:gd name="connsiteY3" fmla="*/ 322835 h 322835"/>
                  <a:gd name="connsiteX4" fmla="*/ 0 w 675672"/>
                  <a:gd name="connsiteY4" fmla="*/ 111125 h 322835"/>
                  <a:gd name="connsiteX0" fmla="*/ 0 w 675672"/>
                  <a:gd name="connsiteY0" fmla="*/ 111125 h 313310"/>
                  <a:gd name="connsiteX1" fmla="*/ 256572 w 675672"/>
                  <a:gd name="connsiteY1" fmla="*/ 0 h 313310"/>
                  <a:gd name="connsiteX2" fmla="*/ 675672 w 675672"/>
                  <a:gd name="connsiteY2" fmla="*/ 199010 h 313310"/>
                  <a:gd name="connsiteX3" fmla="*/ 447675 w 675672"/>
                  <a:gd name="connsiteY3" fmla="*/ 313310 h 313310"/>
                  <a:gd name="connsiteX4" fmla="*/ 0 w 675672"/>
                  <a:gd name="connsiteY4" fmla="*/ 111125 h 313310"/>
                  <a:gd name="connsiteX0" fmla="*/ 0 w 675672"/>
                  <a:gd name="connsiteY0" fmla="*/ 106362 h 308547"/>
                  <a:gd name="connsiteX1" fmla="*/ 247047 w 675672"/>
                  <a:gd name="connsiteY1" fmla="*/ 0 h 308547"/>
                  <a:gd name="connsiteX2" fmla="*/ 675672 w 675672"/>
                  <a:gd name="connsiteY2" fmla="*/ 194247 h 308547"/>
                  <a:gd name="connsiteX3" fmla="*/ 447675 w 675672"/>
                  <a:gd name="connsiteY3" fmla="*/ 308547 h 308547"/>
                  <a:gd name="connsiteX4" fmla="*/ 0 w 675672"/>
                  <a:gd name="connsiteY4" fmla="*/ 106362 h 308547"/>
                  <a:gd name="connsiteX0" fmla="*/ 0 w 635191"/>
                  <a:gd name="connsiteY0" fmla="*/ 125412 h 308547"/>
                  <a:gd name="connsiteX1" fmla="*/ 206566 w 635191"/>
                  <a:gd name="connsiteY1" fmla="*/ 0 h 308547"/>
                  <a:gd name="connsiteX2" fmla="*/ 635191 w 635191"/>
                  <a:gd name="connsiteY2" fmla="*/ 194247 h 308547"/>
                  <a:gd name="connsiteX3" fmla="*/ 407194 w 635191"/>
                  <a:gd name="connsiteY3" fmla="*/ 308547 h 308547"/>
                  <a:gd name="connsiteX4" fmla="*/ 0 w 635191"/>
                  <a:gd name="connsiteY4" fmla="*/ 125412 h 308547"/>
                  <a:gd name="connsiteX0" fmla="*/ 0 w 635191"/>
                  <a:gd name="connsiteY0" fmla="*/ 113506 h 296641"/>
                  <a:gd name="connsiteX1" fmla="*/ 242285 w 635191"/>
                  <a:gd name="connsiteY1" fmla="*/ 0 h 296641"/>
                  <a:gd name="connsiteX2" fmla="*/ 635191 w 635191"/>
                  <a:gd name="connsiteY2" fmla="*/ 182341 h 296641"/>
                  <a:gd name="connsiteX3" fmla="*/ 407194 w 635191"/>
                  <a:gd name="connsiteY3" fmla="*/ 296641 h 296641"/>
                  <a:gd name="connsiteX4" fmla="*/ 0 w 635191"/>
                  <a:gd name="connsiteY4" fmla="*/ 113506 h 296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191" h="296641">
                    <a:moveTo>
                      <a:pt x="0" y="113506"/>
                    </a:moveTo>
                    <a:lnTo>
                      <a:pt x="242285" y="0"/>
                    </a:lnTo>
                    <a:lnTo>
                      <a:pt x="635191" y="182341"/>
                    </a:lnTo>
                    <a:lnTo>
                      <a:pt x="407194" y="296641"/>
                    </a:lnTo>
                    <a:lnTo>
                      <a:pt x="0" y="113506"/>
                    </a:lnTo>
                    <a:close/>
                  </a:path>
                </a:pathLst>
              </a:custGeom>
              <a:solidFill>
                <a:schemeClr val="tx1">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cxnSp>
        <p:nvCxnSpPr>
          <p:cNvPr id="49" name="Straight Connector 48"/>
          <p:cNvCxnSpPr/>
          <p:nvPr>
            <p:custDataLst>
              <p:tags r:id="rId2"/>
            </p:custDataLst>
          </p:nvPr>
        </p:nvCxnSpPr>
        <p:spPr>
          <a:xfrm flipV="1">
            <a:off x="7375629" y="4381832"/>
            <a:ext cx="356403" cy="342568"/>
          </a:xfrm>
          <a:prstGeom prst="line">
            <a:avLst/>
          </a:prstGeom>
          <a:noFill/>
          <a:ln w="25400" cap="flat" cmpd="sng" algn="ctr">
            <a:solidFill>
              <a:srgbClr val="00B0F0"/>
            </a:solidFill>
            <a:prstDash val="solid"/>
          </a:ln>
          <a:effectLst/>
        </p:spPr>
      </p:cxnSp>
      <p:sp>
        <p:nvSpPr>
          <p:cNvPr id="50" name="TextBox 49"/>
          <p:cNvSpPr txBox="1"/>
          <p:nvPr>
            <p:custDataLst>
              <p:tags r:id="rId3"/>
            </p:custDataLst>
          </p:nvPr>
        </p:nvSpPr>
        <p:spPr>
          <a:xfrm>
            <a:off x="7510908" y="4089484"/>
            <a:ext cx="1175892" cy="41549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solidFill>
                    <a:schemeClr val="bg1">
                      <a:alpha val="0"/>
                    </a:schemeClr>
                  </a:solidFill>
                </a:ln>
                <a:effectLst/>
                <a:uLnTx/>
                <a:uFillTx/>
              </a:rPr>
              <a:t>Physical Cores (6)</a:t>
            </a:r>
            <a:endParaRPr kumimoji="0" lang="en-US" sz="1050" b="0" i="0" u="none" strike="noStrike" kern="0" cap="none" spc="0" normalizeH="0" baseline="0" noProof="0" dirty="0" smtClean="0">
              <a:ln>
                <a:solidFill>
                  <a:schemeClr val="bg1">
                    <a:alpha val="0"/>
                  </a:schemeClr>
                </a:solidFill>
              </a:ln>
              <a:effectLst/>
              <a:uLnTx/>
              <a:uFillTx/>
            </a:endParaRPr>
          </a:p>
        </p:txBody>
      </p:sp>
      <p:cxnSp>
        <p:nvCxnSpPr>
          <p:cNvPr id="51" name="Straight Connector 50"/>
          <p:cNvCxnSpPr>
            <a:stCxn id="40" idx="6"/>
          </p:cNvCxnSpPr>
          <p:nvPr>
            <p:custDataLst>
              <p:tags r:id="rId4"/>
            </p:custDataLst>
          </p:nvPr>
        </p:nvCxnSpPr>
        <p:spPr>
          <a:xfrm flipH="1" flipV="1">
            <a:off x="7076391" y="4041271"/>
            <a:ext cx="18182" cy="389764"/>
          </a:xfrm>
          <a:prstGeom prst="line">
            <a:avLst/>
          </a:prstGeom>
          <a:noFill/>
          <a:ln w="25400" cap="flat" cmpd="sng" algn="ctr">
            <a:solidFill>
              <a:srgbClr val="00B0F0"/>
            </a:solidFill>
            <a:prstDash val="solid"/>
          </a:ln>
          <a:effectLst/>
        </p:spPr>
      </p:cxnSp>
      <p:sp>
        <p:nvSpPr>
          <p:cNvPr id="52" name="TextBox 51"/>
          <p:cNvSpPr txBox="1"/>
          <p:nvPr>
            <p:custDataLst>
              <p:tags r:id="rId5"/>
            </p:custDataLst>
          </p:nvPr>
        </p:nvSpPr>
        <p:spPr>
          <a:xfrm>
            <a:off x="6172200" y="3733800"/>
            <a:ext cx="1435510" cy="41549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solidFill>
                    <a:schemeClr val="bg1">
                      <a:alpha val="0"/>
                    </a:schemeClr>
                  </a:solidFill>
                </a:ln>
                <a:effectLst/>
                <a:uLnTx/>
                <a:uFillTx/>
              </a:rPr>
              <a:t>Physical Processors (4)</a:t>
            </a:r>
            <a:endParaRPr kumimoji="0" lang="en-US" sz="1050" b="0" i="0" u="none" strike="noStrike" kern="0" cap="none" spc="0" normalizeH="0" baseline="0" noProof="0" dirty="0" smtClean="0">
              <a:ln>
                <a:solidFill>
                  <a:schemeClr val="bg1">
                    <a:alpha val="0"/>
                  </a:schemeClr>
                </a:solidFill>
              </a:ln>
              <a:effectLst/>
              <a:uLnTx/>
              <a:uFillTx/>
            </a:endParaRPr>
          </a:p>
        </p:txBody>
      </p:sp>
      <p:cxnSp>
        <p:nvCxnSpPr>
          <p:cNvPr id="53" name="Straight Connector 52"/>
          <p:cNvCxnSpPr/>
          <p:nvPr>
            <p:custDataLst>
              <p:tags r:id="rId6"/>
            </p:custDataLst>
          </p:nvPr>
        </p:nvCxnSpPr>
        <p:spPr>
          <a:xfrm>
            <a:off x="6013073" y="4489096"/>
            <a:ext cx="41744" cy="341801"/>
          </a:xfrm>
          <a:prstGeom prst="line">
            <a:avLst/>
          </a:prstGeom>
          <a:noFill/>
          <a:ln w="25400" cap="flat" cmpd="sng" algn="ctr">
            <a:solidFill>
              <a:srgbClr val="00B0F0"/>
            </a:solidFill>
            <a:prstDash val="solid"/>
          </a:ln>
          <a:effectLst/>
        </p:spPr>
      </p:cxnSp>
      <p:sp>
        <p:nvSpPr>
          <p:cNvPr id="54" name="TextBox 53"/>
          <p:cNvSpPr txBox="1"/>
          <p:nvPr>
            <p:custDataLst>
              <p:tags r:id="rId7"/>
            </p:custDataLst>
          </p:nvPr>
        </p:nvSpPr>
        <p:spPr>
          <a:xfrm>
            <a:off x="5410200" y="4080302"/>
            <a:ext cx="1126877" cy="41549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solidFill>
                    <a:schemeClr val="bg1">
                      <a:alpha val="0"/>
                    </a:schemeClr>
                  </a:solidFill>
                </a:ln>
                <a:effectLst/>
                <a:uLnTx/>
                <a:uFillTx/>
              </a:rPr>
              <a:t>Physical Server (1)</a:t>
            </a:r>
            <a:endParaRPr kumimoji="0" lang="en-US" sz="1050" b="0" i="0" u="none" strike="noStrike" kern="0" cap="none" spc="0" normalizeH="0" baseline="0" noProof="0" dirty="0" smtClean="0">
              <a:ln>
                <a:solidFill>
                  <a:schemeClr val="bg1">
                    <a:alpha val="0"/>
                  </a:schemeClr>
                </a:solidFill>
              </a:ln>
              <a:effectLst/>
              <a:uLnTx/>
              <a:uFillTx/>
            </a:endParaRPr>
          </a:p>
        </p:txBody>
      </p:sp>
      <p:sp>
        <p:nvSpPr>
          <p:cNvPr id="56" name="Rectangle 4"/>
          <p:cNvSpPr>
            <a:spLocks noChangeArrowheads="1"/>
          </p:cNvSpPr>
          <p:nvPr/>
        </p:nvSpPr>
        <p:spPr bwMode="auto">
          <a:xfrm>
            <a:off x="2681878" y="4171167"/>
            <a:ext cx="1803466" cy="1598612"/>
          </a:xfrm>
          <a:prstGeom prst="rect">
            <a:avLst/>
          </a:prstGeom>
          <a:gradFill>
            <a:gsLst>
              <a:gs pos="29000">
                <a:srgbClr val="FF66FF"/>
              </a:gs>
              <a:gs pos="70000">
                <a:srgbClr val="FFCCFF"/>
              </a:gs>
            </a:gsLst>
          </a:gradFill>
          <a:ln>
            <a:headEnd/>
            <a:tailEnd/>
          </a:ln>
        </p:spPr>
        <p:style>
          <a:lnRef idx="0">
            <a:schemeClr val="accent4"/>
          </a:lnRef>
          <a:fillRef idx="3">
            <a:schemeClr val="accent4"/>
          </a:fillRef>
          <a:effectRef idx="3">
            <a:schemeClr val="accent4"/>
          </a:effectRef>
          <a:fontRef idx="minor">
            <a:schemeClr val="lt1"/>
          </a:fontRef>
        </p:style>
        <p:txBody>
          <a:bodyPr wrap="none" anchor="ctr"/>
          <a:lstStyle/>
          <a:p>
            <a:pPr algn="ctr" fontAlgn="auto">
              <a:spcAft>
                <a:spcPts val="0"/>
              </a:spcAft>
              <a:defRPr/>
            </a:pPr>
            <a:r>
              <a:rPr lang="zh-TW" altLang="en-US" sz="2000" b="1" dirty="0" smtClean="0">
                <a:solidFill>
                  <a:schemeClr val="tx1"/>
                </a:solidFill>
                <a:latin typeface="微軟正黑體" pitchFamily="34" charset="-120"/>
                <a:ea typeface="微軟正黑體" pitchFamily="34" charset="-120"/>
              </a:rPr>
              <a:t>處</a:t>
            </a:r>
            <a:r>
              <a:rPr lang="zh-TW" altLang="en-US" sz="2000" b="1" dirty="0">
                <a:solidFill>
                  <a:schemeClr val="tx1"/>
                </a:solidFill>
                <a:latin typeface="微軟正黑體" pitchFamily="34" charset="-120"/>
                <a:ea typeface="微軟正黑體" pitchFamily="34" charset="-120"/>
              </a:rPr>
              <a:t>理</a:t>
            </a:r>
            <a:r>
              <a:rPr kumimoji="0" lang="zh-TW" altLang="en-US" sz="2000" b="1" dirty="0" smtClean="0">
                <a:solidFill>
                  <a:schemeClr val="tx1"/>
                </a:solidFill>
                <a:latin typeface="微軟正黑體" pitchFamily="34" charset="-120"/>
                <a:ea typeface="微軟正黑體" pitchFamily="34" charset="-120"/>
              </a:rPr>
              <a:t>器授權</a:t>
            </a:r>
            <a:endParaRPr kumimoji="0" lang="en-US" altLang="zh-TW" sz="2000" b="1" dirty="0" smtClean="0">
              <a:solidFill>
                <a:schemeClr val="tx1"/>
              </a:solidFill>
              <a:latin typeface="微軟正黑體" pitchFamily="34" charset="-120"/>
              <a:ea typeface="微軟正黑體" pitchFamily="34" charset="-120"/>
            </a:endParaRPr>
          </a:p>
          <a:p>
            <a:pPr algn="ctr" fontAlgn="auto">
              <a:spcAft>
                <a:spcPts val="0"/>
              </a:spcAft>
              <a:defRPr/>
            </a:pPr>
            <a:r>
              <a:rPr kumimoji="0" lang="en-US" altLang="zh-TW" sz="2000" b="1" dirty="0" smtClean="0">
                <a:solidFill>
                  <a:schemeClr val="tx1"/>
                </a:solidFill>
                <a:latin typeface="微軟正黑體" pitchFamily="34" charset="-120"/>
                <a:ea typeface="微軟正黑體" pitchFamily="34" charset="-120"/>
              </a:rPr>
              <a:t>(Processor)</a:t>
            </a:r>
            <a:endParaRPr kumimoji="0" lang="zh-TW" altLang="en-US" sz="2000" b="1" dirty="0">
              <a:solidFill>
                <a:schemeClr val="tx1"/>
              </a:solidFill>
              <a:latin typeface="微軟正黑體" pitchFamily="34" charset="-120"/>
              <a:ea typeface="微軟正黑體" pitchFamily="34" charset="-120"/>
            </a:endParaRPr>
          </a:p>
        </p:txBody>
      </p:sp>
      <p:sp>
        <p:nvSpPr>
          <p:cNvPr id="57" name="AutoShape 5"/>
          <p:cNvSpPr>
            <a:spLocks noChangeArrowheads="1"/>
          </p:cNvSpPr>
          <p:nvPr/>
        </p:nvSpPr>
        <p:spPr bwMode="auto">
          <a:xfrm rot="-5400000">
            <a:off x="2052175" y="386229"/>
            <a:ext cx="1142999" cy="3723343"/>
          </a:xfrm>
          <a:prstGeom prst="homePlate">
            <a:avLst>
              <a:gd name="adj" fmla="val 27778"/>
            </a:avLst>
          </a:prstGeom>
          <a:gradFill>
            <a:gsLst>
              <a:gs pos="37000">
                <a:schemeClr val="accent2">
                  <a:lumMod val="60000"/>
                  <a:lumOff val="40000"/>
                </a:schemeClr>
              </a:gs>
              <a:gs pos="100000">
                <a:srgbClr val="00B0F0"/>
              </a:gs>
            </a:gsLst>
          </a:gradFill>
          <a:ln>
            <a:headEnd/>
            <a:tailEnd/>
          </a:ln>
        </p:spPr>
        <p:style>
          <a:lnRef idx="0">
            <a:schemeClr val="accent3"/>
          </a:lnRef>
          <a:fillRef idx="3">
            <a:schemeClr val="accent3"/>
          </a:fillRef>
          <a:effectRef idx="3">
            <a:schemeClr val="accent3"/>
          </a:effectRef>
          <a:fontRef idx="minor">
            <a:schemeClr val="lt1"/>
          </a:fontRef>
        </p:style>
        <p:txBody>
          <a:bodyPr vert="eaVert" anchor="ctr"/>
          <a:lstStyle/>
          <a:p>
            <a:pPr algn="ctr" fontAlgn="auto">
              <a:spcAft>
                <a:spcPts val="0"/>
              </a:spcAft>
              <a:defRPr/>
            </a:pPr>
            <a:r>
              <a:rPr lang="en-US" altLang="zh-TW" sz="2000" b="1" dirty="0">
                <a:solidFill>
                  <a:schemeClr val="tx1"/>
                </a:solidFill>
                <a:latin typeface="微軟正黑體" pitchFamily="34" charset="-120"/>
                <a:ea typeface="微軟正黑體" pitchFamily="34" charset="-120"/>
              </a:rPr>
              <a:t>External Connector </a:t>
            </a:r>
            <a:endParaRPr lang="en-US" altLang="zh-TW" sz="2000" b="1" dirty="0" smtClean="0">
              <a:solidFill>
                <a:schemeClr val="tx1"/>
              </a:solidFill>
              <a:latin typeface="微軟正黑體" pitchFamily="34" charset="-120"/>
              <a:ea typeface="微軟正黑體" pitchFamily="34" charset="-120"/>
            </a:endParaRPr>
          </a:p>
          <a:p>
            <a:pPr algn="ctr" fontAlgn="auto">
              <a:spcAft>
                <a:spcPts val="0"/>
              </a:spcAft>
              <a:defRPr/>
            </a:pPr>
            <a:r>
              <a:rPr lang="zh-TW" altLang="en-US" sz="2000" b="1" dirty="0" smtClean="0">
                <a:solidFill>
                  <a:schemeClr val="tx1"/>
                </a:solidFill>
                <a:latin typeface="微軟正黑體" pitchFamily="34" charset="-120"/>
                <a:ea typeface="微軟正黑體" pitchFamily="34" charset="-120"/>
              </a:rPr>
              <a:t>外部</a:t>
            </a:r>
            <a:r>
              <a:rPr lang="zh-TW" altLang="en-US" sz="2000" b="1" dirty="0">
                <a:solidFill>
                  <a:schemeClr val="tx1"/>
                </a:solidFill>
                <a:latin typeface="微軟正黑體" pitchFamily="34" charset="-120"/>
                <a:ea typeface="微軟正黑體" pitchFamily="34" charset="-120"/>
              </a:rPr>
              <a:t>連接器授權</a:t>
            </a:r>
            <a:endParaRPr lang="en-US" altLang="zh-TW" sz="2000" b="1" dirty="0">
              <a:solidFill>
                <a:schemeClr val="tx1"/>
              </a:solidFill>
              <a:latin typeface="微軟正黑體" pitchFamily="34" charset="-120"/>
              <a:ea typeface="微軟正黑體" pitchFamily="34" charset="-120"/>
            </a:endParaRPr>
          </a:p>
          <a:p>
            <a:pPr algn="ctr" fontAlgn="auto">
              <a:spcAft>
                <a:spcPts val="0"/>
              </a:spcAft>
              <a:defRPr/>
            </a:pPr>
            <a:r>
              <a:rPr lang="en-US" altLang="zh-TW" sz="2000" b="1" dirty="0">
                <a:solidFill>
                  <a:schemeClr val="tx1"/>
                </a:solidFill>
                <a:latin typeface="微軟正黑體" pitchFamily="34" charset="-120"/>
                <a:ea typeface="微軟正黑體" pitchFamily="34" charset="-120"/>
              </a:rPr>
              <a:t>(</a:t>
            </a:r>
            <a:r>
              <a:rPr lang="zh-TW" altLang="en-US" sz="2000" b="1" dirty="0">
                <a:solidFill>
                  <a:schemeClr val="tx1"/>
                </a:solidFill>
                <a:latin typeface="微軟正黑體" pitchFamily="34" charset="-120"/>
                <a:ea typeface="微軟正黑體" pitchFamily="34" charset="-120"/>
              </a:rPr>
              <a:t>組織外部使用者</a:t>
            </a:r>
            <a:r>
              <a:rPr lang="en-US" altLang="zh-TW" sz="2000" b="1" dirty="0" smtClean="0">
                <a:solidFill>
                  <a:schemeClr val="tx1"/>
                </a:solidFill>
                <a:latin typeface="微軟正黑體" pitchFamily="34" charset="-120"/>
                <a:ea typeface="微軟正黑體" pitchFamily="34" charset="-120"/>
              </a:rPr>
              <a:t>)</a:t>
            </a:r>
            <a:endParaRPr lang="zh-TW" altLang="en-US" sz="2000" b="1" dirty="0">
              <a:solidFill>
                <a:schemeClr val="tx1"/>
              </a:solidFill>
              <a:latin typeface="微軟正黑體" pitchFamily="34" charset="-120"/>
              <a:ea typeface="微軟正黑體" pitchFamily="34" charset="-120"/>
            </a:endParaRPr>
          </a:p>
        </p:txBody>
      </p:sp>
      <p:sp>
        <p:nvSpPr>
          <p:cNvPr id="16" name="AutoShape 8"/>
          <p:cNvSpPr>
            <a:spLocks noChangeArrowheads="1"/>
          </p:cNvSpPr>
          <p:nvPr/>
        </p:nvSpPr>
        <p:spPr bwMode="auto">
          <a:xfrm>
            <a:off x="4114801" y="3276600"/>
            <a:ext cx="1295400" cy="666750"/>
          </a:xfrm>
          <a:prstGeom prst="leftRightArrow">
            <a:avLst>
              <a:gd name="adj1" fmla="val 50000"/>
              <a:gd name="adj2" fmla="val 45116"/>
            </a:avLst>
          </a:prstGeom>
          <a:solidFill>
            <a:srgbClr val="FFFF00"/>
          </a:solidFill>
          <a:ln w="25400" algn="ctr">
            <a:solidFill>
              <a:schemeClr val="bg1"/>
            </a:solidFill>
            <a:miter lim="800000"/>
            <a:headEnd/>
            <a:tailEnd/>
          </a:ln>
        </p:spPr>
        <p:txBody>
          <a:bodyPr wrap="none" anchor="ctr"/>
          <a:lstStyle/>
          <a:p>
            <a:pPr algn="ctr"/>
            <a:r>
              <a:rPr kumimoji="0" lang="zh-TW" altLang="en-US" sz="2000" b="1" dirty="0">
                <a:latin typeface="微軟正黑體" pitchFamily="34" charset="-120"/>
                <a:ea typeface="微軟正黑體" pitchFamily="34" charset="-120"/>
              </a:rPr>
              <a:t>或</a:t>
            </a:r>
          </a:p>
        </p:txBody>
      </p:sp>
      <p:sp>
        <p:nvSpPr>
          <p:cNvPr id="4" name="Oval 3"/>
          <p:cNvSpPr/>
          <p:nvPr/>
        </p:nvSpPr>
        <p:spPr bwMode="auto">
          <a:xfrm>
            <a:off x="914400" y="4267200"/>
            <a:ext cx="228600" cy="207793"/>
          </a:xfrm>
          <a:prstGeom prst="ellipse">
            <a:avLst/>
          </a:prstGeom>
          <a:solidFill>
            <a:srgbClr val="FF3300"/>
          </a:solidFill>
          <a:ln>
            <a:headEnd type="none" w="med" len="med"/>
            <a:tailEnd type="none" w="med" len="med"/>
          </a:ln>
          <a:effectLst>
            <a:outerShdw blurRad="50800" dist="38100" dir="8100000" algn="tr" rotWithShape="0">
              <a:prstClr val="black">
                <a:alpha val="73000"/>
              </a:prstClr>
            </a:outerShdw>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altLang="zh-TW" sz="1400" dirty="0" smtClean="0">
                <a:solidFill>
                  <a:schemeClr val="bg1"/>
                </a:solidFill>
                <a:effectLst>
                  <a:outerShdw blurRad="38100" dist="38100" dir="2700000" algn="tl">
                    <a:srgbClr val="000000">
                      <a:alpha val="43137"/>
                    </a:srgbClr>
                  </a:outerShdw>
                </a:effectLst>
                <a:latin typeface="Segoe" pitchFamily="34" charset="0"/>
              </a:rPr>
              <a:t>1</a:t>
            </a:r>
            <a:endParaRPr lang="zh-TW" altLang="en-US" sz="1400" dirty="0" smtClean="0">
              <a:solidFill>
                <a:schemeClr val="bg1"/>
              </a:solidFill>
              <a:effectLst>
                <a:outerShdw blurRad="38100" dist="38100" dir="2700000" algn="tl">
                  <a:srgbClr val="000000">
                    <a:alpha val="43137"/>
                  </a:srgbClr>
                </a:outerShdw>
              </a:effectLst>
              <a:latin typeface="Segoe" pitchFamily="34" charset="0"/>
            </a:endParaRPr>
          </a:p>
        </p:txBody>
      </p:sp>
      <p:sp>
        <p:nvSpPr>
          <p:cNvPr id="58" name="Oval 57"/>
          <p:cNvSpPr/>
          <p:nvPr/>
        </p:nvSpPr>
        <p:spPr bwMode="auto">
          <a:xfrm>
            <a:off x="2819400" y="4267200"/>
            <a:ext cx="228600" cy="207793"/>
          </a:xfrm>
          <a:prstGeom prst="ellipse">
            <a:avLst/>
          </a:prstGeom>
          <a:solidFill>
            <a:srgbClr val="FF3300"/>
          </a:solidFill>
          <a:ln>
            <a:headEnd type="none" w="med" len="med"/>
            <a:tailEnd type="none" w="med" len="med"/>
          </a:ln>
          <a:effectLst>
            <a:outerShdw blurRad="50800" dist="38100" dir="8100000" algn="tr" rotWithShape="0">
              <a:prstClr val="black">
                <a:alpha val="73000"/>
              </a:prstClr>
            </a:outerShdw>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altLang="zh-TW" sz="1400" dirty="0">
                <a:solidFill>
                  <a:schemeClr val="bg1"/>
                </a:solidFill>
                <a:effectLst>
                  <a:outerShdw blurRad="38100" dist="38100" dir="2700000" algn="tl">
                    <a:srgbClr val="000000">
                      <a:alpha val="43137"/>
                    </a:srgbClr>
                  </a:outerShdw>
                </a:effectLst>
                <a:latin typeface="Segoe" pitchFamily="34" charset="0"/>
              </a:rPr>
              <a:t>2</a:t>
            </a:r>
            <a:endParaRPr lang="zh-TW" altLang="en-US" sz="1400" dirty="0" smtClean="0">
              <a:solidFill>
                <a:schemeClr val="bg1"/>
              </a:solidFill>
              <a:effectLst>
                <a:outerShdw blurRad="38100" dist="38100" dir="2700000" algn="tl">
                  <a:srgbClr val="000000">
                    <a:alpha val="43137"/>
                  </a:srgbClr>
                </a:outerShdw>
              </a:effectLst>
              <a:latin typeface="Segoe" pitchFamily="34" charset="0"/>
            </a:endParaRPr>
          </a:p>
        </p:txBody>
      </p:sp>
      <p:sp>
        <p:nvSpPr>
          <p:cNvPr id="59" name="Oval 58"/>
          <p:cNvSpPr/>
          <p:nvPr/>
        </p:nvSpPr>
        <p:spPr bwMode="auto">
          <a:xfrm>
            <a:off x="5715000" y="2438400"/>
            <a:ext cx="228600" cy="207793"/>
          </a:xfrm>
          <a:prstGeom prst="ellipse">
            <a:avLst/>
          </a:prstGeom>
          <a:solidFill>
            <a:srgbClr val="FF3300"/>
          </a:solidFill>
          <a:ln>
            <a:headEnd type="none" w="med" len="med"/>
            <a:tailEnd type="none" w="med" len="med"/>
          </a:ln>
          <a:effectLst>
            <a:outerShdw blurRad="50800" dist="38100" dir="8100000" algn="tr" rotWithShape="0">
              <a:prstClr val="black">
                <a:alpha val="73000"/>
              </a:prstClr>
            </a:outerShdw>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altLang="zh-TW" sz="1400" dirty="0" smtClean="0">
                <a:solidFill>
                  <a:schemeClr val="bg1"/>
                </a:solidFill>
                <a:effectLst>
                  <a:outerShdw blurRad="38100" dist="38100" dir="2700000" algn="tl">
                    <a:srgbClr val="000000">
                      <a:alpha val="43137"/>
                    </a:srgbClr>
                  </a:outerShdw>
                </a:effectLst>
                <a:latin typeface="Segoe" pitchFamily="34" charset="0"/>
              </a:rPr>
              <a:t>3</a:t>
            </a:r>
            <a:endParaRPr lang="zh-TW" altLang="en-US" sz="1400" dirty="0" smtClean="0">
              <a:solidFill>
                <a:schemeClr val="bg1"/>
              </a:solidFill>
              <a:effectLst>
                <a:outerShdw blurRad="38100" dist="38100" dir="2700000" algn="tl">
                  <a:srgbClr val="000000">
                    <a:alpha val="43137"/>
                  </a:srgbClr>
                </a:outerShdw>
              </a:effectLst>
              <a:latin typeface="Segoe" pitchFamily="34" charset="0"/>
            </a:endParaRPr>
          </a:p>
        </p:txBody>
      </p:sp>
      <p:sp>
        <p:nvSpPr>
          <p:cNvPr id="2" name="TextBox 1"/>
          <p:cNvSpPr txBox="1"/>
          <p:nvPr/>
        </p:nvSpPr>
        <p:spPr>
          <a:xfrm>
            <a:off x="782664" y="5943600"/>
            <a:ext cx="3702680" cy="523220"/>
          </a:xfrm>
          <a:prstGeom prst="rect">
            <a:avLst/>
          </a:prstGeom>
          <a:noFill/>
        </p:spPr>
        <p:txBody>
          <a:bodyPr wrap="square" rtlCol="0">
            <a:spAutoFit/>
          </a:bodyPr>
          <a:lstStyle/>
          <a:p>
            <a:r>
              <a:rPr lang="en-US" altLang="zh-TW" dirty="0" smtClean="0">
                <a:gradFill>
                  <a:gsLst>
                    <a:gs pos="0">
                      <a:schemeClr val="tx1">
                        <a:lumMod val="75000"/>
                        <a:lumOff val="25000"/>
                      </a:schemeClr>
                    </a:gs>
                    <a:gs pos="99000">
                      <a:schemeClr val="tx1">
                        <a:lumMod val="75000"/>
                        <a:lumOff val="25000"/>
                      </a:schemeClr>
                    </a:gs>
                  </a:gsLst>
                  <a:lin ang="5400000" scaled="0"/>
                </a:gradFill>
              </a:rPr>
              <a:t>*</a:t>
            </a:r>
            <a:r>
              <a:rPr lang="en-US" altLang="zh-TW" sz="2000" dirty="0" smtClean="0">
                <a:gradFill>
                  <a:gsLst>
                    <a:gs pos="0">
                      <a:schemeClr val="tx1">
                        <a:lumMod val="75000"/>
                        <a:lumOff val="25000"/>
                      </a:schemeClr>
                    </a:gs>
                    <a:gs pos="99000">
                      <a:schemeClr val="tx1">
                        <a:lumMod val="75000"/>
                        <a:lumOff val="25000"/>
                      </a:schemeClr>
                    </a:gs>
                  </a:gsLst>
                  <a:lin ang="5400000" scaled="0"/>
                </a:gradFill>
              </a:rPr>
              <a:t>CAL: Client Access License</a:t>
            </a:r>
            <a:endParaRPr lang="zh-TW" altLang="en-US" sz="2000" dirty="0" err="1" smtClean="0">
              <a:gradFill>
                <a:gsLst>
                  <a:gs pos="0">
                    <a:schemeClr val="tx1">
                      <a:lumMod val="75000"/>
                      <a:lumOff val="25000"/>
                    </a:schemeClr>
                  </a:gs>
                  <a:gs pos="99000">
                    <a:schemeClr val="tx1">
                      <a:lumMod val="75000"/>
                      <a:lumOff val="25000"/>
                    </a:schemeClr>
                  </a:gs>
                </a:gsLst>
                <a:lin ang="5400000" scaled="0"/>
              </a:gradFill>
            </a:endParaRPr>
          </a:p>
        </p:txBody>
      </p:sp>
      <p:sp>
        <p:nvSpPr>
          <p:cNvPr id="5" name="投影片編號版面配置區 4"/>
          <p:cNvSpPr>
            <a:spLocks noGrp="1"/>
          </p:cNvSpPr>
          <p:nvPr>
            <p:ph type="sldNum" sz="quarter" idx="12"/>
          </p:nvPr>
        </p:nvSpPr>
        <p:spPr/>
        <p:txBody>
          <a:bodyPr/>
          <a:lstStyle/>
          <a:p>
            <a:pPr>
              <a:lnSpc>
                <a:spcPct val="90000"/>
              </a:lnSpc>
            </a:pPr>
            <a:fld id="{1BC86A1F-E589-44B2-A543-2EC98F5547A7}" type="slidenum">
              <a:rPr lang="en-US" altLang="zh-TW" smtClean="0">
                <a:gradFill>
                  <a:gsLst>
                    <a:gs pos="0">
                      <a:srgbClr val="505050"/>
                    </a:gs>
                    <a:gs pos="100000">
                      <a:srgbClr val="505050"/>
                    </a:gs>
                  </a:gsLst>
                  <a:lin ang="5400000" scaled="0"/>
                </a:gradFill>
              </a:rPr>
              <a:pPr>
                <a:lnSpc>
                  <a:spcPct val="90000"/>
                </a:lnSpc>
              </a:pPr>
              <a:t>44</a:t>
            </a:fld>
            <a:endParaRPr lang="zh-TW" altLang="en-US"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614950575"/>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2" name="資料庫圖表 5"/>
          <p:cNvGraphicFramePr/>
          <p:nvPr>
            <p:extLst/>
          </p:nvPr>
        </p:nvGraphicFramePr>
        <p:xfrm>
          <a:off x="357158" y="2609832"/>
          <a:ext cx="8286808" cy="39433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le 2"/>
          <p:cNvSpPr>
            <a:spLocks noGrp="1"/>
          </p:cNvSpPr>
          <p:nvPr>
            <p:ph type="title"/>
          </p:nvPr>
        </p:nvSpPr>
        <p:spPr/>
        <p:txBody>
          <a:bodyPr>
            <a:normAutofit fontScale="90000"/>
          </a:bodyPr>
          <a:lstStyle/>
          <a:p>
            <a:r>
              <a:rPr lang="en-US" dirty="0" smtClean="0">
                <a:latin typeface="微軟正黑體" pitchFamily="34" charset="-120"/>
                <a:ea typeface="微軟正黑體" pitchFamily="34" charset="-120"/>
              </a:rPr>
              <a:t>Server/Processor + CAL </a:t>
            </a:r>
            <a:r>
              <a:rPr lang="zh-TW" altLang="en-US" dirty="0" smtClean="0">
                <a:latin typeface="微軟正黑體" pitchFamily="34" charset="-120"/>
                <a:ea typeface="微軟正黑體" pitchFamily="34" charset="-120"/>
              </a:rPr>
              <a:t>的授權</a:t>
            </a:r>
            <a:r>
              <a:rPr lang="zh-TW" altLang="en-US" dirty="0">
                <a:latin typeface="微軟正黑體" pitchFamily="34" charset="-120"/>
                <a:ea typeface="微軟正黑體" pitchFamily="34" charset="-120"/>
              </a:rPr>
              <a:t>模式</a:t>
            </a:r>
            <a:endParaRPr lang="en-US" dirty="0">
              <a:latin typeface="微軟正黑體" pitchFamily="34" charset="-120"/>
              <a:ea typeface="微軟正黑體" pitchFamily="34" charset="-120"/>
            </a:endParaRPr>
          </a:p>
        </p:txBody>
      </p:sp>
      <p:sp>
        <p:nvSpPr>
          <p:cNvPr id="2" name="Rounded Rectangle 1"/>
          <p:cNvSpPr/>
          <p:nvPr/>
        </p:nvSpPr>
        <p:spPr bwMode="auto">
          <a:xfrm>
            <a:off x="381000" y="1371600"/>
            <a:ext cx="1600200" cy="457200"/>
          </a:xfrm>
          <a:prstGeom prst="roundRect">
            <a:avLst/>
          </a:prstGeom>
          <a:solidFill>
            <a:schemeClr val="accent2">
              <a:lumMod val="40000"/>
              <a:lumOff val="60000"/>
            </a:schemeClr>
          </a:solidFill>
          <a:ln>
            <a:headEnd type="none" w="med" len="med"/>
            <a:tailEnd type="none" w="med" len="med"/>
          </a:ln>
          <a:effectLst>
            <a:outerShdw blurRad="50800" dist="38100" dir="8100000" algn="tr" rotWithShape="0">
              <a:prstClr val="black">
                <a:alpha val="73000"/>
              </a:prstClr>
            </a:outerShdw>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solidFill>
                  <a:schemeClr val="tx1"/>
                </a:solidFill>
                <a:latin typeface="微軟正黑體" pitchFamily="34" charset="-120"/>
                <a:ea typeface="微軟正黑體" pitchFamily="34" charset="-120"/>
              </a:rPr>
              <a:t>Server</a:t>
            </a:r>
          </a:p>
        </p:txBody>
      </p:sp>
      <p:sp>
        <p:nvSpPr>
          <p:cNvPr id="7" name="Rounded Rectangle 6"/>
          <p:cNvSpPr/>
          <p:nvPr/>
        </p:nvSpPr>
        <p:spPr bwMode="auto">
          <a:xfrm>
            <a:off x="2438400" y="1660566"/>
            <a:ext cx="1371600" cy="457200"/>
          </a:xfrm>
          <a:prstGeom prst="roundRect">
            <a:avLst/>
          </a:prstGeom>
          <a:solidFill>
            <a:schemeClr val="accent2">
              <a:lumMod val="40000"/>
              <a:lumOff val="60000"/>
            </a:schemeClr>
          </a:solidFill>
          <a:ln>
            <a:headEnd type="none" w="med" len="med"/>
            <a:tailEnd type="none" w="med" len="med"/>
          </a:ln>
          <a:effectLst>
            <a:outerShdw blurRad="50800" dist="38100" dir="8100000" algn="tr" rotWithShape="0">
              <a:prstClr val="black">
                <a:alpha val="73000"/>
              </a:prstClr>
            </a:outerShdw>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000" dirty="0">
                <a:solidFill>
                  <a:schemeClr val="tx1"/>
                </a:solidFill>
                <a:latin typeface="微軟正黑體" pitchFamily="34" charset="-120"/>
                <a:ea typeface="微軟正黑體" pitchFamily="34" charset="-120"/>
              </a:rPr>
              <a:t>CAL</a:t>
            </a:r>
          </a:p>
        </p:txBody>
      </p:sp>
      <p:sp>
        <p:nvSpPr>
          <p:cNvPr id="8" name="Rounded Rectangle 7"/>
          <p:cNvSpPr/>
          <p:nvPr/>
        </p:nvSpPr>
        <p:spPr bwMode="auto">
          <a:xfrm>
            <a:off x="4267200" y="1660566"/>
            <a:ext cx="1447800" cy="457200"/>
          </a:xfrm>
          <a:prstGeom prst="roundRect">
            <a:avLst/>
          </a:prstGeom>
          <a:solidFill>
            <a:schemeClr val="accent2">
              <a:lumMod val="40000"/>
              <a:lumOff val="60000"/>
            </a:schemeClr>
          </a:solidFill>
          <a:ln>
            <a:headEnd type="none" w="med" len="med"/>
            <a:tailEnd type="none" w="med" len="med"/>
          </a:ln>
          <a:effectLst>
            <a:outerShdw blurRad="50800" dist="38100" dir="8100000" algn="tr" rotWithShape="0">
              <a:prstClr val="black">
                <a:alpha val="73000"/>
              </a:prstClr>
            </a:outerShdw>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000" dirty="0">
                <a:solidFill>
                  <a:schemeClr val="tx1"/>
                </a:solidFill>
                <a:latin typeface="微軟正黑體" pitchFamily="34" charset="-120"/>
                <a:ea typeface="微軟正黑體" pitchFamily="34" charset="-120"/>
              </a:rPr>
              <a:t>EC (optional)</a:t>
            </a:r>
          </a:p>
        </p:txBody>
      </p:sp>
      <p:sp>
        <p:nvSpPr>
          <p:cNvPr id="4" name="Plus 3"/>
          <p:cNvSpPr/>
          <p:nvPr/>
        </p:nvSpPr>
        <p:spPr bwMode="auto">
          <a:xfrm>
            <a:off x="2057400" y="1752600"/>
            <a:ext cx="295894" cy="288966"/>
          </a:xfrm>
          <a:prstGeom prst="mathPlus">
            <a:avLst/>
          </a:prstGeom>
          <a:solidFill>
            <a:schemeClr val="accent4"/>
          </a:solidFill>
          <a:ln>
            <a:headEnd type="none" w="med" len="med"/>
            <a:tailEnd type="none" w="med" len="me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smtClean="0">
              <a:gradFill>
                <a:gsLst>
                  <a:gs pos="0">
                    <a:schemeClr val="bg1"/>
                  </a:gs>
                  <a:gs pos="100000">
                    <a:schemeClr val="bg1"/>
                  </a:gs>
                </a:gsLst>
                <a:lin ang="13500000" scaled="1"/>
              </a:gradFill>
              <a:effectLst>
                <a:outerShdw blurRad="38100" dist="38100" dir="2700000" algn="tl">
                  <a:srgbClr val="000000">
                    <a:alpha val="43137"/>
                  </a:srgbClr>
                </a:outerShdw>
              </a:effectLst>
              <a:latin typeface="Segoe" pitchFamily="34" charset="0"/>
            </a:endParaRPr>
          </a:p>
        </p:txBody>
      </p:sp>
      <p:sp>
        <p:nvSpPr>
          <p:cNvPr id="10" name="Plus 9"/>
          <p:cNvSpPr/>
          <p:nvPr/>
        </p:nvSpPr>
        <p:spPr bwMode="auto">
          <a:xfrm>
            <a:off x="3886200" y="1752600"/>
            <a:ext cx="295894" cy="288966"/>
          </a:xfrm>
          <a:prstGeom prst="mathPlus">
            <a:avLst/>
          </a:prstGeom>
          <a:solidFill>
            <a:schemeClr val="accent4"/>
          </a:solidFill>
          <a:ln>
            <a:headEnd type="none" w="med" len="med"/>
            <a:tailEnd type="none" w="med" len="me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smtClean="0">
              <a:gradFill>
                <a:gsLst>
                  <a:gs pos="0">
                    <a:schemeClr val="bg1"/>
                  </a:gs>
                  <a:gs pos="100000">
                    <a:schemeClr val="bg1"/>
                  </a:gs>
                </a:gsLst>
                <a:lin ang="13500000" scaled="1"/>
              </a:gradFill>
              <a:effectLst>
                <a:outerShdw blurRad="38100" dist="38100" dir="2700000" algn="tl">
                  <a:srgbClr val="000000">
                    <a:alpha val="43137"/>
                  </a:srgbClr>
                </a:outerShdw>
              </a:effectLst>
              <a:latin typeface="Segoe" pitchFamily="34" charset="0"/>
            </a:endParaRPr>
          </a:p>
        </p:txBody>
      </p:sp>
      <p:sp>
        <p:nvSpPr>
          <p:cNvPr id="5" name="Equal 4"/>
          <p:cNvSpPr/>
          <p:nvPr/>
        </p:nvSpPr>
        <p:spPr bwMode="auto">
          <a:xfrm>
            <a:off x="5867400" y="1752600"/>
            <a:ext cx="381000" cy="288966"/>
          </a:xfrm>
          <a:prstGeom prst="mathEqual">
            <a:avLst/>
          </a:prstGeom>
          <a:solidFill>
            <a:schemeClr val="accent4"/>
          </a:solidFill>
          <a:ln>
            <a:headEnd type="none" w="med" len="med"/>
            <a:tailEnd type="none" w="med" len="me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smtClean="0">
              <a:gradFill>
                <a:gsLst>
                  <a:gs pos="0">
                    <a:schemeClr val="bg1"/>
                  </a:gs>
                  <a:gs pos="100000">
                    <a:schemeClr val="bg1"/>
                  </a:gs>
                </a:gsLst>
                <a:lin ang="13500000" scaled="1"/>
              </a:gradFill>
              <a:effectLst>
                <a:outerShdw blurRad="38100" dist="38100" dir="2700000" algn="tl">
                  <a:srgbClr val="000000">
                    <a:alpha val="43137"/>
                  </a:srgbClr>
                </a:outerShdw>
              </a:effectLst>
              <a:latin typeface="Segoe" pitchFamily="34" charset="0"/>
            </a:endParaRPr>
          </a:p>
        </p:txBody>
      </p:sp>
      <p:sp>
        <p:nvSpPr>
          <p:cNvPr id="14" name="Rounded Rectangle 13"/>
          <p:cNvSpPr/>
          <p:nvPr/>
        </p:nvSpPr>
        <p:spPr bwMode="auto">
          <a:xfrm>
            <a:off x="6400800" y="1668483"/>
            <a:ext cx="2057400" cy="457200"/>
          </a:xfrm>
          <a:prstGeom prst="roundRect">
            <a:avLst/>
          </a:prstGeom>
          <a:solidFill>
            <a:schemeClr val="accent2">
              <a:lumMod val="40000"/>
              <a:lumOff val="60000"/>
            </a:schemeClr>
          </a:solidFill>
          <a:ln>
            <a:headEnd type="none" w="med" len="med"/>
            <a:tailEnd type="none" w="med" len="med"/>
          </a:ln>
          <a:effectLst>
            <a:outerShdw blurRad="50800" dist="38100" dir="8100000" algn="tr" rotWithShape="0">
              <a:prstClr val="black">
                <a:alpha val="73000"/>
              </a:prstClr>
            </a:outerShdw>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zh-TW" altLang="en-US" sz="2000" dirty="0">
                <a:solidFill>
                  <a:schemeClr val="tx1"/>
                </a:solidFill>
                <a:latin typeface="微軟正黑體" pitchFamily="34" charset="-120"/>
                <a:ea typeface="微軟正黑體" pitchFamily="34" charset="-120"/>
              </a:rPr>
              <a:t>完整伺服器授權</a:t>
            </a:r>
            <a:endParaRPr lang="en-US" sz="2000" dirty="0">
              <a:solidFill>
                <a:schemeClr val="tx1"/>
              </a:solidFill>
              <a:latin typeface="微軟正黑體" pitchFamily="34" charset="-120"/>
              <a:ea typeface="微軟正黑體" pitchFamily="34" charset="-120"/>
            </a:endParaRPr>
          </a:p>
        </p:txBody>
      </p:sp>
      <p:sp>
        <p:nvSpPr>
          <p:cNvPr id="11" name="Rounded Rectangle 10"/>
          <p:cNvSpPr/>
          <p:nvPr/>
        </p:nvSpPr>
        <p:spPr bwMode="auto">
          <a:xfrm>
            <a:off x="381000" y="1905000"/>
            <a:ext cx="1600200" cy="457200"/>
          </a:xfrm>
          <a:prstGeom prst="roundRect">
            <a:avLst/>
          </a:prstGeom>
          <a:solidFill>
            <a:schemeClr val="accent2">
              <a:lumMod val="40000"/>
              <a:lumOff val="60000"/>
            </a:schemeClr>
          </a:solidFill>
          <a:ln>
            <a:headEnd type="none" w="med" len="med"/>
            <a:tailEnd type="none" w="med" len="med"/>
          </a:ln>
          <a:effectLst>
            <a:outerShdw blurRad="50800" dist="38100" dir="8100000" algn="tr" rotWithShape="0">
              <a:prstClr val="black">
                <a:alpha val="73000"/>
              </a:prstClr>
            </a:outerShdw>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000" dirty="0">
                <a:solidFill>
                  <a:schemeClr val="tx1"/>
                </a:solidFill>
                <a:latin typeface="微軟正黑體" pitchFamily="34" charset="-120"/>
                <a:ea typeface="微軟正黑體" pitchFamily="34" charset="-120"/>
              </a:rPr>
              <a:t>Processor</a:t>
            </a:r>
          </a:p>
        </p:txBody>
      </p:sp>
      <p:sp>
        <p:nvSpPr>
          <p:cNvPr id="6" name="投影片編號版面配置區 5"/>
          <p:cNvSpPr>
            <a:spLocks noGrp="1"/>
          </p:cNvSpPr>
          <p:nvPr>
            <p:ph type="sldNum" sz="quarter" idx="12"/>
          </p:nvPr>
        </p:nvSpPr>
        <p:spPr/>
        <p:txBody>
          <a:bodyPr/>
          <a:lstStyle/>
          <a:p>
            <a:pPr>
              <a:lnSpc>
                <a:spcPct val="90000"/>
              </a:lnSpc>
            </a:pPr>
            <a:fld id="{1BC86A1F-E589-44B2-A543-2EC98F5547A7}" type="slidenum">
              <a:rPr lang="en-US" altLang="zh-TW" smtClean="0">
                <a:gradFill>
                  <a:gsLst>
                    <a:gs pos="0">
                      <a:srgbClr val="505050"/>
                    </a:gs>
                    <a:gs pos="100000">
                      <a:srgbClr val="505050"/>
                    </a:gs>
                  </a:gsLst>
                  <a:lin ang="5400000" scaled="0"/>
                </a:gradFill>
              </a:rPr>
              <a:pPr>
                <a:lnSpc>
                  <a:spcPct val="90000"/>
                </a:lnSpc>
              </a:pPr>
              <a:t>45</a:t>
            </a:fld>
            <a:endParaRPr lang="zh-TW" altLang="en-US"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130788342"/>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Content Placeholder 2"/>
          <p:cNvSpPr>
            <a:spLocks noGrp="1"/>
          </p:cNvSpPr>
          <p:nvPr>
            <p:ph idx="1"/>
          </p:nvPr>
        </p:nvSpPr>
        <p:spPr>
          <a:xfrm>
            <a:off x="176213" y="2030412"/>
            <a:ext cx="8229600" cy="4922838"/>
          </a:xfrm>
        </p:spPr>
        <p:txBody>
          <a:bodyPr/>
          <a:lstStyle/>
          <a:p>
            <a:pPr eaLnBrk="1" hangingPunct="1"/>
            <a:r>
              <a:rPr lang="zh-TW" altLang="en-US" smtClean="0">
                <a:latin typeface="微軟正黑體" panose="020B0604030504040204" pitchFamily="34" charset="-120"/>
                <a:ea typeface="微軟正黑體" panose="020B0604030504040204" pitchFamily="34" charset="-120"/>
              </a:rPr>
              <a:t>用戶端存取權 </a:t>
            </a:r>
            <a:r>
              <a:rPr lang="en-US" altLang="zh-TW" smtClean="0">
                <a:latin typeface="微軟正黑體" panose="020B0604030504040204" pitchFamily="34" charset="-120"/>
                <a:ea typeface="微軟正黑體" panose="020B0604030504040204" pitchFamily="34" charset="-120"/>
              </a:rPr>
              <a:t>Client Access License</a:t>
            </a:r>
          </a:p>
          <a:p>
            <a:pPr eaLnBrk="1" hangingPunct="1"/>
            <a:r>
              <a:rPr lang="zh-TW" altLang="en-US" smtClean="0">
                <a:latin typeface="微軟正黑體" panose="020B0604030504040204" pitchFamily="34" charset="-120"/>
                <a:ea typeface="微軟正黑體" panose="020B0604030504040204" pitchFamily="34" charset="-120"/>
              </a:rPr>
              <a:t>使用端須擁有</a:t>
            </a:r>
            <a:r>
              <a:rPr lang="en-US" altLang="zh-TW" smtClean="0">
                <a:latin typeface="微軟正黑體" panose="020B0604030504040204" pitchFamily="34" charset="-120"/>
                <a:ea typeface="微軟正黑體" panose="020B0604030504040204" pitchFamily="34" charset="-120"/>
              </a:rPr>
              <a:t>CAL</a:t>
            </a:r>
            <a:r>
              <a:rPr lang="zh-TW" altLang="en-US" smtClean="0">
                <a:latin typeface="微軟正黑體" panose="020B0604030504040204" pitchFamily="34" charset="-120"/>
                <a:ea typeface="微軟正黑體" panose="020B0604030504040204" pitchFamily="34" charset="-120"/>
              </a:rPr>
              <a:t>才能存取</a:t>
            </a:r>
            <a:r>
              <a:rPr lang="en-US" altLang="zh-TW" smtClean="0">
                <a:latin typeface="微軟正黑體" panose="020B0604030504040204" pitchFamily="34" charset="-120"/>
                <a:ea typeface="微軟正黑體" panose="020B0604030504040204" pitchFamily="34" charset="-120"/>
              </a:rPr>
              <a:t>Server (CAL</a:t>
            </a:r>
            <a:r>
              <a:rPr lang="zh-TW" altLang="en-US" smtClean="0">
                <a:latin typeface="微軟正黑體" panose="020B0604030504040204" pitchFamily="34" charset="-120"/>
                <a:ea typeface="微軟正黑體" panose="020B0604030504040204" pitchFamily="34" charset="-120"/>
              </a:rPr>
              <a:t>版本需高於或等同</a:t>
            </a:r>
            <a:r>
              <a:rPr lang="en-US" altLang="zh-TW" smtClean="0">
                <a:latin typeface="微軟正黑體" panose="020B0604030504040204" pitchFamily="34" charset="-120"/>
                <a:ea typeface="微軟正黑體" panose="020B0604030504040204" pitchFamily="34" charset="-120"/>
              </a:rPr>
              <a:t>Server</a:t>
            </a:r>
            <a:r>
              <a:rPr lang="zh-TW" altLang="en-US" smtClean="0">
                <a:latin typeface="微軟正黑體" panose="020B0604030504040204" pitchFamily="34" charset="-120"/>
                <a:ea typeface="微軟正黑體" panose="020B0604030504040204" pitchFamily="34" charset="-120"/>
              </a:rPr>
              <a:t>版本</a:t>
            </a:r>
            <a:r>
              <a:rPr lang="en-US" altLang="zh-TW" smtClean="0">
                <a:latin typeface="微軟正黑體" panose="020B0604030504040204" pitchFamily="34" charset="-120"/>
                <a:ea typeface="微軟正黑體" panose="020B0604030504040204" pitchFamily="34" charset="-120"/>
              </a:rPr>
              <a:t>)</a:t>
            </a:r>
            <a:endParaRPr lang="zh-TW" altLang="en-US" smtClean="0">
              <a:latin typeface="微軟正黑體" panose="020B0604030504040204" pitchFamily="34" charset="-120"/>
              <a:ea typeface="微軟正黑體" panose="020B0604030504040204" pitchFamily="34" charset="-120"/>
            </a:endParaRPr>
          </a:p>
          <a:p>
            <a:pPr lvl="1" eaLnBrk="1" hangingPunct="1"/>
            <a:r>
              <a:rPr lang="en-US" altLang="zh-TW" smtClean="0">
                <a:latin typeface="微軟正黑體" panose="020B0604030504040204" pitchFamily="34" charset="-120"/>
                <a:ea typeface="微軟正黑體" panose="020B0604030504040204" pitchFamily="34" charset="-120"/>
              </a:rPr>
              <a:t>Device CAL</a:t>
            </a:r>
            <a:r>
              <a:rPr lang="zh-TW" altLang="en-US" smtClean="0">
                <a:latin typeface="微軟正黑體" panose="020B0604030504040204" pitchFamily="34" charset="-120"/>
                <a:ea typeface="微軟正黑體" panose="020B0604030504040204" pitchFamily="34" charset="-120"/>
              </a:rPr>
              <a:t>：限定裝置，不限制使用者</a:t>
            </a:r>
          </a:p>
          <a:p>
            <a:pPr lvl="1" eaLnBrk="1" hangingPunct="1"/>
            <a:r>
              <a:rPr lang="en-US" altLang="zh-TW" smtClean="0">
                <a:latin typeface="微軟正黑體" panose="020B0604030504040204" pitchFamily="34" charset="-120"/>
                <a:ea typeface="微軟正黑體" panose="020B0604030504040204" pitchFamily="34" charset="-120"/>
              </a:rPr>
              <a:t>User CAL</a:t>
            </a:r>
            <a:r>
              <a:rPr lang="zh-TW" altLang="en-US" smtClean="0">
                <a:latin typeface="微軟正黑體" panose="020B0604030504040204" pitchFamily="34" charset="-120"/>
                <a:ea typeface="微軟正黑體" panose="020B0604030504040204" pitchFamily="34" charset="-120"/>
              </a:rPr>
              <a:t>　：限定使用者，不限制裝置</a:t>
            </a:r>
          </a:p>
          <a:p>
            <a:pPr eaLnBrk="1" hangingPunct="1"/>
            <a:endParaRPr lang="en-US" altLang="zh-TW" smtClean="0">
              <a:latin typeface="微軟正黑體" panose="020B0604030504040204" pitchFamily="34" charset="-120"/>
              <a:ea typeface="微軟正黑體" panose="020B0604030504040204" pitchFamily="34" charset="-120"/>
            </a:endParaRPr>
          </a:p>
          <a:p>
            <a:pPr eaLnBrk="1" hangingPunct="1"/>
            <a:r>
              <a:rPr lang="zh-TW" altLang="en-US" smtClean="0">
                <a:latin typeface="微軟正黑體" panose="020B0604030504040204" pitchFamily="34" charset="-120"/>
                <a:ea typeface="微軟正黑體" panose="020B0604030504040204" pitchFamily="34" charset="-120"/>
              </a:rPr>
              <a:t>透過</a:t>
            </a:r>
            <a:r>
              <a:rPr lang="en-US" altLang="zh-TW" smtClean="0">
                <a:latin typeface="微軟正黑體" panose="020B0604030504040204" pitchFamily="34" charset="-120"/>
                <a:ea typeface="微軟正黑體" panose="020B0604030504040204" pitchFamily="34" charset="-120"/>
              </a:rPr>
              <a:t>External Connector</a:t>
            </a:r>
            <a:r>
              <a:rPr lang="zh-TW" altLang="en-US" smtClean="0">
                <a:latin typeface="微軟正黑體" panose="020B0604030504040204" pitchFamily="34" charset="-120"/>
                <a:ea typeface="微軟正黑體" panose="020B0604030504040204" pitchFamily="34" charset="-120"/>
              </a:rPr>
              <a:t>授權，可以讓無限的外部使用者存取</a:t>
            </a:r>
            <a:r>
              <a:rPr lang="en-US" altLang="zh-TW" smtClean="0">
                <a:latin typeface="微軟正黑體" panose="020B0604030504040204" pitchFamily="34" charset="-120"/>
                <a:ea typeface="微軟正黑體" panose="020B0604030504040204" pitchFamily="34" charset="-120"/>
              </a:rPr>
              <a:t>Server</a:t>
            </a:r>
            <a:r>
              <a:rPr lang="zh-TW" altLang="en-US" smtClean="0">
                <a:latin typeface="微軟正黑體" panose="020B0604030504040204" pitchFamily="34" charset="-120"/>
                <a:ea typeface="微軟正黑體" panose="020B0604030504040204" pitchFamily="34" charset="-120"/>
              </a:rPr>
              <a:t>，外部使用者定義如下：</a:t>
            </a:r>
          </a:p>
          <a:p>
            <a:pPr lvl="1" eaLnBrk="1" hangingPunct="1"/>
            <a:r>
              <a:rPr lang="zh-TW" altLang="en-US" smtClean="0">
                <a:latin typeface="微軟正黑體" panose="020B0604030504040204" pitchFamily="34" charset="-120"/>
                <a:ea typeface="微軟正黑體" panose="020B0604030504040204" pitchFamily="34" charset="-120"/>
              </a:rPr>
              <a:t>非公司及關係企業員工</a:t>
            </a:r>
          </a:p>
          <a:p>
            <a:pPr lvl="1" eaLnBrk="1" hangingPunct="1"/>
            <a:r>
              <a:rPr lang="zh-TW" altLang="en-US" smtClean="0">
                <a:latin typeface="微軟正黑體" panose="020B0604030504040204" pitchFamily="34" charset="-120"/>
                <a:ea typeface="微軟正黑體" panose="020B0604030504040204" pitchFamily="34" charset="-120"/>
              </a:rPr>
              <a:t>非公司及關係企業內部約聘人員或代理人</a:t>
            </a:r>
            <a:endParaRPr lang="zh-TW" altLang="en-US" dirty="0" smtClean="0">
              <a:latin typeface="微軟正黑體" panose="020B0604030504040204" pitchFamily="34" charset="-120"/>
              <a:ea typeface="微軟正黑體" panose="020B0604030504040204" pitchFamily="34" charset="-120"/>
            </a:endParaRPr>
          </a:p>
        </p:txBody>
      </p:sp>
      <p:sp>
        <p:nvSpPr>
          <p:cNvPr id="2" name="Title 1"/>
          <p:cNvSpPr>
            <a:spLocks noGrp="1"/>
          </p:cNvSpPr>
          <p:nvPr>
            <p:ph type="title"/>
          </p:nvPr>
        </p:nvSpPr>
        <p:spPr/>
        <p:txBody>
          <a:bodyPr/>
          <a:lstStyle/>
          <a:p>
            <a:pPr eaLnBrk="1" fontAlgn="auto" hangingPunct="1">
              <a:spcAft>
                <a:spcPts val="0"/>
              </a:spcAft>
              <a:defRPr/>
            </a:pPr>
            <a:r>
              <a:rPr lang="zh-TW" altLang="en-US" smtClean="0">
                <a:latin typeface="微軟正黑體" panose="020B0604030504040204" pitchFamily="34" charset="-120"/>
                <a:ea typeface="微軟正黑體" panose="020B0604030504040204" pitchFamily="34" charset="-120"/>
              </a:rPr>
              <a:t>何謂</a:t>
            </a:r>
            <a:r>
              <a:rPr lang="en-US" altLang="zh-TW" smtClean="0">
                <a:latin typeface="微軟正黑體" panose="020B0604030504040204" pitchFamily="34" charset="-120"/>
                <a:ea typeface="微軟正黑體" panose="020B0604030504040204" pitchFamily="34" charset="-120"/>
              </a:rPr>
              <a:t>CAL?</a:t>
            </a:r>
            <a:endParaRPr lang="zh-TW" altLang="en-US" dirty="0">
              <a:latin typeface="微軟正黑體" panose="020B0604030504040204" pitchFamily="34" charset="-120"/>
              <a:ea typeface="微軟正黑體" panose="020B0604030504040204" pitchFamily="34" charset="-120"/>
            </a:endParaRPr>
          </a:p>
        </p:txBody>
      </p:sp>
      <p:pic>
        <p:nvPicPr>
          <p:cNvPr id="71684" name="Picture 2"/>
          <p:cNvPicPr>
            <a:picLocks noChangeAspect="1" noChangeArrowheads="1"/>
          </p:cNvPicPr>
          <p:nvPr/>
        </p:nvPicPr>
        <p:blipFill>
          <a:blip r:embed="rId2" cstate="print"/>
          <a:srcRect/>
          <a:stretch>
            <a:fillRect/>
          </a:stretch>
        </p:blipFill>
        <p:spPr bwMode="auto">
          <a:xfrm>
            <a:off x="0" y="3729038"/>
            <a:ext cx="8934450" cy="514350"/>
          </a:xfrm>
          <a:prstGeom prst="rect">
            <a:avLst/>
          </a:prstGeom>
          <a:noFill/>
          <a:ln w="9525">
            <a:noFill/>
            <a:miter lim="800000"/>
            <a:headEnd/>
            <a:tailEnd/>
          </a:ln>
        </p:spPr>
      </p:pic>
      <p:sp>
        <p:nvSpPr>
          <p:cNvPr id="3" name="投影片編號版面配置區 2"/>
          <p:cNvSpPr>
            <a:spLocks noGrp="1"/>
          </p:cNvSpPr>
          <p:nvPr>
            <p:ph type="sldNum" sz="quarter" idx="12"/>
          </p:nvPr>
        </p:nvSpPr>
        <p:spPr/>
        <p:txBody>
          <a:bodyPr/>
          <a:lstStyle/>
          <a:p>
            <a:pPr>
              <a:defRPr/>
            </a:pPr>
            <a:fld id="{1D9970BA-2F58-4996-9806-696110DA0FEA}" type="slidenum">
              <a:rPr lang="en-US" smtClean="0"/>
              <a:pPr>
                <a:defRPr/>
              </a:pPr>
              <a:t>46</a:t>
            </a:fld>
            <a:endParaRPr lang="zh-CN" altLang="en-US"/>
          </a:p>
        </p:txBody>
      </p:sp>
    </p:spTree>
    <p:extLst>
      <p:ext uri="{BB962C8B-B14F-4D97-AF65-F5344CB8AC3E}">
        <p14:creationId xmlns:p14="http://schemas.microsoft.com/office/powerpoint/2010/main" val="2646449109"/>
      </p:ext>
    </p:extLst>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p:cNvSpPr/>
          <p:nvPr/>
        </p:nvSpPr>
        <p:spPr>
          <a:xfrm>
            <a:off x="428596" y="2143116"/>
            <a:ext cx="8286808" cy="3857652"/>
          </a:xfrm>
          <a:prstGeom prst="roundRect">
            <a:avLst>
              <a:gd name="adj" fmla="val 6687"/>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zh-TW" altLang="en-US">
              <a:solidFill>
                <a:prstClr val="black"/>
              </a:solidFill>
            </a:endParaRPr>
          </a:p>
        </p:txBody>
      </p:sp>
      <p:sp>
        <p:nvSpPr>
          <p:cNvPr id="8" name="Rectangle 7"/>
          <p:cNvSpPr/>
          <p:nvPr/>
        </p:nvSpPr>
        <p:spPr>
          <a:xfrm>
            <a:off x="1143000" y="1905000"/>
            <a:ext cx="2714644" cy="357190"/>
          </a:xfrm>
          <a:prstGeom prst="rect">
            <a:avLst/>
          </a:prstGeom>
          <a:solidFill>
            <a:srgbClr val="002060"/>
          </a:solidFill>
        </p:spPr>
        <p:style>
          <a:lnRef idx="0">
            <a:schemeClr val="accent1"/>
          </a:lnRef>
          <a:fillRef idx="3">
            <a:schemeClr val="accent1"/>
          </a:fillRef>
          <a:effectRef idx="3">
            <a:schemeClr val="accent1"/>
          </a:effectRef>
          <a:fontRef idx="minor">
            <a:schemeClr val="lt1"/>
          </a:fontRef>
        </p:style>
        <p:txBody>
          <a:bodyPr rtlCol="0" anchor="ctr"/>
          <a:lstStyle/>
          <a:p>
            <a:r>
              <a:rPr lang="zh-TW" altLang="en-US" sz="2000" b="1" dirty="0" smtClean="0">
                <a:solidFill>
                  <a:prstClr val="white"/>
                </a:solidFill>
                <a:latin typeface="微軟正黑體" pitchFamily="34" charset="-120"/>
                <a:ea typeface="微軟正黑體" pitchFamily="34" charset="-120"/>
              </a:rPr>
              <a:t>依裝置指定 </a:t>
            </a:r>
            <a:r>
              <a:rPr lang="en-US" altLang="zh-TW" sz="2000" b="1" dirty="0" smtClean="0">
                <a:solidFill>
                  <a:prstClr val="white"/>
                </a:solidFill>
                <a:latin typeface="微軟正黑體" pitchFamily="34" charset="-120"/>
                <a:ea typeface="微軟正黑體" pitchFamily="34" charset="-120"/>
              </a:rPr>
              <a:t>(10</a:t>
            </a:r>
            <a:r>
              <a:rPr lang="zh-TW" altLang="en-US" sz="2000" b="1" dirty="0" smtClean="0">
                <a:solidFill>
                  <a:prstClr val="white"/>
                </a:solidFill>
                <a:latin typeface="微軟正黑體" pitchFamily="34" charset="-120"/>
                <a:ea typeface="微軟正黑體" pitchFamily="34" charset="-120"/>
              </a:rPr>
              <a:t>個裝置</a:t>
            </a:r>
            <a:r>
              <a:rPr lang="en-US" altLang="zh-TW" sz="2000" b="1" dirty="0" smtClean="0">
                <a:solidFill>
                  <a:prstClr val="white"/>
                </a:solidFill>
                <a:latin typeface="微軟正黑體" pitchFamily="34" charset="-120"/>
                <a:ea typeface="微軟正黑體" pitchFamily="34" charset="-120"/>
              </a:rPr>
              <a:t>)</a:t>
            </a:r>
            <a:endParaRPr lang="zh-TW" altLang="en-US" sz="2000" b="1" dirty="0">
              <a:solidFill>
                <a:prstClr val="white"/>
              </a:solidFill>
              <a:latin typeface="微軟正黑體" pitchFamily="34" charset="-120"/>
              <a:ea typeface="微軟正黑體" pitchFamily="34" charset="-120"/>
            </a:endParaRPr>
          </a:p>
        </p:txBody>
      </p:sp>
      <p:sp>
        <p:nvSpPr>
          <p:cNvPr id="10" name="Rectangle 9"/>
          <p:cNvSpPr/>
          <p:nvPr/>
        </p:nvSpPr>
        <p:spPr>
          <a:xfrm>
            <a:off x="5143504" y="1905000"/>
            <a:ext cx="3071834" cy="357190"/>
          </a:xfrm>
          <a:prstGeom prst="rect">
            <a:avLst/>
          </a:prstGeom>
          <a:solidFill>
            <a:srgbClr val="7030A0"/>
          </a:solidFill>
        </p:spPr>
        <p:style>
          <a:lnRef idx="0">
            <a:schemeClr val="accent1"/>
          </a:lnRef>
          <a:fillRef idx="3">
            <a:schemeClr val="accent1"/>
          </a:fillRef>
          <a:effectRef idx="3">
            <a:schemeClr val="accent1"/>
          </a:effectRef>
          <a:fontRef idx="minor">
            <a:schemeClr val="lt1"/>
          </a:fontRef>
        </p:style>
        <p:txBody>
          <a:bodyPr rtlCol="0" anchor="ctr"/>
          <a:lstStyle/>
          <a:p>
            <a:r>
              <a:rPr lang="zh-TW" altLang="en-US" sz="2000" b="1" dirty="0" smtClean="0">
                <a:solidFill>
                  <a:prstClr val="white"/>
                </a:solidFill>
                <a:latin typeface="微軟正黑體" pitchFamily="34" charset="-120"/>
                <a:ea typeface="微軟正黑體" pitchFamily="34" charset="-120"/>
              </a:rPr>
              <a:t>依使用者指定 </a:t>
            </a:r>
            <a:r>
              <a:rPr lang="en-US" altLang="zh-TW" sz="2000" b="1" dirty="0" smtClean="0">
                <a:solidFill>
                  <a:prstClr val="white"/>
                </a:solidFill>
                <a:latin typeface="微軟正黑體" pitchFamily="34" charset="-120"/>
                <a:ea typeface="微軟正黑體" pitchFamily="34" charset="-120"/>
              </a:rPr>
              <a:t>(4</a:t>
            </a:r>
            <a:r>
              <a:rPr lang="zh-TW" altLang="en-US" sz="2000" b="1" dirty="0" smtClean="0">
                <a:solidFill>
                  <a:prstClr val="white"/>
                </a:solidFill>
                <a:latin typeface="微軟正黑體" pitchFamily="34" charset="-120"/>
                <a:ea typeface="微軟正黑體" pitchFamily="34" charset="-120"/>
              </a:rPr>
              <a:t>個使用者</a:t>
            </a:r>
            <a:r>
              <a:rPr lang="en-US" altLang="zh-TW" sz="2000" b="1" dirty="0" smtClean="0">
                <a:solidFill>
                  <a:prstClr val="white"/>
                </a:solidFill>
                <a:latin typeface="微軟正黑體" pitchFamily="34" charset="-120"/>
                <a:ea typeface="微軟正黑體" pitchFamily="34" charset="-120"/>
              </a:rPr>
              <a:t>)</a:t>
            </a:r>
            <a:endParaRPr lang="zh-TW" altLang="en-US" sz="2000" b="1" dirty="0">
              <a:solidFill>
                <a:prstClr val="white"/>
              </a:solidFill>
              <a:latin typeface="微軟正黑體" pitchFamily="34" charset="-120"/>
              <a:ea typeface="微軟正黑體" pitchFamily="34" charset="-120"/>
            </a:endParaRPr>
          </a:p>
        </p:txBody>
      </p:sp>
      <p:sp>
        <p:nvSpPr>
          <p:cNvPr id="3" name="Title 2"/>
          <p:cNvSpPr>
            <a:spLocks noGrp="1"/>
          </p:cNvSpPr>
          <p:nvPr>
            <p:ph type="title"/>
          </p:nvPr>
        </p:nvSpPr>
        <p:spPr>
          <a:xfrm>
            <a:off x="304800" y="80958"/>
            <a:ext cx="8534400" cy="914400"/>
          </a:xfrm>
        </p:spPr>
        <p:txBody>
          <a:bodyPr/>
          <a:lstStyle/>
          <a:p>
            <a:r>
              <a:rPr lang="en-US" altLang="zh-TW" b="1" dirty="0">
                <a:latin typeface="微軟正黑體" pitchFamily="34" charset="-120"/>
                <a:ea typeface="微軟正黑體" pitchFamily="34" charset="-120"/>
              </a:rPr>
              <a:t>CAL </a:t>
            </a:r>
            <a:r>
              <a:rPr lang="zh-TW" altLang="en-US" b="1" dirty="0">
                <a:latin typeface="微軟正黑體" pitchFamily="34" charset="-120"/>
                <a:ea typeface="微軟正黑體" pitchFamily="34" charset="-120"/>
              </a:rPr>
              <a:t>的指定方式</a:t>
            </a:r>
            <a:endParaRPr lang="en-US" altLang="zh-TW" b="1" dirty="0">
              <a:latin typeface="微軟正黑體" pitchFamily="34" charset="-120"/>
              <a:ea typeface="微軟正黑體" pitchFamily="34" charset="-120"/>
            </a:endParaRPr>
          </a:p>
        </p:txBody>
      </p:sp>
      <p:pic>
        <p:nvPicPr>
          <p:cNvPr id="2" name="Picture 1"/>
          <p:cNvPicPr>
            <a:picLocks noChangeAspect="1"/>
          </p:cNvPicPr>
          <p:nvPr/>
        </p:nvPicPr>
        <p:blipFill>
          <a:blip r:embed="rId3"/>
          <a:stretch>
            <a:fillRect/>
          </a:stretch>
        </p:blipFill>
        <p:spPr>
          <a:xfrm>
            <a:off x="428596" y="3048000"/>
            <a:ext cx="4076700" cy="2305050"/>
          </a:xfrm>
          <a:prstGeom prst="rect">
            <a:avLst/>
          </a:prstGeom>
        </p:spPr>
      </p:pic>
      <p:pic>
        <p:nvPicPr>
          <p:cNvPr id="4" name="Picture 3"/>
          <p:cNvPicPr>
            <a:picLocks noChangeAspect="1"/>
          </p:cNvPicPr>
          <p:nvPr/>
        </p:nvPicPr>
        <p:blipFill>
          <a:blip r:embed="rId4"/>
          <a:stretch>
            <a:fillRect/>
          </a:stretch>
        </p:blipFill>
        <p:spPr>
          <a:xfrm>
            <a:off x="4736321" y="2362200"/>
            <a:ext cx="3886200" cy="3181350"/>
          </a:xfrm>
          <a:prstGeom prst="rect">
            <a:avLst/>
          </a:prstGeom>
        </p:spPr>
      </p:pic>
      <p:sp>
        <p:nvSpPr>
          <p:cNvPr id="5" name="投影片編號版面配置區 4"/>
          <p:cNvSpPr>
            <a:spLocks noGrp="1"/>
          </p:cNvSpPr>
          <p:nvPr>
            <p:ph type="sldNum" sz="quarter" idx="12"/>
          </p:nvPr>
        </p:nvSpPr>
        <p:spPr/>
        <p:txBody>
          <a:bodyPr/>
          <a:lstStyle/>
          <a:p>
            <a:pPr>
              <a:lnSpc>
                <a:spcPct val="90000"/>
              </a:lnSpc>
            </a:pPr>
            <a:fld id="{1BC86A1F-E589-44B2-A543-2EC98F5547A7}" type="slidenum">
              <a:rPr lang="en-US" altLang="zh-TW" smtClean="0">
                <a:gradFill>
                  <a:gsLst>
                    <a:gs pos="0">
                      <a:srgbClr val="505050"/>
                    </a:gs>
                    <a:gs pos="100000">
                      <a:srgbClr val="505050"/>
                    </a:gs>
                  </a:gsLst>
                  <a:lin ang="5400000" scaled="0"/>
                </a:gradFill>
              </a:rPr>
              <a:pPr>
                <a:lnSpc>
                  <a:spcPct val="90000"/>
                </a:lnSpc>
              </a:pPr>
              <a:t>47</a:t>
            </a:fld>
            <a:endParaRPr lang="zh-TW" altLang="en-US"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5988332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10" presetClass="entr" presetSubtype="0" fill="hold" nodeType="with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8614" y="207575"/>
            <a:ext cx="8534400" cy="914400"/>
          </a:xfrm>
        </p:spPr>
        <p:txBody>
          <a:bodyPr>
            <a:normAutofit/>
          </a:bodyPr>
          <a:lstStyle/>
          <a:p>
            <a:r>
              <a:rPr lang="zh-TW" altLang="en-US" b="1" dirty="0" smtClean="0">
                <a:latin typeface="微軟正黑體" pitchFamily="34" charset="-120"/>
                <a:ea typeface="微軟正黑體" pitchFamily="34" charset="-120"/>
              </a:rPr>
              <a:t>間接存取</a:t>
            </a:r>
            <a:r>
              <a:rPr lang="zh-TW" altLang="en-US" b="1" dirty="0">
                <a:latin typeface="微軟正黑體" pitchFamily="34" charset="-120"/>
                <a:ea typeface="微軟正黑體" pitchFamily="34" charset="-120"/>
              </a:rPr>
              <a:t>的</a:t>
            </a:r>
            <a:r>
              <a:rPr lang="en-US" b="1" dirty="0" smtClean="0">
                <a:latin typeface="微軟正黑體" pitchFamily="34" charset="-120"/>
                <a:ea typeface="微軟正黑體" pitchFamily="34" charset="-120"/>
              </a:rPr>
              <a:t>CAL</a:t>
            </a:r>
            <a:r>
              <a:rPr lang="zh-TW" altLang="en-US" b="1" dirty="0" smtClean="0">
                <a:latin typeface="微軟正黑體" pitchFamily="34" charset="-120"/>
                <a:ea typeface="微軟正黑體" pitchFamily="34" charset="-120"/>
              </a:rPr>
              <a:t>也需計算</a:t>
            </a:r>
            <a:endParaRPr lang="en-US" b="1" dirty="0">
              <a:latin typeface="微軟正黑體" pitchFamily="34" charset="-120"/>
              <a:ea typeface="微軟正黑體" pitchFamily="34" charset="-120"/>
            </a:endParaRPr>
          </a:p>
        </p:txBody>
      </p:sp>
      <p:grpSp>
        <p:nvGrpSpPr>
          <p:cNvPr id="9" name="Group 15"/>
          <p:cNvGrpSpPr/>
          <p:nvPr/>
        </p:nvGrpSpPr>
        <p:grpSpPr>
          <a:xfrm>
            <a:off x="1524000" y="2971800"/>
            <a:ext cx="6286544" cy="3143272"/>
            <a:chOff x="1214414" y="3214686"/>
            <a:chExt cx="6286544" cy="3214710"/>
          </a:xfrm>
        </p:grpSpPr>
        <p:sp>
          <p:nvSpPr>
            <p:cNvPr id="11" name="Rounded Rectangle 10"/>
            <p:cNvSpPr/>
            <p:nvPr/>
          </p:nvSpPr>
          <p:spPr>
            <a:xfrm>
              <a:off x="1214414" y="3214686"/>
              <a:ext cx="6286544" cy="3214710"/>
            </a:xfrm>
            <a:prstGeom prst="roundRect">
              <a:avLst>
                <a:gd name="adj" fmla="val 6237"/>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zh-TW" altLang="en-US">
                <a:solidFill>
                  <a:prstClr val="black"/>
                </a:solidFill>
              </a:endParaRPr>
            </a:p>
          </p:txBody>
        </p:sp>
        <p:pic>
          <p:nvPicPr>
            <p:cNvPr id="12" name="Picture 3" descr="Figure06"/>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428728" y="3357562"/>
              <a:ext cx="5715000" cy="2914650"/>
            </a:xfrm>
            <a:prstGeom prst="rect">
              <a:avLst/>
            </a:prstGeom>
            <a:noFill/>
            <a:ln w="9525">
              <a:noFill/>
              <a:miter lim="800000"/>
              <a:headEnd/>
              <a:tailEnd/>
            </a:ln>
          </p:spPr>
        </p:pic>
      </p:grpSp>
      <p:sp>
        <p:nvSpPr>
          <p:cNvPr id="2" name="Rectangle 1"/>
          <p:cNvSpPr/>
          <p:nvPr/>
        </p:nvSpPr>
        <p:spPr>
          <a:xfrm>
            <a:off x="1015692" y="1990586"/>
            <a:ext cx="7620000" cy="1446550"/>
          </a:xfrm>
          <a:prstGeom prst="rect">
            <a:avLst/>
          </a:prstGeom>
        </p:spPr>
        <p:txBody>
          <a:bodyPr wrap="square">
            <a:spAutoFit/>
          </a:bodyPr>
          <a:lstStyle/>
          <a:p>
            <a:r>
              <a:rPr lang="zh-TW" altLang="en-US" sz="2000" dirty="0" smtClean="0">
                <a:solidFill>
                  <a:prstClr val="black"/>
                </a:solidFill>
                <a:latin typeface="微軟正黑體" panose="020B0604030504040204" pitchFamily="34" charset="-120"/>
                <a:ea typeface="微軟正黑體" panose="020B0604030504040204" pitchFamily="34" charset="-120"/>
                <a:cs typeface="Times New Roman" panose="02020603050405020304" pitchFamily="18" charset="0"/>
              </a:rPr>
              <a:t>企業</a:t>
            </a:r>
            <a:r>
              <a:rPr lang="zh-CN" altLang="zh-TW" sz="2000" dirty="0" smtClean="0">
                <a:solidFill>
                  <a:prstClr val="black"/>
                </a:solidFill>
                <a:latin typeface="微軟正黑體" panose="020B0604030504040204" pitchFamily="34" charset="-120"/>
                <a:ea typeface="微軟正黑體" panose="020B0604030504040204" pitchFamily="34" charset="-120"/>
                <a:cs typeface="Times New Roman" panose="02020603050405020304" pitchFamily="18" charset="0"/>
              </a:rPr>
              <a:t>用來共用連線之硬體或軟體、改變資訊路徑、減少直接存取使用產品的裝置或使用者數量，或者減少產品直接管理的作業系統環境</a:t>
            </a:r>
            <a:r>
              <a:rPr lang="en-US" altLang="zh-TW" sz="2000" dirty="0" smtClean="0">
                <a:solidFill>
                  <a:prstClr val="black"/>
                </a:solidFill>
                <a:latin typeface="微軟正黑體" panose="020B0604030504040204" pitchFamily="34" charset="-120"/>
                <a:ea typeface="微軟正黑體" panose="020B0604030504040204" pitchFamily="34" charset="-120"/>
                <a:cs typeface="Times New Roman" panose="02020603050405020304" pitchFamily="18" charset="0"/>
              </a:rPr>
              <a:t> (</a:t>
            </a:r>
            <a:r>
              <a:rPr lang="zh-CN" altLang="zh-TW" sz="2000" dirty="0" smtClean="0">
                <a:solidFill>
                  <a:prstClr val="black"/>
                </a:solidFill>
                <a:latin typeface="微軟正黑體" panose="020B0604030504040204" pitchFamily="34" charset="-120"/>
                <a:ea typeface="微軟正黑體" panose="020B0604030504040204" pitchFamily="34" charset="-120"/>
                <a:cs typeface="Times New Roman" panose="02020603050405020304" pitchFamily="18" charset="0"/>
              </a:rPr>
              <a:t>或</a:t>
            </a:r>
            <a:r>
              <a:rPr lang="en-US" altLang="zh-TW" sz="2000" dirty="0" smtClean="0">
                <a:solidFill>
                  <a:prstClr val="black"/>
                </a:solidFill>
                <a:latin typeface="微軟正黑體" panose="020B0604030504040204" pitchFamily="34" charset="-120"/>
                <a:ea typeface="微軟正黑體" panose="020B0604030504040204" pitchFamily="34" charset="-120"/>
                <a:cs typeface="Times New Roman" panose="02020603050405020304" pitchFamily="18" charset="0"/>
              </a:rPr>
              <a:t> OSE)</a:t>
            </a:r>
            <a:r>
              <a:rPr lang="zh-CN" altLang="zh-TW" sz="2000" dirty="0" smtClean="0">
                <a:solidFill>
                  <a:prstClr val="black"/>
                </a:solidFill>
                <a:latin typeface="微軟正黑體" panose="020B0604030504040204" pitchFamily="34" charset="-120"/>
                <a:ea typeface="微軟正黑體" panose="020B0604030504040204" pitchFamily="34" charset="-120"/>
                <a:cs typeface="Times New Roman" panose="02020603050405020304" pitchFamily="18" charset="0"/>
              </a:rPr>
              <a:t>、裝置或使用者數量</a:t>
            </a:r>
            <a:r>
              <a:rPr lang="en-US" altLang="zh-TW" sz="2000" dirty="0" smtClean="0">
                <a:solidFill>
                  <a:prstClr val="black"/>
                </a:solidFill>
                <a:latin typeface="微軟正黑體" panose="020B0604030504040204" pitchFamily="34" charset="-120"/>
                <a:ea typeface="微軟正黑體" panose="020B0604030504040204" pitchFamily="34" charset="-120"/>
                <a:cs typeface="Times New Roman" panose="02020603050405020304" pitchFamily="18" charset="0"/>
              </a:rPr>
              <a:t> (</a:t>
            </a:r>
            <a:r>
              <a:rPr lang="zh-CN" altLang="zh-TW" sz="2000" dirty="0" smtClean="0">
                <a:solidFill>
                  <a:prstClr val="black"/>
                </a:solidFill>
                <a:latin typeface="微軟正黑體" panose="020B0604030504040204" pitchFamily="34" charset="-120"/>
                <a:ea typeface="微軟正黑體" panose="020B0604030504040204" pitchFamily="34" charset="-120"/>
                <a:cs typeface="Times New Roman" panose="02020603050405020304" pitchFamily="18" charset="0"/>
              </a:rPr>
              <a:t>有時稱為「多工」或「共享」</a:t>
            </a:r>
            <a:r>
              <a:rPr lang="en-US" altLang="zh-TW" sz="2000" dirty="0" smtClean="0">
                <a:solidFill>
                  <a:prstClr val="black"/>
                </a:solidFill>
                <a:latin typeface="微軟正黑體" panose="020B0604030504040204" pitchFamily="34" charset="-120"/>
                <a:ea typeface="微軟正黑體" panose="020B0604030504040204" pitchFamily="34" charset="-120"/>
                <a:cs typeface="Times New Roman" panose="02020603050405020304" pitchFamily="18" charset="0"/>
              </a:rPr>
              <a:t>)</a:t>
            </a:r>
          </a:p>
          <a:p>
            <a:endParaRPr lang="en-US" altLang="zh-CN" dirty="0" smtClean="0">
              <a:solidFill>
                <a:prstClr val="black"/>
              </a:solidFill>
              <a:latin typeface="微軟正黑體" panose="020B0604030504040204" pitchFamily="34" charset="-120"/>
              <a:ea typeface="微軟正黑體" panose="020B0604030504040204" pitchFamily="34" charset="-120"/>
              <a:cs typeface="Times New Roman" panose="02020603050405020304" pitchFamily="18" charset="0"/>
            </a:endParaRPr>
          </a:p>
        </p:txBody>
      </p:sp>
      <p:sp>
        <p:nvSpPr>
          <p:cNvPr id="4" name="Rectangle 3"/>
          <p:cNvSpPr/>
          <p:nvPr/>
        </p:nvSpPr>
        <p:spPr>
          <a:xfrm>
            <a:off x="1273277" y="1121975"/>
            <a:ext cx="7104830" cy="461665"/>
          </a:xfrm>
          <a:prstGeom prst="rect">
            <a:avLst/>
          </a:prstGeom>
          <a:solidFill>
            <a:schemeClr val="accent6">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spAutoFit/>
          </a:bodyPr>
          <a:lstStyle/>
          <a:p>
            <a:r>
              <a:rPr lang="zh-TW" altLang="en-US" sz="2400" b="1" dirty="0" smtClean="0">
                <a:solidFill>
                  <a:prstClr val="black"/>
                </a:solidFill>
                <a:latin typeface="微軟正黑體" panose="020B0604030504040204" pitchFamily="34" charset="-120"/>
                <a:ea typeface="微軟正黑體" panose="020B0604030504040204" pitchFamily="34" charset="-120"/>
                <a:cs typeface="Times New Roman" panose="02020603050405020304" pitchFamily="18" charset="0"/>
              </a:rPr>
              <a:t>間接存取</a:t>
            </a:r>
            <a:r>
              <a:rPr lang="zh-CN" altLang="zh-TW" sz="2400" b="1" dirty="0" smtClean="0">
                <a:solidFill>
                  <a:prstClr val="black"/>
                </a:solidFill>
                <a:latin typeface="微軟正黑體" panose="020B0604030504040204" pitchFamily="34" charset="-120"/>
                <a:ea typeface="微軟正黑體" panose="020B0604030504040204" pitchFamily="34" charset="-120"/>
                <a:cs typeface="Times New Roman" panose="02020603050405020304" pitchFamily="18" charset="0"/>
              </a:rPr>
              <a:t>並不</a:t>
            </a:r>
            <a:r>
              <a:rPr lang="zh-CN" altLang="zh-TW" sz="2400" b="1" dirty="0">
                <a:solidFill>
                  <a:prstClr val="black"/>
                </a:solidFill>
                <a:latin typeface="微軟正黑體" panose="020B0604030504040204" pitchFamily="34" charset="-120"/>
                <a:ea typeface="微軟正黑體" panose="020B0604030504040204" pitchFamily="34" charset="-120"/>
                <a:cs typeface="Times New Roman" panose="02020603050405020304" pitchFamily="18" charset="0"/>
              </a:rPr>
              <a:t>減少</a:t>
            </a:r>
            <a:r>
              <a:rPr lang="zh-TW" altLang="en-US" sz="2400" b="1" dirty="0">
                <a:solidFill>
                  <a:prstClr val="black"/>
                </a:solidFill>
                <a:latin typeface="微軟正黑體" panose="020B0604030504040204" pitchFamily="34" charset="-120"/>
                <a:ea typeface="微軟正黑體" panose="020B0604030504040204" pitchFamily="34" charset="-120"/>
                <a:cs typeface="Times New Roman" panose="02020603050405020304" pitchFamily="18" charset="0"/>
              </a:rPr>
              <a:t>其</a:t>
            </a:r>
            <a:r>
              <a:rPr lang="zh-CN" altLang="zh-TW" sz="2400" b="1" dirty="0">
                <a:solidFill>
                  <a:prstClr val="black"/>
                </a:solidFill>
                <a:latin typeface="微軟正黑體" panose="020B0604030504040204" pitchFamily="34" charset="-120"/>
                <a:ea typeface="微軟正黑體" panose="020B0604030504040204" pitchFamily="34" charset="-120"/>
                <a:cs typeface="Times New Roman" panose="02020603050405020304" pitchFamily="18" charset="0"/>
              </a:rPr>
              <a:t>所需要任何類型之使用權</a:t>
            </a:r>
            <a:r>
              <a:rPr lang="zh-CN" altLang="zh-TW" sz="2400" b="1" dirty="0" smtClean="0">
                <a:solidFill>
                  <a:prstClr val="black"/>
                </a:solidFill>
                <a:latin typeface="微軟正黑體" panose="020B0604030504040204" pitchFamily="34" charset="-120"/>
                <a:ea typeface="微軟正黑體" panose="020B0604030504040204" pitchFamily="34" charset="-120"/>
                <a:cs typeface="Times New Roman" panose="02020603050405020304" pitchFamily="18" charset="0"/>
              </a:rPr>
              <a:t>數量</a:t>
            </a:r>
            <a:r>
              <a:rPr lang="en-US" altLang="zh-TW" sz="2400" b="1" dirty="0" smtClean="0">
                <a:solidFill>
                  <a:prstClr val="black"/>
                </a:solidFill>
                <a:latin typeface="微軟正黑體" panose="020B0604030504040204" pitchFamily="34" charset="-120"/>
                <a:ea typeface="微軟正黑體" panose="020B0604030504040204" pitchFamily="34" charset="-120"/>
                <a:cs typeface="Times New Roman" panose="02020603050405020304" pitchFamily="18" charset="0"/>
              </a:rPr>
              <a:t>!</a:t>
            </a:r>
            <a:endParaRPr lang="zh-TW" altLang="en-US" sz="2400" b="1" dirty="0">
              <a:solidFill>
                <a:prstClr val="black"/>
              </a:solidFill>
              <a:latin typeface="微軟正黑體" panose="020B0604030504040204" pitchFamily="34" charset="-120"/>
              <a:ea typeface="微軟正黑體" panose="020B0604030504040204" pitchFamily="34" charset="-120"/>
            </a:endParaRPr>
          </a:p>
        </p:txBody>
      </p:sp>
      <p:sp>
        <p:nvSpPr>
          <p:cNvPr id="5" name="投影片編號版面配置區 4"/>
          <p:cNvSpPr>
            <a:spLocks noGrp="1"/>
          </p:cNvSpPr>
          <p:nvPr>
            <p:ph type="sldNum" sz="quarter" idx="12"/>
          </p:nvPr>
        </p:nvSpPr>
        <p:spPr/>
        <p:txBody>
          <a:bodyPr/>
          <a:lstStyle/>
          <a:p>
            <a:pPr>
              <a:lnSpc>
                <a:spcPct val="90000"/>
              </a:lnSpc>
            </a:pPr>
            <a:fld id="{1BC86A1F-E589-44B2-A543-2EC98F5547A7}" type="slidenum">
              <a:rPr lang="en-US" altLang="zh-TW" smtClean="0">
                <a:gradFill>
                  <a:gsLst>
                    <a:gs pos="0">
                      <a:srgbClr val="505050"/>
                    </a:gs>
                    <a:gs pos="100000">
                      <a:srgbClr val="505050"/>
                    </a:gs>
                  </a:gsLst>
                  <a:lin ang="5400000" scaled="0"/>
                </a:gradFill>
              </a:rPr>
              <a:pPr>
                <a:lnSpc>
                  <a:spcPct val="90000"/>
                </a:lnSpc>
              </a:pPr>
              <a:t>48</a:t>
            </a:fld>
            <a:endParaRPr lang="zh-TW" altLang="en-US"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4152030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04800" y="2438400"/>
            <a:ext cx="4572000" cy="1146175"/>
          </a:xfrm>
        </p:spPr>
        <p:txBody>
          <a:bodyPr>
            <a:noAutofit/>
          </a:bodyPr>
          <a:lstStyle/>
          <a:p>
            <a:r>
              <a:rPr lang="en-US" altLang="zh-TW" sz="4000" b="1" dirty="0" smtClean="0">
                <a:latin typeface="+mj-lt"/>
                <a:ea typeface="微軟正黑體" pitchFamily="34" charset="-120"/>
              </a:rPr>
              <a:t>Windows Server </a:t>
            </a:r>
            <a:r>
              <a:rPr lang="en-US" altLang="zh-TW" sz="4000" dirty="0" smtClean="0">
                <a:latin typeface="微軟正黑體" pitchFamily="34" charset="-120"/>
                <a:ea typeface="微軟正黑體" pitchFamily="34" charset="-120"/>
              </a:rPr>
              <a:t/>
            </a:r>
            <a:br>
              <a:rPr lang="en-US" altLang="zh-TW" sz="4000" dirty="0" smtClean="0">
                <a:latin typeface="微軟正黑體" pitchFamily="34" charset="-120"/>
                <a:ea typeface="微軟正黑體" pitchFamily="34" charset="-120"/>
              </a:rPr>
            </a:br>
            <a:r>
              <a:rPr lang="zh-TW" altLang="en-US" sz="4000" dirty="0" smtClean="0">
                <a:latin typeface="微軟正黑體" pitchFamily="34" charset="-120"/>
                <a:ea typeface="微軟正黑體" pitchFamily="34" charset="-120"/>
              </a:rPr>
              <a:t>授權模式</a:t>
            </a:r>
            <a:endParaRPr lang="en-US" sz="4000" dirty="0"/>
          </a:p>
        </p:txBody>
      </p:sp>
    </p:spTree>
    <p:extLst>
      <p:ext uri="{BB962C8B-B14F-4D97-AF65-F5344CB8AC3E}">
        <p14:creationId xmlns:p14="http://schemas.microsoft.com/office/powerpoint/2010/main" val="130263340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377604" y="1561574"/>
            <a:ext cx="1069802" cy="3293209"/>
          </a:xfrm>
          <a:prstGeom prst="rect">
            <a:avLst/>
          </a:prstGeom>
        </p:spPr>
        <p:txBody>
          <a:bodyPr wrap="square">
            <a:spAutoFit/>
          </a:bodyPr>
          <a:lstStyle/>
          <a:p>
            <a:r>
              <a:rPr lang="en-US" sz="800" dirty="0"/>
              <a:t>Fireworks</a:t>
            </a:r>
          </a:p>
          <a:p>
            <a:r>
              <a:rPr lang="zh-TW" altLang="en-US" sz="800" dirty="0" smtClean="0"/>
              <a:t>編輯網站及</a:t>
            </a:r>
            <a:r>
              <a:rPr lang="en-US" altLang="zh-TW" sz="800" dirty="0"/>
              <a:t>a</a:t>
            </a:r>
            <a:r>
              <a:rPr lang="en-US" altLang="zh-TW" sz="800" dirty="0" smtClean="0"/>
              <a:t>pp</a:t>
            </a:r>
            <a:r>
              <a:rPr lang="zh-TW" altLang="en-US" sz="800" dirty="0" smtClean="0"/>
              <a:t>影像</a:t>
            </a:r>
            <a:endParaRPr lang="en-US" sz="800" dirty="0" smtClean="0"/>
          </a:p>
          <a:p>
            <a:endParaRPr lang="en-US" sz="800" dirty="0"/>
          </a:p>
          <a:p>
            <a:endParaRPr lang="en-US" sz="800" dirty="0"/>
          </a:p>
          <a:p>
            <a:r>
              <a:rPr lang="en-US" sz="800" dirty="0"/>
              <a:t>Dreamweaver</a:t>
            </a:r>
          </a:p>
          <a:p>
            <a:r>
              <a:rPr lang="zh-TW" altLang="en-US" sz="800" dirty="0" smtClean="0"/>
              <a:t>網站、</a:t>
            </a:r>
            <a:r>
              <a:rPr lang="en-US" altLang="zh-TW" sz="800" dirty="0"/>
              <a:t>a</a:t>
            </a:r>
            <a:r>
              <a:rPr lang="en-US" altLang="zh-TW" sz="800" dirty="0" smtClean="0"/>
              <a:t>pp</a:t>
            </a:r>
            <a:r>
              <a:rPr lang="zh-TW" altLang="en-US" sz="800" dirty="0" smtClean="0"/>
              <a:t>設計與編碼</a:t>
            </a:r>
            <a:endParaRPr lang="en-US" sz="800" dirty="0" smtClean="0"/>
          </a:p>
          <a:p>
            <a:endParaRPr lang="en-US" sz="800" dirty="0"/>
          </a:p>
          <a:p>
            <a:endParaRPr lang="en-US" sz="800" dirty="0"/>
          </a:p>
          <a:p>
            <a:r>
              <a:rPr lang="en-US" sz="800" dirty="0"/>
              <a:t>Audition</a:t>
            </a:r>
          </a:p>
          <a:p>
            <a:r>
              <a:rPr lang="zh-TW" altLang="en-US" sz="800" dirty="0" smtClean="0"/>
              <a:t>音訊錄製、混音及修復</a:t>
            </a:r>
            <a:endParaRPr lang="en-US" sz="800" dirty="0" smtClean="0"/>
          </a:p>
          <a:p>
            <a:endParaRPr lang="en-US" sz="800" dirty="0" smtClean="0"/>
          </a:p>
          <a:p>
            <a:endParaRPr lang="en-US" sz="800" dirty="0"/>
          </a:p>
          <a:p>
            <a:r>
              <a:rPr lang="en-US" sz="800" dirty="0" err="1"/>
              <a:t>SpeedGrade</a:t>
            </a:r>
            <a:endParaRPr lang="en-US" sz="800" dirty="0"/>
          </a:p>
          <a:p>
            <a:r>
              <a:rPr lang="zh-TW" altLang="en-US" sz="800" dirty="0" smtClean="0"/>
              <a:t>電影輸出及色彩調整</a:t>
            </a:r>
            <a:endParaRPr lang="en-US" sz="800" dirty="0" smtClean="0"/>
          </a:p>
          <a:p>
            <a:endParaRPr lang="en-US" sz="800" dirty="0"/>
          </a:p>
          <a:p>
            <a:endParaRPr lang="en-US" sz="800" dirty="0"/>
          </a:p>
          <a:p>
            <a:r>
              <a:rPr lang="en-US" sz="800" dirty="0"/>
              <a:t>Prelude</a:t>
            </a:r>
          </a:p>
          <a:p>
            <a:r>
              <a:rPr lang="zh-TW" altLang="en-US" sz="800" dirty="0" smtClean="0"/>
              <a:t>中繼資料擷取、記錄及快速剪輯</a:t>
            </a:r>
            <a:endParaRPr lang="en-US" sz="800" dirty="0" smtClean="0"/>
          </a:p>
          <a:p>
            <a:endParaRPr lang="en-US" sz="800" dirty="0" smtClean="0"/>
          </a:p>
          <a:p>
            <a:endParaRPr lang="en-US" sz="800" dirty="0"/>
          </a:p>
          <a:p>
            <a:r>
              <a:rPr lang="en-US" sz="800" dirty="0"/>
              <a:t>Bridge</a:t>
            </a:r>
          </a:p>
          <a:p>
            <a:r>
              <a:rPr lang="zh-TW" altLang="en-US" sz="800" dirty="0" smtClean="0"/>
              <a:t>數位資產管理</a:t>
            </a:r>
            <a:endParaRPr lang="en-US" altLang="zh-TW" sz="800" dirty="0" smtClean="0"/>
          </a:p>
        </p:txBody>
      </p:sp>
      <p:sp>
        <p:nvSpPr>
          <p:cNvPr id="7" name="Rectangle 6"/>
          <p:cNvSpPr/>
          <p:nvPr/>
        </p:nvSpPr>
        <p:spPr>
          <a:xfrm>
            <a:off x="911132" y="1541568"/>
            <a:ext cx="1051670" cy="3416320"/>
          </a:xfrm>
          <a:prstGeom prst="rect">
            <a:avLst/>
          </a:prstGeom>
        </p:spPr>
        <p:txBody>
          <a:bodyPr wrap="square">
            <a:spAutoFit/>
          </a:bodyPr>
          <a:lstStyle/>
          <a:p>
            <a:r>
              <a:rPr lang="en-US" sz="800" dirty="0"/>
              <a:t>Photoshop</a:t>
            </a:r>
          </a:p>
          <a:p>
            <a:r>
              <a:rPr lang="zh-TW" altLang="en-US" sz="800" dirty="0" smtClean="0"/>
              <a:t>影像編輯及合成</a:t>
            </a:r>
            <a:endParaRPr lang="en-US" altLang="zh-TW" sz="800" dirty="0" smtClean="0"/>
          </a:p>
          <a:p>
            <a:endParaRPr lang="en-US" sz="800" dirty="0" smtClean="0"/>
          </a:p>
          <a:p>
            <a:endParaRPr lang="en-US" sz="800" dirty="0"/>
          </a:p>
          <a:p>
            <a:r>
              <a:rPr lang="en-US" sz="800" dirty="0"/>
              <a:t>After Effects</a:t>
            </a:r>
          </a:p>
          <a:p>
            <a:r>
              <a:rPr lang="zh-TW" altLang="en-US" sz="800" dirty="0" smtClean="0"/>
              <a:t>電影視覺效果與動畫圖形</a:t>
            </a:r>
            <a:endParaRPr lang="en-US" sz="800" dirty="0" smtClean="0"/>
          </a:p>
          <a:p>
            <a:endParaRPr lang="en-US" sz="800" dirty="0" smtClean="0"/>
          </a:p>
          <a:p>
            <a:endParaRPr lang="en-US" sz="800" dirty="0"/>
          </a:p>
          <a:p>
            <a:r>
              <a:rPr lang="en-US" sz="800" dirty="0"/>
              <a:t>Adobe Premiere Pro</a:t>
            </a:r>
          </a:p>
          <a:p>
            <a:r>
              <a:rPr lang="zh-TW" altLang="en-US" sz="800" dirty="0" smtClean="0"/>
              <a:t>影像製作與編輯</a:t>
            </a:r>
            <a:endParaRPr lang="en-US" sz="800" dirty="0" smtClean="0"/>
          </a:p>
          <a:p>
            <a:endParaRPr lang="en-US" sz="800" dirty="0" smtClean="0"/>
          </a:p>
          <a:p>
            <a:endParaRPr lang="en-US" sz="800" dirty="0"/>
          </a:p>
          <a:p>
            <a:r>
              <a:rPr lang="en-US" sz="800" dirty="0"/>
              <a:t>InDesign</a:t>
            </a:r>
          </a:p>
          <a:p>
            <a:r>
              <a:rPr lang="zh-TW" altLang="en-US" sz="800" dirty="0" smtClean="0"/>
              <a:t>頁面設計、版型設計及發行</a:t>
            </a:r>
            <a:endParaRPr lang="en-US" sz="800" dirty="0" smtClean="0"/>
          </a:p>
          <a:p>
            <a:endParaRPr lang="en-US" sz="800" dirty="0" smtClean="0"/>
          </a:p>
          <a:p>
            <a:endParaRPr lang="en-US" sz="800" dirty="0"/>
          </a:p>
          <a:p>
            <a:r>
              <a:rPr lang="en-US" sz="800" dirty="0"/>
              <a:t>Flash Professional</a:t>
            </a:r>
          </a:p>
          <a:p>
            <a:r>
              <a:rPr lang="zh-TW" altLang="en-US" sz="800" dirty="0" smtClean="0"/>
              <a:t>互動體驗、遊戲設計與行動封包</a:t>
            </a:r>
            <a:endParaRPr lang="en-US" sz="800" dirty="0" smtClean="0"/>
          </a:p>
          <a:p>
            <a:endParaRPr lang="en-US" sz="800" dirty="0" smtClean="0"/>
          </a:p>
          <a:p>
            <a:endParaRPr lang="en-US" sz="800" dirty="0"/>
          </a:p>
          <a:p>
            <a:r>
              <a:rPr lang="en-US" sz="800" dirty="0"/>
              <a:t>Illustrator</a:t>
            </a:r>
          </a:p>
          <a:p>
            <a:r>
              <a:rPr lang="zh-TW" altLang="en-US" sz="800" dirty="0" smtClean="0"/>
              <a:t>向量圖形與繪製</a:t>
            </a:r>
            <a:endParaRPr lang="en-US" sz="800" dirty="0" smtClean="0"/>
          </a:p>
          <a:p>
            <a:endParaRPr lang="en-US" sz="800" dirty="0"/>
          </a:p>
        </p:txBody>
      </p:sp>
      <p:sp>
        <p:nvSpPr>
          <p:cNvPr id="8" name="Title 1"/>
          <p:cNvSpPr>
            <a:spLocks noGrp="1"/>
          </p:cNvSpPr>
          <p:nvPr>
            <p:ph type="title"/>
          </p:nvPr>
        </p:nvSpPr>
        <p:spPr>
          <a:xfrm>
            <a:off x="511368" y="400280"/>
            <a:ext cx="7784507" cy="780127"/>
          </a:xfrm>
        </p:spPr>
        <p:txBody>
          <a:bodyPr>
            <a:normAutofit/>
          </a:bodyPr>
          <a:lstStyle/>
          <a:p>
            <a:r>
              <a:rPr lang="en-US" altLang="zh-TW" dirty="0" smtClean="0"/>
              <a:t>Creative Cloud </a:t>
            </a:r>
            <a:r>
              <a:rPr lang="zh-TW" altLang="en-US" dirty="0" smtClean="0"/>
              <a:t>的內容</a:t>
            </a:r>
            <a:endParaRPr lang="en-US" dirty="0"/>
          </a:p>
        </p:txBody>
      </p:sp>
      <p:pic>
        <p:nvPicPr>
          <p:cNvPr id="9" name="Picture 8" descr="photoshop.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1368" y="1561574"/>
            <a:ext cx="399764" cy="381593"/>
          </a:xfrm>
          <a:prstGeom prst="rect">
            <a:avLst/>
          </a:prstGeom>
        </p:spPr>
      </p:pic>
      <p:pic>
        <p:nvPicPr>
          <p:cNvPr id="10" name="Picture 9" descr="aftereffect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1368" y="2075446"/>
            <a:ext cx="399764" cy="381593"/>
          </a:xfrm>
          <a:prstGeom prst="rect">
            <a:avLst/>
          </a:prstGeom>
        </p:spPr>
      </p:pic>
      <p:pic>
        <p:nvPicPr>
          <p:cNvPr id="11" name="Picture 10" descr="premierepro.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1368" y="2662438"/>
            <a:ext cx="399764" cy="381593"/>
          </a:xfrm>
          <a:prstGeom prst="rect">
            <a:avLst/>
          </a:prstGeom>
        </p:spPr>
      </p:pic>
      <p:pic>
        <p:nvPicPr>
          <p:cNvPr id="12" name="Picture 11" descr="indesign.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1368" y="3249728"/>
            <a:ext cx="399764" cy="381593"/>
          </a:xfrm>
          <a:prstGeom prst="rect">
            <a:avLst/>
          </a:prstGeom>
        </p:spPr>
      </p:pic>
      <p:pic>
        <p:nvPicPr>
          <p:cNvPr id="13" name="Picture 12" descr="flash.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1368" y="3883083"/>
            <a:ext cx="399764" cy="381593"/>
          </a:xfrm>
          <a:prstGeom prst="rect">
            <a:avLst/>
          </a:prstGeom>
        </p:spPr>
      </p:pic>
      <p:pic>
        <p:nvPicPr>
          <p:cNvPr id="14" name="Picture 13" descr="illustrator.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1368" y="4469860"/>
            <a:ext cx="399764" cy="381593"/>
          </a:xfrm>
          <a:prstGeom prst="rect">
            <a:avLst/>
          </a:prstGeom>
        </p:spPr>
      </p:pic>
      <p:pic>
        <p:nvPicPr>
          <p:cNvPr id="15" name="Picture 14" descr="fireworks.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962802" y="1561574"/>
            <a:ext cx="399764" cy="381593"/>
          </a:xfrm>
          <a:prstGeom prst="rect">
            <a:avLst/>
          </a:prstGeom>
        </p:spPr>
      </p:pic>
      <p:pic>
        <p:nvPicPr>
          <p:cNvPr id="16" name="Picture 15" descr="dreamweaver.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962802" y="2086694"/>
            <a:ext cx="399764" cy="381593"/>
          </a:xfrm>
          <a:prstGeom prst="rect">
            <a:avLst/>
          </a:prstGeom>
        </p:spPr>
      </p:pic>
      <p:pic>
        <p:nvPicPr>
          <p:cNvPr id="17" name="Picture 16" descr="audition.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962802" y="2637499"/>
            <a:ext cx="399764" cy="381593"/>
          </a:xfrm>
          <a:prstGeom prst="rect">
            <a:avLst/>
          </a:prstGeom>
        </p:spPr>
      </p:pic>
      <p:pic>
        <p:nvPicPr>
          <p:cNvPr id="18" name="Picture 17" descr="speedgrade.pn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962802" y="3249728"/>
            <a:ext cx="399764" cy="381593"/>
          </a:xfrm>
          <a:prstGeom prst="rect">
            <a:avLst/>
          </a:prstGeom>
        </p:spPr>
      </p:pic>
      <p:pic>
        <p:nvPicPr>
          <p:cNvPr id="19" name="Picture 18" descr="prelude.png"/>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962802" y="3883083"/>
            <a:ext cx="399764" cy="381593"/>
          </a:xfrm>
          <a:prstGeom prst="rect">
            <a:avLst/>
          </a:prstGeom>
        </p:spPr>
      </p:pic>
      <p:pic>
        <p:nvPicPr>
          <p:cNvPr id="20" name="Picture 19"/>
          <p:cNvPicPr>
            <a:picLocks noChangeAspect="1"/>
          </p:cNvPicPr>
          <p:nvPr/>
        </p:nvPicPr>
        <p:blipFill>
          <a:blip r:embed="rId13"/>
          <a:stretch>
            <a:fillRect/>
          </a:stretch>
        </p:blipFill>
        <p:spPr>
          <a:xfrm>
            <a:off x="1962802" y="4430244"/>
            <a:ext cx="414802" cy="414802"/>
          </a:xfrm>
          <a:prstGeom prst="rect">
            <a:avLst/>
          </a:prstGeom>
        </p:spPr>
      </p:pic>
      <p:sp>
        <p:nvSpPr>
          <p:cNvPr id="21" name="Rectangle 20"/>
          <p:cNvSpPr/>
          <p:nvPr/>
        </p:nvSpPr>
        <p:spPr>
          <a:xfrm>
            <a:off x="4571999" y="2490885"/>
            <a:ext cx="1862051" cy="3693319"/>
          </a:xfrm>
          <a:prstGeom prst="rect">
            <a:avLst/>
          </a:prstGeom>
        </p:spPr>
        <p:txBody>
          <a:bodyPr wrap="square">
            <a:spAutoFit/>
          </a:bodyPr>
          <a:lstStyle/>
          <a:p>
            <a:r>
              <a:rPr lang="en-US" sz="900" b="0" dirty="0">
                <a:latin typeface="Arial" charset="0"/>
                <a:ea typeface="+mn-ea"/>
              </a:rPr>
              <a:t>Adobe Muse</a:t>
            </a:r>
          </a:p>
          <a:p>
            <a:r>
              <a:rPr lang="zh-TW" altLang="en-US" sz="900" b="0" dirty="0" smtClean="0">
                <a:latin typeface="Arial" charset="0"/>
                <a:ea typeface="+mn-ea"/>
              </a:rPr>
              <a:t>無需編碼的網站設計</a:t>
            </a:r>
            <a:endParaRPr lang="en-US" sz="900" b="0" dirty="0" smtClean="0">
              <a:latin typeface="Arial" charset="0"/>
              <a:ea typeface="+mn-ea"/>
            </a:endParaRPr>
          </a:p>
          <a:p>
            <a:endParaRPr lang="en-US" sz="900" b="0" dirty="0">
              <a:latin typeface="Arial" charset="0"/>
              <a:ea typeface="+mn-ea"/>
            </a:endParaRPr>
          </a:p>
          <a:p>
            <a:r>
              <a:rPr lang="en-US" sz="900" b="0" dirty="0" err="1" smtClean="0">
                <a:latin typeface="Arial" charset="0"/>
                <a:ea typeface="+mn-ea"/>
              </a:rPr>
              <a:t>Lightroom</a:t>
            </a:r>
            <a:r>
              <a:rPr lang="en-US" sz="900" b="0" dirty="0" smtClean="0">
                <a:latin typeface="Arial" charset="0"/>
                <a:ea typeface="+mn-ea"/>
              </a:rPr>
              <a:t> 4</a:t>
            </a:r>
            <a:endParaRPr lang="en-US" sz="900" b="0" dirty="0">
              <a:latin typeface="Arial" charset="0"/>
              <a:ea typeface="+mn-ea"/>
            </a:endParaRPr>
          </a:p>
          <a:p>
            <a:r>
              <a:rPr lang="zh-TW" altLang="en-US" sz="900" b="0" dirty="0" smtClean="0">
                <a:latin typeface="Arial" charset="0"/>
                <a:ea typeface="+mn-ea"/>
              </a:rPr>
              <a:t>數位照片處理與編修</a:t>
            </a:r>
            <a:endParaRPr lang="en-US" sz="900" b="0" dirty="0" smtClean="0">
              <a:latin typeface="Arial" charset="0"/>
              <a:ea typeface="+mn-ea"/>
            </a:endParaRPr>
          </a:p>
          <a:p>
            <a:endParaRPr lang="en-US" sz="900" b="0" dirty="0">
              <a:latin typeface="Arial" charset="0"/>
              <a:ea typeface="+mn-ea"/>
            </a:endParaRPr>
          </a:p>
          <a:p>
            <a:r>
              <a:rPr lang="en-US" sz="900" b="0" dirty="0">
                <a:latin typeface="Arial" charset="0"/>
                <a:ea typeface="+mn-ea"/>
              </a:rPr>
              <a:t>Flash Builder Premium</a:t>
            </a:r>
          </a:p>
          <a:p>
            <a:r>
              <a:rPr lang="en-US" sz="900" b="0" dirty="0" smtClean="0">
                <a:latin typeface="Arial" charset="0"/>
                <a:ea typeface="+mn-ea"/>
              </a:rPr>
              <a:t>Flash</a:t>
            </a:r>
            <a:r>
              <a:rPr lang="en-US" sz="900" b="0" dirty="0">
                <a:latin typeface="Arial" charset="0"/>
                <a:ea typeface="+mn-ea"/>
              </a:rPr>
              <a:t> </a:t>
            </a:r>
            <a:r>
              <a:rPr lang="en-US" sz="900" b="0" dirty="0" smtClean="0">
                <a:latin typeface="Arial" charset="0"/>
                <a:ea typeface="+mn-ea"/>
              </a:rPr>
              <a:t>app</a:t>
            </a:r>
            <a:r>
              <a:rPr lang="zh-TW" altLang="en-US" sz="900" b="0" dirty="0" smtClean="0">
                <a:latin typeface="Arial" charset="0"/>
                <a:ea typeface="+mn-ea"/>
              </a:rPr>
              <a:t>及行動裝置封包開發環境（</a:t>
            </a:r>
            <a:r>
              <a:rPr lang="en-US" altLang="zh-TW" sz="900" b="0" dirty="0" smtClean="0">
                <a:latin typeface="Arial" charset="0"/>
                <a:ea typeface="+mn-ea"/>
              </a:rPr>
              <a:t>IDE</a:t>
            </a:r>
            <a:r>
              <a:rPr lang="zh-TW" altLang="en-US" sz="900" b="0" dirty="0" smtClean="0">
                <a:latin typeface="Arial" charset="0"/>
                <a:ea typeface="+mn-ea"/>
              </a:rPr>
              <a:t>）</a:t>
            </a:r>
            <a:endParaRPr lang="en-US" sz="900" b="0" dirty="0" smtClean="0">
              <a:latin typeface="Arial" charset="0"/>
              <a:ea typeface="+mn-ea"/>
            </a:endParaRPr>
          </a:p>
          <a:p>
            <a:endParaRPr lang="en-US" sz="900" b="0" dirty="0">
              <a:latin typeface="Arial" charset="0"/>
              <a:ea typeface="+mn-ea"/>
            </a:endParaRPr>
          </a:p>
          <a:p>
            <a:r>
              <a:rPr lang="en-US" sz="900" b="0" dirty="0">
                <a:latin typeface="Arial" charset="0"/>
                <a:ea typeface="+mn-ea"/>
              </a:rPr>
              <a:t>Game Developer </a:t>
            </a:r>
            <a:r>
              <a:rPr lang="en-US" sz="900" b="0" dirty="0" smtClean="0">
                <a:latin typeface="Arial" charset="0"/>
                <a:ea typeface="+mn-ea"/>
              </a:rPr>
              <a:t>Tools</a:t>
            </a:r>
          </a:p>
          <a:p>
            <a:r>
              <a:rPr lang="zh-TW" altLang="en-US" sz="900" b="0" dirty="0" smtClean="0">
                <a:latin typeface="Arial" charset="0"/>
                <a:ea typeface="+mn-ea"/>
              </a:rPr>
              <a:t>建置、優惠及傳遞網頁與行動遊戲</a:t>
            </a:r>
            <a:endParaRPr lang="en-US" sz="900" b="0" dirty="0" smtClean="0">
              <a:latin typeface="Arial" charset="0"/>
              <a:ea typeface="+mn-ea"/>
            </a:endParaRPr>
          </a:p>
          <a:p>
            <a:endParaRPr lang="en-US" sz="900" b="0" dirty="0">
              <a:latin typeface="Arial" charset="0"/>
              <a:ea typeface="+mn-ea"/>
            </a:endParaRPr>
          </a:p>
          <a:p>
            <a:r>
              <a:rPr lang="en-US" sz="900" b="0" dirty="0">
                <a:latin typeface="Arial" charset="0"/>
                <a:ea typeface="+mn-ea"/>
              </a:rPr>
              <a:t>Acrobat XI Pro</a:t>
            </a:r>
          </a:p>
          <a:p>
            <a:r>
              <a:rPr lang="zh-TW" altLang="en-US" sz="900" b="0" dirty="0" smtClean="0">
                <a:latin typeface="Arial" charset="0"/>
                <a:ea typeface="+mn-ea"/>
              </a:rPr>
              <a:t>製作、編輯與簽署</a:t>
            </a:r>
            <a:r>
              <a:rPr lang="en-US" altLang="zh-TW" sz="900" b="0" dirty="0" smtClean="0">
                <a:latin typeface="Arial" charset="0"/>
                <a:ea typeface="+mn-ea"/>
              </a:rPr>
              <a:t>PDF</a:t>
            </a:r>
            <a:r>
              <a:rPr lang="zh-TW" altLang="en-US" sz="900" b="0" dirty="0" smtClean="0">
                <a:latin typeface="Arial" charset="0"/>
                <a:ea typeface="+mn-ea"/>
              </a:rPr>
              <a:t>文件及表單</a:t>
            </a:r>
            <a:endParaRPr lang="en-US" sz="900" b="0" dirty="0" smtClean="0">
              <a:latin typeface="Arial" charset="0"/>
              <a:ea typeface="+mn-ea"/>
            </a:endParaRPr>
          </a:p>
          <a:p>
            <a:endParaRPr lang="en-US" sz="900" b="0" dirty="0">
              <a:latin typeface="Arial" charset="0"/>
              <a:ea typeface="+mn-ea"/>
            </a:endParaRPr>
          </a:p>
          <a:p>
            <a:r>
              <a:rPr lang="en-US" sz="900" b="0" dirty="0">
                <a:latin typeface="Arial" charset="0"/>
                <a:ea typeface="+mn-ea"/>
              </a:rPr>
              <a:t>Creative Cloud Connection preview</a:t>
            </a:r>
          </a:p>
          <a:p>
            <a:r>
              <a:rPr lang="zh-TW" altLang="en-US" sz="900" b="0" dirty="0" smtClean="0">
                <a:latin typeface="Arial" charset="0"/>
                <a:ea typeface="+mn-ea"/>
              </a:rPr>
              <a:t>由桌面存取</a:t>
            </a:r>
            <a:r>
              <a:rPr lang="en-US" altLang="zh-TW" sz="900" b="0" dirty="0" smtClean="0">
                <a:latin typeface="Arial" charset="0"/>
                <a:ea typeface="+mn-ea"/>
              </a:rPr>
              <a:t>Creative Cloud</a:t>
            </a:r>
            <a:r>
              <a:rPr lang="zh-TW" altLang="en-US" sz="900" b="0" dirty="0" smtClean="0">
                <a:latin typeface="Arial" charset="0"/>
                <a:ea typeface="+mn-ea"/>
              </a:rPr>
              <a:t>檔案</a:t>
            </a:r>
            <a:endParaRPr lang="en-US" sz="900" b="0" dirty="0" smtClean="0">
              <a:latin typeface="Arial" charset="0"/>
              <a:ea typeface="+mn-ea"/>
            </a:endParaRPr>
          </a:p>
          <a:p>
            <a:endParaRPr lang="en-US" sz="900" b="0" dirty="0">
              <a:latin typeface="Arial" charset="0"/>
              <a:ea typeface="+mn-ea"/>
            </a:endParaRPr>
          </a:p>
          <a:p>
            <a:r>
              <a:rPr lang="en-US" sz="900" b="0" dirty="0">
                <a:latin typeface="Arial" charset="0"/>
                <a:ea typeface="+mn-ea"/>
              </a:rPr>
              <a:t>Touch App Plugins</a:t>
            </a:r>
          </a:p>
          <a:p>
            <a:r>
              <a:rPr lang="zh-TW" altLang="en-US" sz="900" b="0" dirty="0" smtClean="0">
                <a:latin typeface="Arial" charset="0"/>
                <a:ea typeface="+mn-ea"/>
              </a:rPr>
              <a:t>在</a:t>
            </a:r>
            <a:r>
              <a:rPr lang="en-US" altLang="zh-TW" sz="900" b="0" dirty="0" smtClean="0">
                <a:latin typeface="Arial" charset="0"/>
                <a:ea typeface="+mn-ea"/>
              </a:rPr>
              <a:t>CS6</a:t>
            </a:r>
            <a:r>
              <a:rPr lang="zh-TW" altLang="en-US" sz="900" b="0" dirty="0" smtClean="0">
                <a:latin typeface="Arial" charset="0"/>
                <a:ea typeface="+mn-ea"/>
              </a:rPr>
              <a:t>桌面程式中，開啟及編輯</a:t>
            </a:r>
            <a:r>
              <a:rPr lang="en-US" altLang="zh-TW" sz="900" b="0" dirty="0" smtClean="0">
                <a:latin typeface="Arial" charset="0"/>
                <a:ea typeface="+mn-ea"/>
              </a:rPr>
              <a:t>Touch App</a:t>
            </a:r>
            <a:r>
              <a:rPr lang="zh-TW" altLang="en-US" sz="900" b="0" dirty="0" smtClean="0">
                <a:latin typeface="Arial" charset="0"/>
                <a:ea typeface="+mn-ea"/>
              </a:rPr>
              <a:t>檔案</a:t>
            </a:r>
            <a:endParaRPr lang="en-US" sz="900" b="0" dirty="0" smtClean="0">
              <a:latin typeface="Arial" charset="0"/>
              <a:ea typeface="+mn-ea"/>
            </a:endParaRPr>
          </a:p>
        </p:txBody>
      </p:sp>
      <p:sp>
        <p:nvSpPr>
          <p:cNvPr id="22" name="Slide Number Placeholder 2"/>
          <p:cNvSpPr txBox="1">
            <a:spLocks/>
          </p:cNvSpPr>
          <p:nvPr/>
        </p:nvSpPr>
        <p:spPr>
          <a:xfrm>
            <a:off x="6093229" y="6361911"/>
            <a:ext cx="429683" cy="109622"/>
          </a:xfrm>
          <a:prstGeom prst="rect">
            <a:avLst/>
          </a:prstGeom>
        </p:spPr>
        <p:txBody>
          <a:bodyPr vert="horz" lIns="91440" tIns="45720" rIns="91440" bIns="45720" rtlCol="0" anchor="ctr"/>
          <a:lstStyle>
            <a:defPPr>
              <a:defRPr lang="en-US"/>
            </a:defPPr>
            <a:lvl1pPr algn="r" rtl="0" fontAlgn="base">
              <a:spcBef>
                <a:spcPct val="0"/>
              </a:spcBef>
              <a:spcAft>
                <a:spcPct val="0"/>
              </a:spcAft>
              <a:defRPr sz="800" kern="1200">
                <a:solidFill>
                  <a:schemeClr val="bg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ABBD059-8FB4-452E-8D04-3B5AC4A4D04A}" type="slidenum">
              <a:rPr kumimoji="0" lang="en-US" sz="800" b="0" i="0" u="none" strike="noStrike" kern="1200" cap="none" spc="0" normalizeH="0" baseline="0" noProof="0" smtClean="0">
                <a:ln>
                  <a:noFill/>
                </a:ln>
                <a:solidFill>
                  <a:prstClr val="white"/>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sz="800" b="0" i="0" u="none" strike="noStrike" kern="1200" cap="none" spc="0" normalizeH="0" baseline="0" noProof="0">
              <a:ln>
                <a:noFill/>
              </a:ln>
              <a:solidFill>
                <a:prstClr val="white"/>
              </a:solidFill>
              <a:effectLst/>
              <a:uLnTx/>
              <a:uFillTx/>
              <a:latin typeface="Arial" charset="0"/>
              <a:ea typeface="+mn-ea"/>
              <a:cs typeface="+mn-cs"/>
            </a:endParaRPr>
          </a:p>
        </p:txBody>
      </p:sp>
      <p:pic>
        <p:nvPicPr>
          <p:cNvPr id="23" name="Picture 22" descr="muse.pn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312224" y="2569918"/>
            <a:ext cx="262405" cy="250477"/>
          </a:xfrm>
          <a:prstGeom prst="rect">
            <a:avLst/>
          </a:prstGeom>
        </p:spPr>
      </p:pic>
      <p:pic>
        <p:nvPicPr>
          <p:cNvPr id="24" name="Picture 23" descr="lightroom.p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312224" y="2980479"/>
            <a:ext cx="262405" cy="250477"/>
          </a:xfrm>
          <a:prstGeom prst="rect">
            <a:avLst/>
          </a:prstGeom>
        </p:spPr>
      </p:pic>
      <p:pic>
        <p:nvPicPr>
          <p:cNvPr id="25" name="Picture 24" descr="flashbuilder.png"/>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4312224" y="3468234"/>
            <a:ext cx="262405" cy="250477"/>
          </a:xfrm>
          <a:prstGeom prst="rect">
            <a:avLst/>
          </a:prstGeom>
        </p:spPr>
      </p:pic>
      <p:pic>
        <p:nvPicPr>
          <p:cNvPr id="26" name="Picture 25" descr="gaming.png"/>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311748" y="3946717"/>
            <a:ext cx="262478" cy="262478"/>
          </a:xfrm>
          <a:prstGeom prst="rect">
            <a:avLst/>
          </a:prstGeom>
        </p:spPr>
      </p:pic>
      <p:pic>
        <p:nvPicPr>
          <p:cNvPr id="27" name="Picture 26" descr="acrobat.png"/>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4312224" y="4494919"/>
            <a:ext cx="262405" cy="250477"/>
          </a:xfrm>
          <a:prstGeom prst="rect">
            <a:avLst/>
          </a:prstGeom>
        </p:spPr>
      </p:pic>
      <p:pic>
        <p:nvPicPr>
          <p:cNvPr id="28" name="Picture 27" descr="desktopsync.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312224" y="5046698"/>
            <a:ext cx="262405" cy="250477"/>
          </a:xfrm>
          <a:prstGeom prst="rect">
            <a:avLst/>
          </a:prstGeom>
        </p:spPr>
      </p:pic>
      <p:pic>
        <p:nvPicPr>
          <p:cNvPr id="29" name="Picture 28" descr="touchappsplugins.png"/>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4312224" y="5590337"/>
            <a:ext cx="262405" cy="262405"/>
          </a:xfrm>
          <a:prstGeom prst="rect">
            <a:avLst/>
          </a:prstGeom>
        </p:spPr>
      </p:pic>
      <p:pic>
        <p:nvPicPr>
          <p:cNvPr id="30" name="Picture 29" descr="edge_animate.png"/>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6917107" y="2539410"/>
            <a:ext cx="238248" cy="227419"/>
          </a:xfrm>
          <a:prstGeom prst="rect">
            <a:avLst/>
          </a:prstGeom>
        </p:spPr>
      </p:pic>
      <p:pic>
        <p:nvPicPr>
          <p:cNvPr id="31" name="Picture 30" descr="edge_code.png"/>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6917107" y="3109373"/>
            <a:ext cx="238248" cy="227419"/>
          </a:xfrm>
          <a:prstGeom prst="rect">
            <a:avLst/>
          </a:prstGeom>
        </p:spPr>
      </p:pic>
      <p:pic>
        <p:nvPicPr>
          <p:cNvPr id="32" name="Picture 31" descr="edge_inspect.png"/>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6941710" y="3773452"/>
            <a:ext cx="238248" cy="227419"/>
          </a:xfrm>
          <a:prstGeom prst="rect">
            <a:avLst/>
          </a:prstGeom>
        </p:spPr>
      </p:pic>
      <p:pic>
        <p:nvPicPr>
          <p:cNvPr id="33" name="Picture 32" descr="edge_webfonts.png"/>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6941710" y="4474452"/>
            <a:ext cx="238248" cy="227419"/>
          </a:xfrm>
          <a:prstGeom prst="rect">
            <a:avLst/>
          </a:prstGeom>
        </p:spPr>
      </p:pic>
      <p:pic>
        <p:nvPicPr>
          <p:cNvPr id="34" name="Picture 33" descr="pg_build.png"/>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6955852" y="5687309"/>
            <a:ext cx="238248" cy="227419"/>
          </a:xfrm>
          <a:prstGeom prst="rect">
            <a:avLst/>
          </a:prstGeom>
        </p:spPr>
      </p:pic>
      <p:pic>
        <p:nvPicPr>
          <p:cNvPr id="35" name="Picture 34" descr="typekit.png"/>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6943875" y="5032861"/>
            <a:ext cx="238182" cy="227356"/>
          </a:xfrm>
          <a:prstGeom prst="rect">
            <a:avLst/>
          </a:prstGeom>
        </p:spPr>
      </p:pic>
      <p:sp>
        <p:nvSpPr>
          <p:cNvPr id="36" name="Rectangle 35"/>
          <p:cNvSpPr/>
          <p:nvPr/>
        </p:nvSpPr>
        <p:spPr>
          <a:xfrm>
            <a:off x="7223037" y="2468287"/>
            <a:ext cx="1580140" cy="3539430"/>
          </a:xfrm>
          <a:prstGeom prst="rect">
            <a:avLst/>
          </a:prstGeom>
        </p:spPr>
        <p:txBody>
          <a:bodyPr wrap="square">
            <a:spAutoFit/>
          </a:bodyPr>
          <a:lstStyle/>
          <a:p>
            <a:r>
              <a:rPr lang="en-US" sz="900" b="0" dirty="0">
                <a:latin typeface="Arial" charset="0"/>
                <a:ea typeface="+mn-ea"/>
              </a:rPr>
              <a:t>Edge Animate</a:t>
            </a:r>
          </a:p>
          <a:p>
            <a:r>
              <a:rPr lang="zh-TW" altLang="en-US" sz="900" b="0" dirty="0">
                <a:latin typeface="Arial" charset="0"/>
                <a:ea typeface="+mn-ea"/>
              </a:rPr>
              <a:t>製作互動及動畫網頁內容</a:t>
            </a:r>
            <a:endParaRPr lang="en-US" sz="900" b="0" dirty="0">
              <a:latin typeface="Arial" charset="0"/>
              <a:ea typeface="+mn-ea"/>
            </a:endParaRPr>
          </a:p>
          <a:p>
            <a:endParaRPr lang="en-US" sz="900" b="0" dirty="0">
              <a:latin typeface="Arial" charset="0"/>
              <a:ea typeface="+mn-ea"/>
            </a:endParaRPr>
          </a:p>
          <a:p>
            <a:endParaRPr lang="en-US" sz="900" b="0" dirty="0">
              <a:latin typeface="Arial" charset="0"/>
              <a:ea typeface="+mn-ea"/>
            </a:endParaRPr>
          </a:p>
          <a:p>
            <a:r>
              <a:rPr lang="en-US" sz="900" b="0" dirty="0">
                <a:latin typeface="Arial" charset="0"/>
                <a:ea typeface="+mn-ea"/>
              </a:rPr>
              <a:t>Edge Code (</a:t>
            </a:r>
            <a:r>
              <a:rPr lang="zh-TW" altLang="en-US" sz="900" b="0" dirty="0">
                <a:latin typeface="Arial" charset="0"/>
                <a:ea typeface="+mn-ea"/>
              </a:rPr>
              <a:t>預覽版</a:t>
            </a:r>
            <a:r>
              <a:rPr lang="en-US" sz="900" b="0" dirty="0">
                <a:latin typeface="Arial" charset="0"/>
                <a:ea typeface="+mn-ea"/>
              </a:rPr>
              <a:t>)</a:t>
            </a:r>
          </a:p>
          <a:p>
            <a:r>
              <a:rPr lang="zh-TW" altLang="en-US" sz="900" b="0" dirty="0">
                <a:latin typeface="Arial" charset="0"/>
                <a:ea typeface="+mn-ea"/>
              </a:rPr>
              <a:t>編碼</a:t>
            </a:r>
            <a:r>
              <a:rPr lang="en-US" altLang="zh-TW" sz="900" b="0" dirty="0">
                <a:latin typeface="Arial" charset="0"/>
                <a:ea typeface="+mn-ea"/>
              </a:rPr>
              <a:t> </a:t>
            </a:r>
            <a:r>
              <a:rPr lang="en-US" sz="900" b="0" dirty="0">
                <a:latin typeface="Arial" charset="0"/>
                <a:ea typeface="+mn-ea"/>
              </a:rPr>
              <a:t>HTML</a:t>
            </a:r>
            <a:r>
              <a:rPr lang="zh-TW" altLang="en-US" sz="900" b="0" dirty="0">
                <a:latin typeface="Arial" charset="0"/>
                <a:ea typeface="+mn-ea"/>
              </a:rPr>
              <a:t>、</a:t>
            </a:r>
            <a:r>
              <a:rPr lang="en-US" sz="900" b="0" dirty="0">
                <a:latin typeface="Arial" charset="0"/>
                <a:ea typeface="+mn-ea"/>
              </a:rPr>
              <a:t>CSS</a:t>
            </a:r>
            <a:r>
              <a:rPr lang="zh-TW" altLang="en-US" sz="900" b="0" dirty="0">
                <a:latin typeface="Arial" charset="0"/>
                <a:ea typeface="+mn-ea"/>
              </a:rPr>
              <a:t>及</a:t>
            </a:r>
            <a:r>
              <a:rPr lang="en-US" sz="900" b="0" dirty="0">
                <a:latin typeface="Arial" charset="0"/>
                <a:ea typeface="+mn-ea"/>
              </a:rPr>
              <a:t>JavaScript</a:t>
            </a:r>
          </a:p>
          <a:p>
            <a:endParaRPr lang="en-US" sz="900" b="0" dirty="0">
              <a:latin typeface="Arial" charset="0"/>
              <a:ea typeface="+mn-ea"/>
            </a:endParaRPr>
          </a:p>
          <a:p>
            <a:endParaRPr lang="en-US" sz="900" b="0" dirty="0">
              <a:latin typeface="Arial" charset="0"/>
              <a:ea typeface="+mn-ea"/>
            </a:endParaRPr>
          </a:p>
          <a:p>
            <a:r>
              <a:rPr lang="en-US" sz="900" b="0" dirty="0">
                <a:latin typeface="Arial" charset="0"/>
                <a:ea typeface="+mn-ea"/>
              </a:rPr>
              <a:t>Edge Inspect</a:t>
            </a:r>
          </a:p>
          <a:p>
            <a:r>
              <a:rPr lang="zh-TW" altLang="en-US" sz="900" b="0" dirty="0">
                <a:latin typeface="Arial" charset="0"/>
                <a:ea typeface="+mn-ea"/>
              </a:rPr>
              <a:t>在行動裝置上預覽及檢查網頁設計</a:t>
            </a:r>
            <a:endParaRPr lang="en-US" sz="900" b="0" dirty="0">
              <a:latin typeface="Arial" charset="0"/>
              <a:ea typeface="+mn-ea"/>
            </a:endParaRPr>
          </a:p>
          <a:p>
            <a:endParaRPr lang="en-US" sz="900" b="0" dirty="0">
              <a:latin typeface="Arial" charset="0"/>
              <a:ea typeface="+mn-ea"/>
            </a:endParaRPr>
          </a:p>
          <a:p>
            <a:endParaRPr lang="en-US" sz="900" b="0" dirty="0">
              <a:latin typeface="Arial" charset="0"/>
              <a:ea typeface="+mn-ea"/>
            </a:endParaRPr>
          </a:p>
          <a:p>
            <a:r>
              <a:rPr lang="en-US" sz="900" b="0" dirty="0">
                <a:latin typeface="Arial" charset="0"/>
                <a:ea typeface="+mn-ea"/>
              </a:rPr>
              <a:t>Edge Web Fonts</a:t>
            </a:r>
          </a:p>
          <a:p>
            <a:r>
              <a:rPr lang="zh-TW" altLang="en-US" sz="900" b="0" dirty="0">
                <a:latin typeface="Arial" charset="0"/>
                <a:ea typeface="+mn-ea"/>
              </a:rPr>
              <a:t>使用免費的網頁字型</a:t>
            </a:r>
            <a:endParaRPr lang="en-US" sz="900" b="0" dirty="0">
              <a:latin typeface="Arial" charset="0"/>
              <a:ea typeface="+mn-ea"/>
            </a:endParaRPr>
          </a:p>
          <a:p>
            <a:endParaRPr lang="en-US" sz="900" b="0" dirty="0">
              <a:latin typeface="Arial" charset="0"/>
              <a:ea typeface="+mn-ea"/>
            </a:endParaRPr>
          </a:p>
          <a:p>
            <a:endParaRPr lang="en-US" sz="900" b="0" dirty="0">
              <a:latin typeface="Arial" charset="0"/>
              <a:ea typeface="+mn-ea"/>
            </a:endParaRPr>
          </a:p>
          <a:p>
            <a:r>
              <a:rPr lang="en-US" sz="900" b="0" dirty="0" err="1">
                <a:latin typeface="Arial" charset="0"/>
                <a:ea typeface="+mn-ea"/>
              </a:rPr>
              <a:t>Typekit</a:t>
            </a:r>
            <a:endParaRPr lang="en-US" sz="900" b="0" dirty="0">
              <a:latin typeface="Arial" charset="0"/>
              <a:ea typeface="+mn-ea"/>
            </a:endParaRPr>
          </a:p>
          <a:p>
            <a:r>
              <a:rPr lang="zh-TW" altLang="en-US" sz="900" b="0" dirty="0">
                <a:latin typeface="Arial" charset="0"/>
                <a:ea typeface="+mn-ea"/>
              </a:rPr>
              <a:t>使用優美的網頁字型進行設計</a:t>
            </a:r>
            <a:endParaRPr lang="en-US" sz="900" b="0" dirty="0">
              <a:latin typeface="Arial" charset="0"/>
              <a:ea typeface="+mn-ea"/>
            </a:endParaRPr>
          </a:p>
          <a:p>
            <a:endParaRPr lang="en-US" sz="900" b="0" dirty="0">
              <a:latin typeface="Arial" charset="0"/>
              <a:ea typeface="+mn-ea"/>
            </a:endParaRPr>
          </a:p>
          <a:p>
            <a:endParaRPr lang="en-US" sz="900" b="0" dirty="0">
              <a:latin typeface="Arial" charset="0"/>
              <a:ea typeface="+mn-ea"/>
            </a:endParaRPr>
          </a:p>
          <a:p>
            <a:r>
              <a:rPr lang="en-US" sz="900" b="0" dirty="0" err="1">
                <a:latin typeface="Arial" charset="0"/>
                <a:ea typeface="+mn-ea"/>
              </a:rPr>
              <a:t>PhoneGap</a:t>
            </a:r>
            <a:r>
              <a:rPr lang="en-US" sz="900" b="0" dirty="0">
                <a:latin typeface="Arial" charset="0"/>
                <a:ea typeface="+mn-ea"/>
              </a:rPr>
              <a:t> Build</a:t>
            </a:r>
          </a:p>
          <a:p>
            <a:r>
              <a:rPr lang="zh-TW" altLang="en-US" sz="900" b="0" dirty="0">
                <a:latin typeface="Arial" charset="0"/>
                <a:ea typeface="+mn-ea"/>
              </a:rPr>
              <a:t>在雲端封裝行動</a:t>
            </a:r>
            <a:r>
              <a:rPr lang="en-US" altLang="zh-TW" sz="900" b="0" dirty="0">
                <a:latin typeface="Arial" charset="0"/>
                <a:ea typeface="+mn-ea"/>
              </a:rPr>
              <a:t>app</a:t>
            </a:r>
            <a:endParaRPr lang="en-US" sz="900" b="0" dirty="0">
              <a:latin typeface="Arial" charset="0"/>
              <a:ea typeface="+mn-ea"/>
            </a:endParaRPr>
          </a:p>
        </p:txBody>
      </p:sp>
      <p:sp>
        <p:nvSpPr>
          <p:cNvPr id="37" name="Title 1"/>
          <p:cNvSpPr txBox="1">
            <a:spLocks/>
          </p:cNvSpPr>
          <p:nvPr/>
        </p:nvSpPr>
        <p:spPr>
          <a:xfrm>
            <a:off x="6631657" y="2047545"/>
            <a:ext cx="2286000" cy="405839"/>
          </a:xfrm>
          <a:prstGeom prst="rect">
            <a:avLst/>
          </a:prstGeom>
        </p:spPr>
        <p:txBody>
          <a:bodyPr vert="horz" lIns="91440" tIns="45720" rIns="91440" bIns="45720" rtlCol="0" anchor="t">
            <a:normAutofit/>
          </a:bodyPr>
          <a:lstStyle>
            <a:lvl1pPr algn="ctr" defTabSz="914400" rtl="0" eaLnBrk="1" latinLnBrk="0" hangingPunct="1">
              <a:spcBef>
                <a:spcPct val="0"/>
              </a:spcBef>
              <a:buNone/>
              <a:defRPr sz="4400" b="0" kern="1200" cap="none">
                <a:solidFill>
                  <a:srgbClr val="FFFFFF"/>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fontAlgn="auto">
              <a:spcAft>
                <a:spcPts val="0"/>
              </a:spcAft>
            </a:pPr>
            <a:r>
              <a:rPr lang="en-US" sz="2000" dirty="0" smtClean="0"/>
              <a:t>Edge </a:t>
            </a:r>
            <a:r>
              <a:rPr lang="zh-TW" altLang="en-US" sz="2000" dirty="0" smtClean="0"/>
              <a:t>工具及服務</a:t>
            </a:r>
            <a:endParaRPr lang="en-US" sz="2000" dirty="0"/>
          </a:p>
        </p:txBody>
      </p:sp>
      <p:sp>
        <p:nvSpPr>
          <p:cNvPr id="38" name="Title 1"/>
          <p:cNvSpPr txBox="1">
            <a:spLocks/>
          </p:cNvSpPr>
          <p:nvPr/>
        </p:nvSpPr>
        <p:spPr>
          <a:xfrm>
            <a:off x="4229293" y="2102418"/>
            <a:ext cx="2204757" cy="354621"/>
          </a:xfrm>
          <a:prstGeom prst="rect">
            <a:avLst/>
          </a:prstGeom>
        </p:spPr>
        <p:txBody>
          <a:bodyPr vert="horz" lIns="91440" tIns="45720" rIns="91440" bIns="45720" rtlCol="0" anchor="t">
            <a:normAutofit fontScale="45000" lnSpcReduction="20000"/>
          </a:bodyPr>
          <a:lstStyle>
            <a:lvl1pPr algn="ctr" defTabSz="914400" rtl="0" eaLnBrk="1" latinLnBrk="0" hangingPunct="1">
              <a:spcBef>
                <a:spcPct val="0"/>
              </a:spcBef>
              <a:buNone/>
              <a:defRPr sz="4400" b="0" kern="1200" cap="none">
                <a:solidFill>
                  <a:srgbClr val="FFFFFF"/>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fontAlgn="auto">
              <a:spcAft>
                <a:spcPts val="0"/>
              </a:spcAft>
            </a:pPr>
            <a:r>
              <a:rPr lang="zh-TW" altLang="en-US" dirty="0"/>
              <a:t>更多</a:t>
            </a:r>
            <a:r>
              <a:rPr lang="zh-TW" altLang="en-US" dirty="0" smtClean="0"/>
              <a:t>創意工具</a:t>
            </a:r>
            <a:endParaRPr lang="en-US" dirty="0"/>
          </a:p>
        </p:txBody>
      </p:sp>
      <p:sp>
        <p:nvSpPr>
          <p:cNvPr id="2" name="投影片編號版面配置區 1"/>
          <p:cNvSpPr>
            <a:spLocks noGrp="1"/>
          </p:cNvSpPr>
          <p:nvPr>
            <p:ph type="sldNum" sz="quarter" idx="12"/>
          </p:nvPr>
        </p:nvSpPr>
        <p:spPr/>
        <p:txBody>
          <a:bodyPr/>
          <a:lstStyle/>
          <a:p>
            <a:pPr>
              <a:defRPr/>
            </a:pPr>
            <a:fld id="{24C6579D-D8A0-414D-A023-3E30D95D7F6B}" type="slidenum">
              <a:rPr lang="en-US" smtClean="0"/>
              <a:pPr>
                <a:defRPr/>
              </a:pPr>
              <a:t>5</a:t>
            </a:fld>
            <a:endParaRPr lang="zh-CN" altLang="en-US"/>
          </a:p>
        </p:txBody>
      </p:sp>
    </p:spTree>
    <p:extLst>
      <p:ext uri="{BB962C8B-B14F-4D97-AF65-F5344CB8AC3E}">
        <p14:creationId xmlns:p14="http://schemas.microsoft.com/office/powerpoint/2010/main" val="1196285041"/>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48268" y="284948"/>
            <a:ext cx="7898993" cy="560843"/>
          </a:xfrm>
        </p:spPr>
        <p:txBody>
          <a:bodyPr>
            <a:noAutofit/>
          </a:bodyPr>
          <a:lstStyle/>
          <a:p>
            <a:r>
              <a:rPr lang="pt-BR" altLang="zh-TW" sz="3600" dirty="0">
                <a:latin typeface="微軟正黑體" panose="020B0604030504040204" pitchFamily="34" charset="-120"/>
                <a:ea typeface="微軟正黑體" panose="020B0604030504040204" pitchFamily="34" charset="-120"/>
              </a:rPr>
              <a:t>Windows Server 2012 R2 </a:t>
            </a:r>
            <a:r>
              <a:rPr lang="zh-TW" altLang="en-US" sz="3600" b="1" dirty="0" smtClean="0">
                <a:latin typeface="微軟正黑體" panose="020B0604030504040204" pitchFamily="34" charset="-120"/>
                <a:ea typeface="微軟正黑體" panose="020B0604030504040204" pitchFamily="34" charset="-120"/>
              </a:rPr>
              <a:t>授權</a:t>
            </a:r>
            <a:r>
              <a:rPr lang="zh-TW" altLang="en-US" sz="3600" b="1" dirty="0">
                <a:latin typeface="微軟正黑體" panose="020B0604030504040204" pitchFamily="34" charset="-120"/>
                <a:ea typeface="微軟正黑體" panose="020B0604030504040204" pitchFamily="34" charset="-120"/>
              </a:rPr>
              <a:t>模式</a:t>
            </a:r>
            <a:endParaRPr lang="en-US" sz="3600" b="1" dirty="0">
              <a:latin typeface="微軟正黑體" panose="020B0604030504040204" pitchFamily="34" charset="-120"/>
              <a:ea typeface="微軟正黑體" panose="020B0604030504040204" pitchFamily="34" charset="-120"/>
            </a:endParaRPr>
          </a:p>
        </p:txBody>
      </p:sp>
      <p:sp>
        <p:nvSpPr>
          <p:cNvPr id="41" name="Rectangle 40"/>
          <p:cNvSpPr/>
          <p:nvPr/>
        </p:nvSpPr>
        <p:spPr>
          <a:xfrm>
            <a:off x="144370" y="5344281"/>
            <a:ext cx="7025993" cy="219291"/>
          </a:xfrm>
          <a:prstGeom prst="rect">
            <a:avLst/>
          </a:prstGeom>
          <a:noFill/>
        </p:spPr>
        <p:txBody>
          <a:bodyPr wrap="square" rtlCol="0">
            <a:spAutoFit/>
          </a:bodyPr>
          <a:lstStyle/>
          <a:p>
            <a:pPr marL="214293" lvl="1" indent="-214293"/>
            <a:r>
              <a:rPr lang="en-US" sz="825" dirty="0">
                <a:gradFill>
                  <a:gsLst>
                    <a:gs pos="50000">
                      <a:schemeClr val="tx1"/>
                    </a:gs>
                    <a:gs pos="100000">
                      <a:schemeClr val="tx1"/>
                    </a:gs>
                  </a:gsLst>
                  <a:lin ang="5400000" scaled="0"/>
                </a:gradFill>
              </a:rPr>
              <a:t>Notes: Windows Server continues to require Client Access Licenses (CALs).</a:t>
            </a:r>
          </a:p>
        </p:txBody>
      </p:sp>
      <p:sp>
        <p:nvSpPr>
          <p:cNvPr id="49" name="TextBox 48"/>
          <p:cNvSpPr txBox="1"/>
          <p:nvPr/>
        </p:nvSpPr>
        <p:spPr>
          <a:xfrm>
            <a:off x="4974894" y="2043601"/>
            <a:ext cx="1388645" cy="383182"/>
          </a:xfrm>
          <a:prstGeom prst="rect">
            <a:avLst/>
          </a:prstGeom>
          <a:noFill/>
        </p:spPr>
        <p:txBody>
          <a:bodyPr wrap="square" rtlCol="0">
            <a:spAutoFit/>
          </a:bodyPr>
          <a:lstStyle/>
          <a:p>
            <a:pPr algn="ctr">
              <a:lnSpc>
                <a:spcPct val="90000"/>
              </a:lnSpc>
              <a:spcBef>
                <a:spcPts val="1800"/>
              </a:spcBef>
              <a:buSzPct val="90000"/>
            </a:pPr>
            <a:r>
              <a:rPr lang="zh-TW" altLang="en-US" sz="2100" b="1" cap="small" dirty="0">
                <a:ln w="3175">
                  <a:solidFill>
                    <a:srgbClr val="505050">
                      <a:alpha val="0"/>
                    </a:srgbClr>
                  </a:solidFill>
                </a:ln>
                <a:solidFill>
                  <a:srgbClr val="00188F"/>
                </a:solidFill>
                <a:latin typeface="微軟正黑體" pitchFamily="34" charset="-120"/>
                <a:ea typeface="微軟正黑體" pitchFamily="34" charset="-120"/>
                <a:cs typeface="Segoe UI" pitchFamily="34" charset="0"/>
              </a:rPr>
              <a:t>功能</a:t>
            </a:r>
            <a:endParaRPr lang="en-US" sz="2100" spc="-52" dirty="0">
              <a:gradFill>
                <a:gsLst>
                  <a:gs pos="100000">
                    <a:schemeClr val="tx2"/>
                  </a:gs>
                  <a:gs pos="0">
                    <a:schemeClr val="tx2"/>
                  </a:gs>
                </a:gsLst>
                <a:lin ang="5400000" scaled="0"/>
              </a:gradFill>
              <a:latin typeface="+mj-lt"/>
            </a:endParaRPr>
          </a:p>
        </p:txBody>
      </p:sp>
      <p:sp>
        <p:nvSpPr>
          <p:cNvPr id="70" name="TextBox 69"/>
          <p:cNvSpPr txBox="1"/>
          <p:nvPr/>
        </p:nvSpPr>
        <p:spPr>
          <a:xfrm>
            <a:off x="3528681" y="2006673"/>
            <a:ext cx="1555790" cy="415498"/>
          </a:xfrm>
          <a:prstGeom prst="rect">
            <a:avLst/>
          </a:prstGeom>
          <a:noFill/>
        </p:spPr>
        <p:txBody>
          <a:bodyPr wrap="square" rtlCol="0">
            <a:spAutoFit/>
          </a:bodyPr>
          <a:lstStyle/>
          <a:p>
            <a:pPr algn="ctr"/>
            <a:r>
              <a:rPr lang="zh-TW" altLang="en-US" sz="2100" b="1" cap="small" dirty="0">
                <a:ln w="3175">
                  <a:solidFill>
                    <a:srgbClr val="505050">
                      <a:alpha val="0"/>
                    </a:srgbClr>
                  </a:solidFill>
                </a:ln>
                <a:solidFill>
                  <a:srgbClr val="00188F"/>
                </a:solidFill>
                <a:latin typeface="微軟正黑體" pitchFamily="34" charset="-120"/>
                <a:ea typeface="微軟正黑體" pitchFamily="34" charset="-120"/>
                <a:cs typeface="Segoe UI" pitchFamily="34" charset="0"/>
              </a:rPr>
              <a:t>授權型態</a:t>
            </a:r>
            <a:endParaRPr lang="en-US" sz="2100" b="1" cap="small" dirty="0">
              <a:ln w="3175">
                <a:solidFill>
                  <a:srgbClr val="505050">
                    <a:alpha val="0"/>
                  </a:srgbClr>
                </a:solidFill>
              </a:ln>
              <a:solidFill>
                <a:srgbClr val="00188F"/>
              </a:solidFill>
              <a:latin typeface="微軟正黑體" pitchFamily="34" charset="-120"/>
              <a:ea typeface="微軟正黑體" pitchFamily="34" charset="-120"/>
              <a:cs typeface="Segoe UI" pitchFamily="34" charset="0"/>
            </a:endParaRPr>
          </a:p>
        </p:txBody>
      </p:sp>
      <p:sp>
        <p:nvSpPr>
          <p:cNvPr id="71" name="TextBox 70"/>
          <p:cNvSpPr txBox="1"/>
          <p:nvPr/>
        </p:nvSpPr>
        <p:spPr>
          <a:xfrm>
            <a:off x="6366289" y="2057448"/>
            <a:ext cx="2621113" cy="415498"/>
          </a:xfrm>
          <a:prstGeom prst="rect">
            <a:avLst/>
          </a:prstGeom>
          <a:noFill/>
        </p:spPr>
        <p:txBody>
          <a:bodyPr wrap="square" rtlCol="0">
            <a:spAutoFit/>
          </a:bodyPr>
          <a:lstStyle/>
          <a:p>
            <a:pPr algn="ctr"/>
            <a:r>
              <a:rPr lang="zh-TW" altLang="en-US" sz="2100" b="1" cap="small" dirty="0">
                <a:ln w="3175">
                  <a:solidFill>
                    <a:srgbClr val="505050">
                      <a:alpha val="0"/>
                    </a:srgbClr>
                  </a:solidFill>
                </a:ln>
                <a:solidFill>
                  <a:srgbClr val="00188F"/>
                </a:solidFill>
                <a:latin typeface="微軟正黑體" pitchFamily="34" charset="-120"/>
                <a:ea typeface="微軟正黑體" pitchFamily="34" charset="-120"/>
                <a:cs typeface="Segoe UI" pitchFamily="34" charset="0"/>
              </a:rPr>
              <a:t>虛擬化授權</a:t>
            </a:r>
            <a:endParaRPr lang="en-US" sz="2100" b="1" cap="small" dirty="0">
              <a:ln w="3175">
                <a:solidFill>
                  <a:srgbClr val="505050">
                    <a:alpha val="0"/>
                  </a:srgbClr>
                </a:solidFill>
              </a:ln>
              <a:solidFill>
                <a:srgbClr val="00188F"/>
              </a:solidFill>
              <a:latin typeface="微軟正黑體" pitchFamily="34" charset="-120"/>
              <a:ea typeface="微軟正黑體" pitchFamily="34" charset="-120"/>
              <a:cs typeface="Segoe UI" pitchFamily="34" charset="0"/>
            </a:endParaRPr>
          </a:p>
        </p:txBody>
      </p:sp>
      <p:sp>
        <p:nvSpPr>
          <p:cNvPr id="72" name="TextBox 71"/>
          <p:cNvSpPr txBox="1"/>
          <p:nvPr/>
        </p:nvSpPr>
        <p:spPr>
          <a:xfrm>
            <a:off x="6398574" y="2637582"/>
            <a:ext cx="1248967" cy="507831"/>
          </a:xfrm>
          <a:prstGeom prst="rect">
            <a:avLst/>
          </a:prstGeom>
          <a:noFill/>
        </p:spPr>
        <p:txBody>
          <a:bodyPr wrap="square" rtlCol="0">
            <a:spAutoFit/>
          </a:bodyPr>
          <a:lstStyle/>
          <a:p>
            <a:pPr algn="ctr"/>
            <a:r>
              <a:rPr lang="zh-TW" altLang="en-US" sz="1350" b="1" cap="small" dirty="0">
                <a:ln w="3175">
                  <a:solidFill>
                    <a:srgbClr val="505050">
                      <a:alpha val="0"/>
                    </a:srgbClr>
                  </a:solidFill>
                </a:ln>
                <a:solidFill>
                  <a:srgbClr val="00188F"/>
                </a:solidFill>
                <a:latin typeface="微軟正黑體" pitchFamily="34" charset="-120"/>
                <a:ea typeface="微軟正黑體" pitchFamily="34" charset="-120"/>
                <a:cs typeface="Segoe UI" pitchFamily="34" charset="0"/>
              </a:rPr>
              <a:t>支援</a:t>
            </a:r>
            <a:r>
              <a:rPr lang="en-US" altLang="zh-TW" sz="1350" b="1" cap="small" dirty="0">
                <a:ln w="3175">
                  <a:solidFill>
                    <a:srgbClr val="505050">
                      <a:alpha val="0"/>
                    </a:srgbClr>
                  </a:solidFill>
                </a:ln>
                <a:solidFill>
                  <a:srgbClr val="00188F"/>
                </a:solidFill>
                <a:latin typeface="微軟正黑體" pitchFamily="34" charset="-120"/>
                <a:ea typeface="微軟正黑體" pitchFamily="34" charset="-120"/>
                <a:cs typeface="Segoe UI" pitchFamily="34" charset="0"/>
              </a:rPr>
              <a:t>2</a:t>
            </a:r>
            <a:r>
              <a:rPr lang="zh-TW" altLang="en-US" sz="1350" b="1" cap="small" dirty="0">
                <a:ln w="3175">
                  <a:solidFill>
                    <a:srgbClr val="505050">
                      <a:alpha val="0"/>
                    </a:srgbClr>
                  </a:solidFill>
                </a:ln>
                <a:solidFill>
                  <a:srgbClr val="00188F"/>
                </a:solidFill>
                <a:latin typeface="微軟正黑體" pitchFamily="34" charset="-120"/>
                <a:ea typeface="微軟正黑體" pitchFamily="34" charset="-120"/>
                <a:cs typeface="Segoe UI" pitchFamily="34" charset="0"/>
              </a:rPr>
              <a:t>個虛擬機器</a:t>
            </a:r>
            <a:endParaRPr lang="en-US" sz="1350" b="1" cap="small" dirty="0">
              <a:ln w="3175">
                <a:solidFill>
                  <a:srgbClr val="505050">
                    <a:alpha val="0"/>
                  </a:srgbClr>
                </a:solidFill>
              </a:ln>
              <a:solidFill>
                <a:srgbClr val="00188F"/>
              </a:solidFill>
              <a:latin typeface="微軟正黑體" pitchFamily="34" charset="-120"/>
              <a:ea typeface="微軟正黑體" pitchFamily="34" charset="-120"/>
              <a:cs typeface="Segoe UI" pitchFamily="34" charset="0"/>
            </a:endParaRPr>
          </a:p>
        </p:txBody>
      </p:sp>
      <p:sp>
        <p:nvSpPr>
          <p:cNvPr id="73" name="TextBox 72"/>
          <p:cNvSpPr txBox="1"/>
          <p:nvPr/>
        </p:nvSpPr>
        <p:spPr>
          <a:xfrm>
            <a:off x="7729289" y="2602137"/>
            <a:ext cx="1248966" cy="279307"/>
          </a:xfrm>
          <a:prstGeom prst="rect">
            <a:avLst/>
          </a:prstGeom>
          <a:noFill/>
        </p:spPr>
        <p:txBody>
          <a:bodyPr wrap="square" rtlCol="0">
            <a:spAutoFit/>
          </a:bodyPr>
          <a:lstStyle/>
          <a:p>
            <a:pPr marL="0" lvl="1" algn="ctr">
              <a:lnSpc>
                <a:spcPct val="90000"/>
              </a:lnSpc>
              <a:spcBef>
                <a:spcPts val="450"/>
              </a:spcBef>
              <a:buClr>
                <a:srgbClr val="FFFFFF"/>
              </a:buClr>
              <a:buSzPct val="100000"/>
            </a:pPr>
            <a:r>
              <a:rPr lang="zh-TW" altLang="en-US" sz="1350" b="1" cap="small" dirty="0">
                <a:ln w="3175">
                  <a:solidFill>
                    <a:srgbClr val="505050">
                      <a:alpha val="0"/>
                    </a:srgbClr>
                  </a:solidFill>
                </a:ln>
                <a:solidFill>
                  <a:srgbClr val="00188F"/>
                </a:solidFill>
                <a:latin typeface="微軟正黑體" pitchFamily="34" charset="-120"/>
                <a:ea typeface="微軟正黑體" pitchFamily="34" charset="-120"/>
                <a:cs typeface="Segoe UI" pitchFamily="34" charset="0"/>
              </a:rPr>
              <a:t>無限使用</a:t>
            </a:r>
            <a:r>
              <a:rPr lang="en-US" altLang="zh-TW" sz="1350" b="1" cap="small" dirty="0">
                <a:ln w="3175">
                  <a:solidFill>
                    <a:srgbClr val="505050">
                      <a:alpha val="0"/>
                    </a:srgbClr>
                  </a:solidFill>
                </a:ln>
                <a:solidFill>
                  <a:srgbClr val="00188F"/>
                </a:solidFill>
                <a:latin typeface="微軟正黑體" pitchFamily="34" charset="-120"/>
                <a:ea typeface="微軟正黑體" pitchFamily="34" charset="-120"/>
                <a:cs typeface="Segoe UI" pitchFamily="34" charset="0"/>
              </a:rPr>
              <a:t>VM</a:t>
            </a:r>
            <a:endParaRPr lang="en-US" sz="1350" spc="-38" dirty="0">
              <a:gradFill>
                <a:gsLst>
                  <a:gs pos="2917">
                    <a:schemeClr val="tx1"/>
                  </a:gs>
                  <a:gs pos="30000">
                    <a:schemeClr val="tx1"/>
                  </a:gs>
                </a:gsLst>
                <a:lin ang="5400000" scaled="0"/>
              </a:gradFill>
            </a:endParaRPr>
          </a:p>
        </p:txBody>
      </p:sp>
      <p:sp>
        <p:nvSpPr>
          <p:cNvPr id="74" name="Rectangle 73"/>
          <p:cNvSpPr/>
          <p:nvPr/>
        </p:nvSpPr>
        <p:spPr>
          <a:xfrm>
            <a:off x="3717389" y="2499102"/>
            <a:ext cx="1278486" cy="646331"/>
          </a:xfrm>
          <a:prstGeom prst="rect">
            <a:avLst/>
          </a:prstGeom>
        </p:spPr>
        <p:txBody>
          <a:bodyPr wrap="square">
            <a:spAutoFit/>
          </a:bodyPr>
          <a:lstStyle/>
          <a:p>
            <a:pPr algn="ctr"/>
            <a:r>
              <a:rPr lang="zh-TW" altLang="en-US" sz="1200" b="1" cap="small" dirty="0">
                <a:ln w="3175">
                  <a:solidFill>
                    <a:srgbClr val="505050">
                      <a:alpha val="0"/>
                    </a:srgbClr>
                  </a:solidFill>
                </a:ln>
                <a:solidFill>
                  <a:srgbClr val="00188F"/>
                </a:solidFill>
                <a:latin typeface="微軟正黑體" pitchFamily="34" charset="-120"/>
                <a:ea typeface="微軟正黑體" pitchFamily="34" charset="-120"/>
                <a:cs typeface="Segoe UI" pitchFamily="34" charset="0"/>
              </a:rPr>
              <a:t>每一個授權最多只能支援</a:t>
            </a:r>
            <a:r>
              <a:rPr lang="en-US" altLang="zh-TW" sz="1200" b="1" cap="small" dirty="0">
                <a:ln w="3175">
                  <a:solidFill>
                    <a:srgbClr val="505050">
                      <a:alpha val="0"/>
                    </a:srgbClr>
                  </a:solidFill>
                </a:ln>
                <a:solidFill>
                  <a:srgbClr val="00188F"/>
                </a:solidFill>
                <a:latin typeface="微軟正黑體" pitchFamily="34" charset="-120"/>
                <a:ea typeface="微軟正黑體" pitchFamily="34" charset="-120"/>
                <a:cs typeface="Segoe UI" pitchFamily="34" charset="0"/>
              </a:rPr>
              <a:t>2</a:t>
            </a:r>
            <a:r>
              <a:rPr lang="zh-TW" altLang="en-US" sz="1200" b="1" cap="small" dirty="0">
                <a:ln w="3175">
                  <a:solidFill>
                    <a:srgbClr val="505050">
                      <a:alpha val="0"/>
                    </a:srgbClr>
                  </a:solidFill>
                </a:ln>
                <a:solidFill>
                  <a:srgbClr val="00188F"/>
                </a:solidFill>
                <a:latin typeface="微軟正黑體" pitchFamily="34" charset="-120"/>
                <a:ea typeface="微軟正黑體" pitchFamily="34" charset="-120"/>
                <a:cs typeface="Segoe UI" pitchFamily="34" charset="0"/>
              </a:rPr>
              <a:t>顆實體處理器</a:t>
            </a:r>
            <a:endParaRPr lang="en-US" sz="1200" b="1" cap="small" dirty="0">
              <a:ln w="3175">
                <a:solidFill>
                  <a:srgbClr val="505050">
                    <a:alpha val="0"/>
                  </a:srgbClr>
                </a:solidFill>
              </a:ln>
              <a:solidFill>
                <a:srgbClr val="00188F"/>
              </a:solidFill>
              <a:latin typeface="微軟正黑體" pitchFamily="34" charset="-120"/>
              <a:ea typeface="微軟正黑體" pitchFamily="34" charset="-120"/>
              <a:cs typeface="Segoe UI" pitchFamily="34" charset="0"/>
            </a:endParaRPr>
          </a:p>
        </p:txBody>
      </p:sp>
      <p:sp>
        <p:nvSpPr>
          <p:cNvPr id="76" name="TextBox 75"/>
          <p:cNvSpPr txBox="1"/>
          <p:nvPr/>
        </p:nvSpPr>
        <p:spPr>
          <a:xfrm>
            <a:off x="232788" y="2043601"/>
            <a:ext cx="2254338" cy="383182"/>
          </a:xfrm>
          <a:prstGeom prst="rect">
            <a:avLst/>
          </a:prstGeom>
          <a:noFill/>
        </p:spPr>
        <p:txBody>
          <a:bodyPr wrap="square" rtlCol="0">
            <a:spAutoFit/>
          </a:bodyPr>
          <a:lstStyle/>
          <a:p>
            <a:pPr>
              <a:lnSpc>
                <a:spcPct val="90000"/>
              </a:lnSpc>
              <a:spcBef>
                <a:spcPts val="1800"/>
              </a:spcBef>
              <a:buSzPct val="90000"/>
            </a:pPr>
            <a:r>
              <a:rPr lang="zh-TW" altLang="en-US" sz="2100" b="1" cap="small" dirty="0">
                <a:ln w="3175">
                  <a:solidFill>
                    <a:srgbClr val="505050">
                      <a:alpha val="0"/>
                    </a:srgbClr>
                  </a:solidFill>
                </a:ln>
                <a:solidFill>
                  <a:srgbClr val="00188F"/>
                </a:solidFill>
                <a:latin typeface="微軟正黑體" pitchFamily="34" charset="-120"/>
                <a:ea typeface="微軟正黑體" pitchFamily="34" charset="-120"/>
                <a:cs typeface="Segoe UI" pitchFamily="34" charset="0"/>
              </a:rPr>
              <a:t>版本</a:t>
            </a:r>
            <a:endParaRPr lang="en-US" sz="2100" spc="-52" dirty="0">
              <a:gradFill>
                <a:gsLst>
                  <a:gs pos="100000">
                    <a:schemeClr val="tx2"/>
                  </a:gs>
                  <a:gs pos="0">
                    <a:schemeClr val="tx2"/>
                  </a:gs>
                </a:gsLst>
                <a:lin ang="5400000" scaled="0"/>
              </a:gradFill>
              <a:latin typeface="+mj-lt"/>
            </a:endParaRPr>
          </a:p>
        </p:txBody>
      </p:sp>
      <p:sp>
        <p:nvSpPr>
          <p:cNvPr id="77" name="Rectangle 76"/>
          <p:cNvSpPr/>
          <p:nvPr/>
        </p:nvSpPr>
        <p:spPr>
          <a:xfrm>
            <a:off x="232789" y="2499103"/>
            <a:ext cx="3111852" cy="781496"/>
          </a:xfrm>
          <a:prstGeom prst="rect">
            <a:avLst/>
          </a:prstGeom>
        </p:spPr>
        <p:txBody>
          <a:bodyPr wrap="square">
            <a:spAutoFit/>
          </a:bodyPr>
          <a:lstStyle/>
          <a:p>
            <a:pPr marL="0" lvl="1">
              <a:lnSpc>
                <a:spcPct val="90000"/>
              </a:lnSpc>
              <a:spcBef>
                <a:spcPts val="450"/>
              </a:spcBef>
              <a:buClr>
                <a:srgbClr val="FFFFFF"/>
              </a:buClr>
              <a:buSzPct val="100000"/>
            </a:pPr>
            <a:r>
              <a:rPr lang="zh-TW" altLang="en-US" sz="1350" b="1" spc="-38" dirty="0">
                <a:gradFill>
                  <a:gsLst>
                    <a:gs pos="2917">
                      <a:schemeClr val="tx1"/>
                    </a:gs>
                    <a:gs pos="30000">
                      <a:schemeClr val="tx1"/>
                    </a:gs>
                  </a:gsLst>
                  <a:lin ang="5400000" scaled="0"/>
                </a:gradFill>
                <a:latin typeface="微軟正黑體" pitchFamily="34" charset="-120"/>
                <a:ea typeface="微軟正黑體" pitchFamily="34" charset="-120"/>
              </a:rPr>
              <a:t>標準版 </a:t>
            </a:r>
            <a:r>
              <a:rPr lang="en-US" altLang="zh-TW" sz="1350" b="1" spc="-38" dirty="0">
                <a:gradFill>
                  <a:gsLst>
                    <a:gs pos="2917">
                      <a:schemeClr val="tx1"/>
                    </a:gs>
                    <a:gs pos="30000">
                      <a:schemeClr val="tx1"/>
                    </a:gs>
                  </a:gsLst>
                  <a:lin ang="5400000" scaled="0"/>
                </a:gradFill>
                <a:latin typeface="微軟正黑體" pitchFamily="34" charset="-120"/>
                <a:ea typeface="微軟正黑體" pitchFamily="34" charset="-120"/>
              </a:rPr>
              <a:t>/</a:t>
            </a:r>
            <a:r>
              <a:rPr lang="zh-TW" altLang="en-US" sz="1350" b="1" spc="-38" dirty="0">
                <a:gradFill>
                  <a:gsLst>
                    <a:gs pos="2917">
                      <a:schemeClr val="tx1"/>
                    </a:gs>
                    <a:gs pos="30000">
                      <a:schemeClr val="tx1"/>
                    </a:gs>
                  </a:gsLst>
                  <a:lin ang="5400000" scaled="0"/>
                </a:gradFill>
                <a:latin typeface="微軟正黑體" pitchFamily="34" charset="-120"/>
                <a:ea typeface="微軟正黑體" pitchFamily="34" charset="-120"/>
              </a:rPr>
              <a:t> </a:t>
            </a:r>
            <a:r>
              <a:rPr lang="en-US" sz="1350" b="1" spc="-38" dirty="0">
                <a:gradFill>
                  <a:gsLst>
                    <a:gs pos="2917">
                      <a:schemeClr val="tx1"/>
                    </a:gs>
                    <a:gs pos="30000">
                      <a:schemeClr val="tx1"/>
                    </a:gs>
                  </a:gsLst>
                  <a:lin ang="5400000" scaled="0"/>
                </a:gradFill>
                <a:latin typeface="微軟正黑體" pitchFamily="34" charset="-120"/>
                <a:ea typeface="微軟正黑體" pitchFamily="34" charset="-120"/>
              </a:rPr>
              <a:t> Datacenter</a:t>
            </a:r>
          </a:p>
          <a:p>
            <a:pPr marL="0" lvl="1">
              <a:lnSpc>
                <a:spcPct val="90000"/>
              </a:lnSpc>
              <a:spcBef>
                <a:spcPts val="450"/>
              </a:spcBef>
              <a:buClr>
                <a:srgbClr val="FFFFFF"/>
              </a:buClr>
              <a:buSzPct val="100000"/>
            </a:pPr>
            <a:r>
              <a:rPr lang="zh-TW" altLang="en-US" sz="1350" b="1" cap="small" dirty="0">
                <a:ln w="3175">
                  <a:solidFill>
                    <a:srgbClr val="505050">
                      <a:alpha val="0"/>
                    </a:srgbClr>
                  </a:solidFill>
                </a:ln>
                <a:solidFill>
                  <a:srgbClr val="00188F"/>
                </a:solidFill>
                <a:latin typeface="微軟正黑體" pitchFamily="34" charset="-120"/>
                <a:ea typeface="微軟正黑體" pitchFamily="34" charset="-120"/>
                <a:cs typeface="Segoe UI" pitchFamily="34" charset="0"/>
              </a:rPr>
              <a:t>僅以虛擬化授權作區分</a:t>
            </a:r>
            <a:endParaRPr lang="en-US" sz="1350" b="1" cap="small" dirty="0">
              <a:ln w="3175">
                <a:solidFill>
                  <a:srgbClr val="505050">
                    <a:alpha val="0"/>
                  </a:srgbClr>
                </a:solidFill>
              </a:ln>
              <a:solidFill>
                <a:srgbClr val="00188F"/>
              </a:solidFill>
              <a:latin typeface="微軟正黑體" pitchFamily="34" charset="-120"/>
              <a:ea typeface="微軟正黑體" pitchFamily="34" charset="-120"/>
              <a:cs typeface="Segoe UI" pitchFamily="34" charset="0"/>
            </a:endParaRPr>
          </a:p>
          <a:p>
            <a:pPr marL="0" lvl="1">
              <a:lnSpc>
                <a:spcPct val="90000"/>
              </a:lnSpc>
              <a:spcBef>
                <a:spcPts val="450"/>
              </a:spcBef>
              <a:buClr>
                <a:srgbClr val="FFFFFF"/>
              </a:buClr>
              <a:buSzPct val="100000"/>
            </a:pPr>
            <a:endParaRPr lang="en-US" sz="1350" b="1" spc="-38" dirty="0">
              <a:gradFill>
                <a:gsLst>
                  <a:gs pos="2917">
                    <a:schemeClr val="tx1"/>
                  </a:gs>
                  <a:gs pos="30000">
                    <a:schemeClr val="tx1"/>
                  </a:gs>
                </a:gsLst>
                <a:lin ang="5400000" scaled="0"/>
              </a:gradFill>
              <a:latin typeface="微軟正黑體" pitchFamily="34" charset="-120"/>
              <a:ea typeface="微軟正黑體" pitchFamily="34" charset="-120"/>
            </a:endParaRPr>
          </a:p>
        </p:txBody>
      </p:sp>
      <p:sp>
        <p:nvSpPr>
          <p:cNvPr id="11" name="Rectangle 10"/>
          <p:cNvSpPr/>
          <p:nvPr/>
        </p:nvSpPr>
        <p:spPr bwMode="auto">
          <a:xfrm>
            <a:off x="3753939" y="3094501"/>
            <a:ext cx="1248966" cy="1028554"/>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34285" rIns="34285" bIns="68570" numCol="1" spcCol="0" rtlCol="0" fromWordArt="0" anchor="b" anchorCtr="0" forceAA="0" compatLnSpc="1">
            <a:prstTxWarp prst="textNoShape">
              <a:avLst/>
            </a:prstTxWarp>
            <a:noAutofit/>
          </a:bodyPr>
          <a:lstStyle/>
          <a:p>
            <a:pPr algn="ctr" defTabSz="685513" fontAlgn="base">
              <a:spcBef>
                <a:spcPct val="0"/>
              </a:spcBef>
              <a:spcAft>
                <a:spcPct val="0"/>
              </a:spcAft>
            </a:pPr>
            <a:endParaRPr lang="en-US" sz="1350"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8" name="Rectangle 77"/>
          <p:cNvSpPr/>
          <p:nvPr/>
        </p:nvSpPr>
        <p:spPr bwMode="auto">
          <a:xfrm>
            <a:off x="5084471" y="3094501"/>
            <a:ext cx="1248966" cy="1028554"/>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34285" rIns="34285" bIns="68570" numCol="1" spcCol="0" rtlCol="0" fromWordArt="0" anchor="b" anchorCtr="0" forceAA="0" compatLnSpc="1">
            <a:prstTxWarp prst="textNoShape">
              <a:avLst/>
            </a:prstTxWarp>
            <a:noAutofit/>
          </a:bodyPr>
          <a:lstStyle/>
          <a:p>
            <a:pPr algn="ctr" defTabSz="685513" fontAlgn="base">
              <a:spcBef>
                <a:spcPct val="0"/>
              </a:spcBef>
              <a:spcAft>
                <a:spcPct val="0"/>
              </a:spcAft>
            </a:pPr>
            <a:endParaRPr lang="en-US" sz="1350"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9" name="Rectangle 78"/>
          <p:cNvSpPr/>
          <p:nvPr/>
        </p:nvSpPr>
        <p:spPr bwMode="auto">
          <a:xfrm>
            <a:off x="7738437" y="3094501"/>
            <a:ext cx="1248966" cy="1028554"/>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34285" rIns="34285" bIns="68570" numCol="1" spcCol="0" rtlCol="0" fromWordArt="0" anchor="b" anchorCtr="0" forceAA="0" compatLnSpc="1">
            <a:prstTxWarp prst="textNoShape">
              <a:avLst/>
            </a:prstTxWarp>
            <a:noAutofit/>
          </a:bodyPr>
          <a:lstStyle/>
          <a:p>
            <a:pPr algn="ctr" defTabSz="685513" fontAlgn="base">
              <a:spcBef>
                <a:spcPct val="0"/>
              </a:spcBef>
              <a:spcAft>
                <a:spcPct val="0"/>
              </a:spcAft>
            </a:pPr>
            <a:endParaRPr lang="en-US" sz="1350"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80" name="Rectangle 79"/>
          <p:cNvSpPr/>
          <p:nvPr/>
        </p:nvSpPr>
        <p:spPr bwMode="auto">
          <a:xfrm>
            <a:off x="6411454" y="3094501"/>
            <a:ext cx="1248966" cy="1028554"/>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34285" rIns="34285" bIns="68570" numCol="1" spcCol="0" rtlCol="0" fromWordArt="0" anchor="b" anchorCtr="0" forceAA="0" compatLnSpc="1">
            <a:prstTxWarp prst="textNoShape">
              <a:avLst/>
            </a:prstTxWarp>
            <a:noAutofit/>
          </a:bodyPr>
          <a:lstStyle/>
          <a:p>
            <a:pPr algn="ctr" defTabSz="685513" fontAlgn="base">
              <a:spcBef>
                <a:spcPct val="0"/>
              </a:spcBef>
              <a:spcAft>
                <a:spcPct val="0"/>
              </a:spcAft>
            </a:pPr>
            <a:endParaRPr lang="en-US" sz="1350"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81" name="Rectangle 80"/>
          <p:cNvSpPr/>
          <p:nvPr/>
        </p:nvSpPr>
        <p:spPr bwMode="auto">
          <a:xfrm>
            <a:off x="3753939" y="4178988"/>
            <a:ext cx="1248966" cy="1028554"/>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34285" rIns="34285" bIns="68570" numCol="1" spcCol="0" rtlCol="0" fromWordArt="0" anchor="b" anchorCtr="0" forceAA="0" compatLnSpc="1">
            <a:prstTxWarp prst="textNoShape">
              <a:avLst/>
            </a:prstTxWarp>
            <a:noAutofit/>
          </a:bodyPr>
          <a:lstStyle/>
          <a:p>
            <a:pPr algn="ctr" defTabSz="685513" fontAlgn="base">
              <a:spcBef>
                <a:spcPct val="0"/>
              </a:spcBef>
              <a:spcAft>
                <a:spcPct val="0"/>
              </a:spcAft>
            </a:pPr>
            <a:endParaRPr lang="en-US" sz="1350"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82" name="Rectangle 81"/>
          <p:cNvSpPr/>
          <p:nvPr/>
        </p:nvSpPr>
        <p:spPr bwMode="auto">
          <a:xfrm>
            <a:off x="5077373" y="4178988"/>
            <a:ext cx="1248966" cy="1028554"/>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34285" rIns="34285" bIns="68570" numCol="1" spcCol="0" rtlCol="0" fromWordArt="0" anchor="b" anchorCtr="0" forceAA="0" compatLnSpc="1">
            <a:prstTxWarp prst="textNoShape">
              <a:avLst/>
            </a:prstTxWarp>
            <a:noAutofit/>
          </a:bodyPr>
          <a:lstStyle/>
          <a:p>
            <a:pPr algn="ctr" defTabSz="685513" fontAlgn="base">
              <a:spcBef>
                <a:spcPct val="0"/>
              </a:spcBef>
              <a:spcAft>
                <a:spcPct val="0"/>
              </a:spcAft>
            </a:pPr>
            <a:endParaRPr lang="en-US" sz="1350"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83" name="Rectangle 82"/>
          <p:cNvSpPr/>
          <p:nvPr/>
        </p:nvSpPr>
        <p:spPr bwMode="auto">
          <a:xfrm>
            <a:off x="7731338" y="4178988"/>
            <a:ext cx="1248966" cy="1028554"/>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34285" rIns="34285" bIns="68570" numCol="1" spcCol="0" rtlCol="0" fromWordArt="0" anchor="b" anchorCtr="0" forceAA="0" compatLnSpc="1">
            <a:prstTxWarp prst="textNoShape">
              <a:avLst/>
            </a:prstTxWarp>
            <a:noAutofit/>
          </a:bodyPr>
          <a:lstStyle/>
          <a:p>
            <a:pPr algn="ctr" defTabSz="685513" fontAlgn="base">
              <a:spcBef>
                <a:spcPct val="0"/>
              </a:spcBef>
              <a:spcAft>
                <a:spcPct val="0"/>
              </a:spcAft>
            </a:pPr>
            <a:endParaRPr lang="en-US" sz="1350"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84" name="Rectangle 83"/>
          <p:cNvSpPr/>
          <p:nvPr/>
        </p:nvSpPr>
        <p:spPr bwMode="auto">
          <a:xfrm>
            <a:off x="6404356" y="4178988"/>
            <a:ext cx="1248966" cy="1028554"/>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34285" rIns="34285" bIns="68570" numCol="1" spcCol="0" rtlCol="0" fromWordArt="0" anchor="b" anchorCtr="0" forceAA="0" compatLnSpc="1">
            <a:prstTxWarp prst="textNoShape">
              <a:avLst/>
            </a:prstTxWarp>
            <a:noAutofit/>
          </a:bodyPr>
          <a:lstStyle/>
          <a:p>
            <a:pPr algn="ctr" defTabSz="685513" fontAlgn="base">
              <a:spcBef>
                <a:spcPct val="0"/>
              </a:spcBef>
              <a:spcAft>
                <a:spcPct val="0"/>
              </a:spcAft>
            </a:pPr>
            <a:endParaRPr lang="en-US" sz="1350"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85" name="Rectangle 84"/>
          <p:cNvSpPr/>
          <p:nvPr/>
        </p:nvSpPr>
        <p:spPr bwMode="auto">
          <a:xfrm>
            <a:off x="232788" y="3094501"/>
            <a:ext cx="3428514" cy="1028554"/>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34285" rIns="34285" bIns="68570" numCol="1" spcCol="0" rtlCol="0" fromWordArt="0" anchor="b" anchorCtr="0" forceAA="0" compatLnSpc="1">
            <a:prstTxWarp prst="textNoShape">
              <a:avLst/>
            </a:prstTxWarp>
            <a:noAutofit/>
          </a:bodyPr>
          <a:lstStyle/>
          <a:p>
            <a:pPr algn="ctr" defTabSz="685513" fontAlgn="base">
              <a:spcBef>
                <a:spcPct val="0"/>
              </a:spcBef>
              <a:spcAft>
                <a:spcPct val="0"/>
              </a:spcAft>
            </a:pPr>
            <a:endParaRPr lang="en-US" sz="1350"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86" name="Rectangle 85"/>
          <p:cNvSpPr/>
          <p:nvPr/>
        </p:nvSpPr>
        <p:spPr bwMode="auto">
          <a:xfrm>
            <a:off x="222939" y="4178988"/>
            <a:ext cx="3428514" cy="1028554"/>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34285" rIns="34285" bIns="68570" numCol="1" spcCol="0" rtlCol="0" fromWordArt="0" anchor="b" anchorCtr="0" forceAA="0" compatLnSpc="1">
            <a:prstTxWarp prst="textNoShape">
              <a:avLst/>
            </a:prstTxWarp>
            <a:noAutofit/>
          </a:bodyPr>
          <a:lstStyle/>
          <a:p>
            <a:pPr algn="ctr" defTabSz="685513" fontAlgn="base">
              <a:spcBef>
                <a:spcPct val="0"/>
              </a:spcBef>
              <a:spcAft>
                <a:spcPct val="0"/>
              </a:spcAft>
            </a:pPr>
            <a:endParaRPr lang="en-US" sz="1350"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3" name="Rectangle 12"/>
          <p:cNvSpPr/>
          <p:nvPr/>
        </p:nvSpPr>
        <p:spPr>
          <a:xfrm>
            <a:off x="337640" y="3251038"/>
            <a:ext cx="3114141" cy="738664"/>
          </a:xfrm>
          <a:prstGeom prst="rect">
            <a:avLst/>
          </a:prstGeom>
        </p:spPr>
        <p:txBody>
          <a:bodyPr wrap="square">
            <a:spAutoFit/>
          </a:bodyPr>
          <a:lstStyle/>
          <a:p>
            <a:pPr defTabSz="823438" fontAlgn="base">
              <a:spcBef>
                <a:spcPct val="0"/>
              </a:spcBef>
              <a:spcAft>
                <a:spcPct val="0"/>
              </a:spcAft>
              <a:defRPr/>
            </a:pPr>
            <a:r>
              <a:rPr lang="zh-TW" altLang="en-US" sz="3000" kern="0" dirty="0">
                <a:gradFill>
                  <a:gsLst>
                    <a:gs pos="0">
                      <a:srgbClr val="FFFFFF"/>
                    </a:gs>
                    <a:gs pos="50000">
                      <a:srgbClr val="FFFFFF"/>
                    </a:gs>
                  </a:gsLst>
                  <a:lin ang="5400000" scaled="0"/>
                </a:gradFill>
                <a:latin typeface="微軟正黑體" pitchFamily="34" charset="-120"/>
                <a:ea typeface="微軟正黑體" pitchFamily="34" charset="-120"/>
              </a:rPr>
              <a:t>標準版</a:t>
            </a:r>
            <a:endParaRPr lang="en-US" sz="3000" kern="0" dirty="0">
              <a:gradFill>
                <a:gsLst>
                  <a:gs pos="0">
                    <a:srgbClr val="FFFFFF"/>
                  </a:gs>
                  <a:gs pos="50000">
                    <a:srgbClr val="FFFFFF"/>
                  </a:gs>
                </a:gsLst>
                <a:lin ang="5400000" scaled="0"/>
              </a:gradFill>
              <a:latin typeface="微軟正黑體" pitchFamily="34" charset="-120"/>
              <a:ea typeface="微軟正黑體" pitchFamily="34" charset="-120"/>
            </a:endParaRPr>
          </a:p>
          <a:p>
            <a:pPr defTabSz="823438" fontAlgn="base">
              <a:spcBef>
                <a:spcPct val="0"/>
              </a:spcBef>
              <a:spcAft>
                <a:spcPct val="0"/>
              </a:spcAft>
              <a:defRPr/>
            </a:pPr>
            <a:r>
              <a:rPr lang="en-US" sz="1200" kern="0" dirty="0">
                <a:gradFill>
                  <a:gsLst>
                    <a:gs pos="0">
                      <a:srgbClr val="FFFFFF"/>
                    </a:gs>
                    <a:gs pos="50000">
                      <a:srgbClr val="FFFFFF"/>
                    </a:gs>
                  </a:gsLst>
                  <a:lin ang="5400000" scaled="0"/>
                </a:gradFill>
              </a:rPr>
              <a:t>Low density or no virtualization</a:t>
            </a:r>
          </a:p>
        </p:txBody>
      </p:sp>
      <p:sp>
        <p:nvSpPr>
          <p:cNvPr id="14" name="Rectangle 13"/>
          <p:cNvSpPr/>
          <p:nvPr/>
        </p:nvSpPr>
        <p:spPr>
          <a:xfrm>
            <a:off x="337640" y="4335526"/>
            <a:ext cx="3007000" cy="738664"/>
          </a:xfrm>
          <a:prstGeom prst="rect">
            <a:avLst/>
          </a:prstGeom>
        </p:spPr>
        <p:txBody>
          <a:bodyPr wrap="square">
            <a:spAutoFit/>
          </a:bodyPr>
          <a:lstStyle/>
          <a:p>
            <a:pPr defTabSz="823438" fontAlgn="base">
              <a:spcBef>
                <a:spcPct val="0"/>
              </a:spcBef>
              <a:spcAft>
                <a:spcPct val="0"/>
              </a:spcAft>
              <a:defRPr/>
            </a:pPr>
            <a:r>
              <a:rPr lang="en-US" sz="3000" kern="0" dirty="0">
                <a:gradFill>
                  <a:gsLst>
                    <a:gs pos="0">
                      <a:srgbClr val="FFFFFF"/>
                    </a:gs>
                    <a:gs pos="50000">
                      <a:srgbClr val="FFFFFF"/>
                    </a:gs>
                  </a:gsLst>
                  <a:lin ang="5400000" scaled="0"/>
                </a:gradFill>
                <a:latin typeface="+mj-lt"/>
              </a:rPr>
              <a:t>Datacenter</a:t>
            </a:r>
          </a:p>
          <a:p>
            <a:pPr defTabSz="823438" fontAlgn="base">
              <a:spcBef>
                <a:spcPct val="0"/>
              </a:spcBef>
              <a:spcAft>
                <a:spcPct val="0"/>
              </a:spcAft>
              <a:defRPr/>
            </a:pPr>
            <a:r>
              <a:rPr lang="en-US" sz="1200" kern="0" dirty="0">
                <a:gradFill>
                  <a:gsLst>
                    <a:gs pos="0">
                      <a:srgbClr val="FFFFFF"/>
                    </a:gs>
                    <a:gs pos="50000">
                      <a:srgbClr val="FFFFFF"/>
                    </a:gs>
                  </a:gsLst>
                  <a:lin ang="5400000" scaled="0"/>
                </a:gradFill>
              </a:rPr>
              <a:t>High density virtualization</a:t>
            </a:r>
          </a:p>
        </p:txBody>
      </p:sp>
      <p:pic>
        <p:nvPicPr>
          <p:cNvPr id="1026"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r="55249" b="50401"/>
          <a:stretch/>
        </p:blipFill>
        <p:spPr bwMode="auto">
          <a:xfrm>
            <a:off x="4236896" y="3503677"/>
            <a:ext cx="225868" cy="210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4"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r="55249" b="50401"/>
          <a:stretch/>
        </p:blipFill>
        <p:spPr bwMode="auto">
          <a:xfrm>
            <a:off x="5567429" y="3503677"/>
            <a:ext cx="225868" cy="210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5"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r="55249" b="50401"/>
          <a:stretch/>
        </p:blipFill>
        <p:spPr bwMode="auto">
          <a:xfrm>
            <a:off x="6887313" y="3503677"/>
            <a:ext cx="225868" cy="210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6"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r="55249" b="50401"/>
          <a:stretch/>
        </p:blipFill>
        <p:spPr bwMode="auto">
          <a:xfrm>
            <a:off x="4236896" y="4588164"/>
            <a:ext cx="225868" cy="210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7"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r="55249" b="50401"/>
          <a:stretch/>
        </p:blipFill>
        <p:spPr bwMode="auto">
          <a:xfrm>
            <a:off x="5567429" y="4588164"/>
            <a:ext cx="225868" cy="210201"/>
          </a:xfrm>
          <a:prstGeom prst="rect">
            <a:avLst/>
          </a:prstGeom>
          <a:solidFill>
            <a:srgbClr val="002060"/>
          </a:solidFill>
          <a:ln>
            <a:noFill/>
          </a:ln>
          <a:effectLst/>
          <a:extLst/>
        </p:spPr>
      </p:pic>
      <p:pic>
        <p:nvPicPr>
          <p:cNvPr id="98"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r="55249" b="50401"/>
          <a:stretch/>
        </p:blipFill>
        <p:spPr bwMode="auto">
          <a:xfrm>
            <a:off x="8221393" y="4588164"/>
            <a:ext cx="225868" cy="210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 name="Rectangle 38"/>
          <p:cNvSpPr/>
          <p:nvPr/>
        </p:nvSpPr>
        <p:spPr bwMode="auto">
          <a:xfrm>
            <a:off x="6372337" y="1929056"/>
            <a:ext cx="2666720" cy="3513314"/>
          </a:xfrm>
          <a:prstGeom prst="rect">
            <a:avLst/>
          </a:prstGeom>
          <a:noFill/>
          <a:ln w="2222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8570" tIns="34285" rIns="34285" bIns="68570" numCol="1" spcCol="0" rtlCol="0" fromWordArt="0" anchor="b" anchorCtr="0" forceAA="0" compatLnSpc="1">
            <a:prstTxWarp prst="textNoShape">
              <a:avLst/>
            </a:prstTxWarp>
            <a:noAutofit/>
          </a:bodyPr>
          <a:lstStyle/>
          <a:p>
            <a:pPr algn="ctr" defTabSz="685513" fontAlgn="base">
              <a:spcBef>
                <a:spcPct val="0"/>
              </a:spcBef>
              <a:spcAft>
                <a:spcPct val="0"/>
              </a:spcAft>
            </a:pPr>
            <a:endParaRPr lang="en-US" sz="1350"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082022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bwMode="auto">
          <a:xfrm>
            <a:off x="458523" y="3986051"/>
            <a:ext cx="1065031" cy="106503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lnSpc>
                <a:spcPct val="90000"/>
              </a:lnSpc>
              <a:spcBef>
                <a:spcPct val="0"/>
              </a:spcBef>
              <a:spcAft>
                <a:spcPct val="0"/>
              </a:spcAft>
            </a:pPr>
            <a:endParaRPr lang="en-US" sz="1500" spc="-38" dirty="0">
              <a:gradFill>
                <a:gsLst>
                  <a:gs pos="0">
                    <a:schemeClr val="bg1"/>
                  </a:gs>
                  <a:gs pos="100000">
                    <a:schemeClr val="bg1"/>
                  </a:gs>
                </a:gsLst>
                <a:lin ang="5400000" scaled="0"/>
              </a:gradFill>
            </a:endParaRPr>
          </a:p>
        </p:txBody>
      </p:sp>
      <p:sp>
        <p:nvSpPr>
          <p:cNvPr id="23" name="Rectangle 22"/>
          <p:cNvSpPr/>
          <p:nvPr/>
        </p:nvSpPr>
        <p:spPr bwMode="auto">
          <a:xfrm>
            <a:off x="1601448" y="3986051"/>
            <a:ext cx="7280957" cy="1065031"/>
          </a:xfrm>
          <a:prstGeom prst="rect">
            <a:avLst/>
          </a:prstGeom>
          <a:solidFill>
            <a:schemeClr val="bg1">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98" tIns="34299" rIns="34299" bIns="68598" numCol="1" spcCol="0" rtlCol="0" fromWordArt="0" anchor="b" anchorCtr="0" forceAA="0" compatLnSpc="1">
            <a:prstTxWarp prst="textNoShape">
              <a:avLst/>
            </a:prstTxWarp>
            <a:noAutofit/>
          </a:bodyPr>
          <a:lstStyle/>
          <a:p>
            <a:pPr algn="ctr" defTabSz="685757" fontAlgn="base">
              <a:spcBef>
                <a:spcPct val="0"/>
              </a:spcBef>
              <a:spcAft>
                <a:spcPct val="0"/>
              </a:spcAft>
            </a:pPr>
            <a:endParaRPr lang="en-US" sz="1350" spc="-38" dirty="0" err="1">
              <a:solidFill>
                <a:srgbClr val="FFFFFF"/>
              </a:solidFill>
              <a:latin typeface="Segoe UI" pitchFamily="34" charset="0"/>
              <a:ea typeface="Segoe UI" pitchFamily="34" charset="0"/>
              <a:cs typeface="Segoe UI" pitchFamily="34" charset="0"/>
            </a:endParaRPr>
          </a:p>
        </p:txBody>
      </p:sp>
      <p:sp>
        <p:nvSpPr>
          <p:cNvPr id="24" name="Rectangle 23"/>
          <p:cNvSpPr/>
          <p:nvPr/>
        </p:nvSpPr>
        <p:spPr bwMode="auto">
          <a:xfrm>
            <a:off x="458523" y="2867875"/>
            <a:ext cx="1065031" cy="106503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lnSpc>
                <a:spcPct val="90000"/>
              </a:lnSpc>
              <a:spcBef>
                <a:spcPct val="0"/>
              </a:spcBef>
              <a:spcAft>
                <a:spcPct val="0"/>
              </a:spcAft>
            </a:pPr>
            <a:endParaRPr lang="en-US" sz="1500" spc="-38" dirty="0">
              <a:gradFill>
                <a:gsLst>
                  <a:gs pos="0">
                    <a:schemeClr val="bg1"/>
                  </a:gs>
                  <a:gs pos="100000">
                    <a:schemeClr val="bg1"/>
                  </a:gs>
                </a:gsLst>
                <a:lin ang="5400000" scaled="0"/>
              </a:gradFill>
            </a:endParaRPr>
          </a:p>
        </p:txBody>
      </p:sp>
      <p:sp>
        <p:nvSpPr>
          <p:cNvPr id="20" name="Rectangle 19"/>
          <p:cNvSpPr/>
          <p:nvPr/>
        </p:nvSpPr>
        <p:spPr bwMode="auto">
          <a:xfrm>
            <a:off x="1601448" y="2842877"/>
            <a:ext cx="7280957" cy="1065031"/>
          </a:xfrm>
          <a:prstGeom prst="rect">
            <a:avLst/>
          </a:prstGeom>
          <a:solidFill>
            <a:schemeClr val="bg1">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98" tIns="34299" rIns="34299" bIns="68598" numCol="1" spcCol="0" rtlCol="0" fromWordArt="0" anchor="b" anchorCtr="0" forceAA="0" compatLnSpc="1">
            <a:prstTxWarp prst="textNoShape">
              <a:avLst/>
            </a:prstTxWarp>
            <a:noAutofit/>
          </a:bodyPr>
          <a:lstStyle/>
          <a:p>
            <a:pPr algn="ctr" defTabSz="685757" fontAlgn="base">
              <a:spcBef>
                <a:spcPct val="0"/>
              </a:spcBef>
              <a:spcAft>
                <a:spcPct val="0"/>
              </a:spcAft>
            </a:pPr>
            <a:endParaRPr lang="en-US" sz="1350" spc="-38" dirty="0" err="1">
              <a:solidFill>
                <a:srgbClr val="FFFFFF"/>
              </a:solidFill>
              <a:latin typeface="Segoe UI" pitchFamily="34" charset="0"/>
              <a:ea typeface="Segoe UI" pitchFamily="34" charset="0"/>
              <a:cs typeface="Segoe UI" pitchFamily="34" charset="0"/>
            </a:endParaRPr>
          </a:p>
        </p:txBody>
      </p:sp>
      <p:sp>
        <p:nvSpPr>
          <p:cNvPr id="4" name="Text Placeholder 3"/>
          <p:cNvSpPr>
            <a:spLocks noGrp="1"/>
          </p:cNvSpPr>
          <p:nvPr>
            <p:ph type="body" sz="quarter" idx="10"/>
          </p:nvPr>
        </p:nvSpPr>
        <p:spPr>
          <a:xfrm>
            <a:off x="1737107" y="2867875"/>
            <a:ext cx="7223192" cy="3370230"/>
          </a:xfrm>
        </p:spPr>
        <p:txBody>
          <a:bodyPr/>
          <a:lstStyle/>
          <a:p>
            <a:pPr>
              <a:spcBef>
                <a:spcPts val="2251"/>
              </a:spcBef>
            </a:pPr>
            <a:r>
              <a:rPr lang="zh-TW" altLang="en-US" sz="2401" dirty="0">
                <a:latin typeface="微軟正黑體" pitchFamily="34" charset="-120"/>
                <a:ea typeface="微軟正黑體" pitchFamily="34" charset="-120"/>
              </a:rPr>
              <a:t>授權架構統一</a:t>
            </a:r>
            <a:endParaRPr lang="en-US" sz="2401" dirty="0">
              <a:latin typeface="微軟正黑體" pitchFamily="34" charset="-120"/>
              <a:ea typeface="微軟正黑體" pitchFamily="34" charset="-120"/>
            </a:endParaRPr>
          </a:p>
          <a:p>
            <a:pPr lvl="1"/>
            <a:r>
              <a:rPr lang="en-US" altLang="zh-TW" dirty="0" smtClean="0">
                <a:latin typeface="微軟正黑體" pitchFamily="34" charset="-120"/>
                <a:ea typeface="微軟正黑體" pitchFamily="34" charset="-120"/>
              </a:rPr>
              <a:t>Datacenter </a:t>
            </a:r>
            <a:r>
              <a:rPr lang="zh-TW" altLang="en-US" dirty="0" smtClean="0">
                <a:latin typeface="微軟正黑體" pitchFamily="34" charset="-120"/>
                <a:ea typeface="微軟正黑體" pitchFamily="34" charset="-120"/>
              </a:rPr>
              <a:t>版及標準版都以</a:t>
            </a:r>
            <a:r>
              <a:rPr lang="en-US" dirty="0" smtClean="0">
                <a:latin typeface="微軟正黑體" pitchFamily="34" charset="-120"/>
                <a:ea typeface="微軟正黑體" pitchFamily="34" charset="-120"/>
              </a:rPr>
              <a:t> </a:t>
            </a:r>
            <a:r>
              <a:rPr lang="en-US" dirty="0" smtClean="0">
                <a:solidFill>
                  <a:srgbClr val="FF0000"/>
                </a:solidFill>
                <a:latin typeface="微軟正黑體" pitchFamily="34" charset="-120"/>
                <a:ea typeface="微軟正黑體" pitchFamily="34" charset="-120"/>
              </a:rPr>
              <a:t>PROCESSOR + CAL</a:t>
            </a:r>
            <a:r>
              <a:rPr lang="en-US" dirty="0" smtClean="0">
                <a:latin typeface="微軟正黑體" pitchFamily="34" charset="-120"/>
                <a:ea typeface="微軟正黑體" pitchFamily="34" charset="-120"/>
              </a:rPr>
              <a:t> </a:t>
            </a:r>
            <a:r>
              <a:rPr lang="zh-TW" altLang="en-US" dirty="0" smtClean="0">
                <a:latin typeface="微軟正黑體" pitchFamily="34" charset="-120"/>
                <a:ea typeface="微軟正黑體" pitchFamily="34" charset="-120"/>
              </a:rPr>
              <a:t> 為授權模式</a:t>
            </a:r>
            <a:r>
              <a:rPr lang="en-US" altLang="zh-TW" dirty="0" smtClean="0">
                <a:latin typeface="微軟正黑體" pitchFamily="34" charset="-120"/>
                <a:ea typeface="微軟正黑體" pitchFamily="34" charset="-120"/>
              </a:rPr>
              <a:t>;</a:t>
            </a:r>
            <a:r>
              <a:rPr lang="zh-TW" altLang="en-US" dirty="0" smtClean="0">
                <a:latin typeface="微軟正黑體" pitchFamily="34" charset="-120"/>
                <a:ea typeface="微軟正黑體" pitchFamily="34" charset="-120"/>
              </a:rPr>
              <a:t> 每一授權  </a:t>
            </a:r>
            <a:r>
              <a:rPr lang="en-US" altLang="zh-TW" dirty="0" smtClean="0">
                <a:latin typeface="微軟正黑體" pitchFamily="34" charset="-120"/>
                <a:ea typeface="微軟正黑體" pitchFamily="34" charset="-120"/>
              </a:rPr>
              <a:t>(</a:t>
            </a:r>
            <a:r>
              <a:rPr lang="en-US" dirty="0" smtClean="0">
                <a:latin typeface="微軟正黑體" pitchFamily="34" charset="-120"/>
                <a:ea typeface="微軟正黑體" pitchFamily="34" charset="-120"/>
              </a:rPr>
              <a:t>software license</a:t>
            </a:r>
            <a:r>
              <a:rPr lang="en-US" altLang="zh-TW" dirty="0" smtClean="0">
                <a:latin typeface="微軟正黑體" pitchFamily="34" charset="-120"/>
                <a:ea typeface="微軟正黑體" pitchFamily="34" charset="-120"/>
              </a:rPr>
              <a:t>)</a:t>
            </a:r>
            <a:r>
              <a:rPr lang="zh-TW" altLang="en-US" dirty="0" smtClean="0">
                <a:latin typeface="微軟正黑體" pitchFamily="34" charset="-120"/>
                <a:ea typeface="微軟正黑體" pitchFamily="34" charset="-120"/>
              </a:rPr>
              <a:t> 都提供單一伺服器</a:t>
            </a:r>
            <a:r>
              <a:rPr lang="en-US" altLang="zh-TW" dirty="0" smtClean="0">
                <a:latin typeface="微軟正黑體" pitchFamily="34" charset="-120"/>
                <a:ea typeface="微軟正黑體" pitchFamily="34" charset="-120"/>
              </a:rPr>
              <a:t>(</a:t>
            </a:r>
            <a:r>
              <a:rPr lang="en-US" dirty="0">
                <a:latin typeface="微軟正黑體" pitchFamily="34" charset="-120"/>
                <a:ea typeface="微軟正黑體" pitchFamily="34" charset="-120"/>
              </a:rPr>
              <a:t>single </a:t>
            </a:r>
            <a:r>
              <a:rPr lang="en-US" dirty="0" smtClean="0">
                <a:latin typeface="微軟正黑體" pitchFamily="34" charset="-120"/>
                <a:ea typeface="微軟正黑體" pitchFamily="34" charset="-120"/>
              </a:rPr>
              <a:t>server</a:t>
            </a:r>
            <a:r>
              <a:rPr lang="en-US" altLang="zh-TW" dirty="0" smtClean="0">
                <a:latin typeface="微軟正黑體" pitchFamily="34" charset="-120"/>
                <a:ea typeface="微軟正黑體" pitchFamily="34" charset="-120"/>
              </a:rPr>
              <a:t>)</a:t>
            </a:r>
            <a:r>
              <a:rPr lang="zh-TW" altLang="en-US" dirty="0" smtClean="0">
                <a:latin typeface="微軟正黑體" pitchFamily="34" charset="-120"/>
                <a:ea typeface="微軟正黑體" pitchFamily="34" charset="-120"/>
              </a:rPr>
              <a:t> 最多 </a:t>
            </a:r>
            <a:r>
              <a:rPr lang="en-US" altLang="zh-TW" dirty="0" smtClean="0">
                <a:latin typeface="微軟正黑體" pitchFamily="34" charset="-120"/>
                <a:ea typeface="微軟正黑體" pitchFamily="34" charset="-120"/>
              </a:rPr>
              <a:t>2</a:t>
            </a:r>
            <a:r>
              <a:rPr lang="zh-TW" altLang="en-US" dirty="0" smtClean="0">
                <a:latin typeface="微軟正黑體" pitchFamily="34" charset="-120"/>
                <a:ea typeface="微軟正黑體" pitchFamily="34" charset="-120"/>
              </a:rPr>
              <a:t> 顆實體處理器 </a:t>
            </a:r>
            <a:r>
              <a:rPr lang="en-US" altLang="zh-TW" dirty="0" smtClean="0">
                <a:latin typeface="微軟正黑體" pitchFamily="34" charset="-120"/>
                <a:ea typeface="微軟正黑體" pitchFamily="34" charset="-120"/>
              </a:rPr>
              <a:t>(</a:t>
            </a:r>
            <a:r>
              <a:rPr lang="en-US" dirty="0" smtClean="0">
                <a:latin typeface="微軟正黑體" pitchFamily="34" charset="-120"/>
                <a:ea typeface="微軟正黑體" pitchFamily="34" charset="-120"/>
              </a:rPr>
              <a:t>physical processors </a:t>
            </a:r>
            <a:r>
              <a:rPr lang="en-US" altLang="zh-TW" dirty="0" smtClean="0">
                <a:latin typeface="微軟正黑體" pitchFamily="34" charset="-120"/>
                <a:ea typeface="微軟正黑體" pitchFamily="34" charset="-120"/>
              </a:rPr>
              <a:t>)</a:t>
            </a:r>
            <a:endParaRPr lang="en-US" dirty="0" smtClean="0">
              <a:latin typeface="微軟正黑體" pitchFamily="34" charset="-120"/>
              <a:ea typeface="微軟正黑體" pitchFamily="34" charset="-120"/>
            </a:endParaRPr>
          </a:p>
          <a:p>
            <a:r>
              <a:rPr lang="zh-TW" altLang="en-US" sz="2401" dirty="0" smtClean="0">
                <a:latin typeface="微軟正黑體" pitchFamily="34" charset="-120"/>
                <a:ea typeface="微軟正黑體" pitchFamily="34" charset="-120"/>
              </a:rPr>
              <a:t>提</a:t>
            </a:r>
            <a:r>
              <a:rPr lang="zh-TW" altLang="en-US" sz="2401" dirty="0">
                <a:latin typeface="微軟正黑體" pitchFamily="34" charset="-120"/>
                <a:ea typeface="微軟正黑體" pitchFamily="34" charset="-120"/>
              </a:rPr>
              <a:t>供 </a:t>
            </a:r>
            <a:r>
              <a:rPr lang="en-US" altLang="zh-TW" sz="2401" dirty="0">
                <a:latin typeface="微軟正黑體" pitchFamily="34" charset="-120"/>
                <a:ea typeface="微軟正黑體" pitchFamily="34" charset="-120"/>
              </a:rPr>
              <a:t>2</a:t>
            </a:r>
            <a:r>
              <a:rPr lang="zh-TW" altLang="en-US" sz="2401" dirty="0">
                <a:latin typeface="微軟正黑體" pitchFamily="34" charset="-120"/>
                <a:ea typeface="微軟正黑體" pitchFamily="34" charset="-120"/>
              </a:rPr>
              <a:t> 種版本</a:t>
            </a:r>
            <a:r>
              <a:rPr lang="en-US" altLang="zh-TW" sz="2401" dirty="0">
                <a:latin typeface="微軟正黑體" pitchFamily="34" charset="-120"/>
                <a:ea typeface="微軟正黑體" pitchFamily="34" charset="-120"/>
              </a:rPr>
              <a:t>,</a:t>
            </a:r>
            <a:r>
              <a:rPr lang="zh-TW" altLang="en-US" sz="2401" dirty="0">
                <a:latin typeface="微軟正黑體" pitchFamily="34" charset="-120"/>
                <a:ea typeface="微軟正黑體" pitchFamily="34" charset="-120"/>
              </a:rPr>
              <a:t> 僅以</a:t>
            </a:r>
            <a:r>
              <a:rPr lang="zh-TW" altLang="en-US" sz="2401" dirty="0">
                <a:solidFill>
                  <a:srgbClr val="FF0000"/>
                </a:solidFill>
                <a:latin typeface="微軟正黑體" pitchFamily="34" charset="-120"/>
                <a:ea typeface="微軟正黑體" pitchFamily="34" charset="-120"/>
              </a:rPr>
              <a:t>虛擬化</a:t>
            </a:r>
            <a:r>
              <a:rPr lang="zh-TW" altLang="en-US" sz="2401" dirty="0">
                <a:latin typeface="微軟正黑體" pitchFamily="34" charset="-120"/>
                <a:ea typeface="微軟正黑體" pitchFamily="34" charset="-120"/>
              </a:rPr>
              <a:t>授權作區分</a:t>
            </a:r>
            <a:endParaRPr lang="en-US" sz="2401" dirty="0">
              <a:latin typeface="微軟正黑體" pitchFamily="34" charset="-120"/>
              <a:ea typeface="微軟正黑體" pitchFamily="34" charset="-120"/>
            </a:endParaRPr>
          </a:p>
          <a:p>
            <a:pPr lvl="1"/>
            <a:r>
              <a:rPr lang="en-US" dirty="0">
                <a:latin typeface="微軟正黑體" pitchFamily="34" charset="-120"/>
                <a:ea typeface="微軟正黑體" pitchFamily="34" charset="-120"/>
              </a:rPr>
              <a:t>Datacenter </a:t>
            </a:r>
            <a:r>
              <a:rPr lang="zh-TW" altLang="en-US" dirty="0">
                <a:latin typeface="微軟正黑體" pitchFamily="34" charset="-120"/>
                <a:ea typeface="微軟正黑體" pitchFamily="34" charset="-120"/>
              </a:rPr>
              <a:t> 版本提供無限虛擬化授權 </a:t>
            </a:r>
            <a:r>
              <a:rPr lang="en-US" altLang="zh-TW" dirty="0">
                <a:latin typeface="微軟正黑體" pitchFamily="34" charset="-120"/>
                <a:ea typeface="微軟正黑體" pitchFamily="34" charset="-120"/>
              </a:rPr>
              <a:t>(</a:t>
            </a:r>
            <a:r>
              <a:rPr lang="en-US" dirty="0">
                <a:latin typeface="微軟正黑體" pitchFamily="34" charset="-120"/>
                <a:ea typeface="微軟正黑體" pitchFamily="34" charset="-120"/>
              </a:rPr>
              <a:t>unlimited virtualization</a:t>
            </a:r>
            <a:r>
              <a:rPr lang="en-US" altLang="zh-TW" dirty="0">
                <a:latin typeface="微軟正黑體" pitchFamily="34" charset="-120"/>
                <a:ea typeface="微軟正黑體" pitchFamily="34" charset="-120"/>
              </a:rPr>
              <a:t>)</a:t>
            </a:r>
            <a:endParaRPr lang="en-US" dirty="0">
              <a:latin typeface="微軟正黑體" pitchFamily="34" charset="-120"/>
              <a:ea typeface="微軟正黑體" pitchFamily="34" charset="-120"/>
            </a:endParaRPr>
          </a:p>
          <a:p>
            <a:pPr lvl="1"/>
            <a:r>
              <a:rPr lang="zh-TW" altLang="en-US" dirty="0">
                <a:latin typeface="微軟正黑體" pitchFamily="34" charset="-120"/>
                <a:ea typeface="微軟正黑體" pitchFamily="34" charset="-120"/>
              </a:rPr>
              <a:t>標準版只提供 </a:t>
            </a:r>
            <a:r>
              <a:rPr lang="en-US" altLang="zh-TW" dirty="0">
                <a:latin typeface="微軟正黑體" pitchFamily="34" charset="-120"/>
                <a:ea typeface="微軟正黑體" pitchFamily="34" charset="-120"/>
              </a:rPr>
              <a:t>2</a:t>
            </a:r>
            <a:r>
              <a:rPr lang="zh-TW" altLang="en-US" dirty="0">
                <a:latin typeface="微軟正黑體" pitchFamily="34" charset="-120"/>
                <a:ea typeface="微軟正黑體" pitchFamily="34" charset="-120"/>
              </a:rPr>
              <a:t> 個虛擬機器授權</a:t>
            </a:r>
            <a:r>
              <a:rPr lang="en-US" altLang="zh-TW" dirty="0">
                <a:latin typeface="微軟正黑體" pitchFamily="34" charset="-120"/>
                <a:ea typeface="微軟正黑體" pitchFamily="34" charset="-120"/>
              </a:rPr>
              <a:t>(</a:t>
            </a:r>
            <a:r>
              <a:rPr lang="zh-TW" altLang="en-US" dirty="0">
                <a:latin typeface="微軟正黑體" pitchFamily="34" charset="-120"/>
                <a:ea typeface="微軟正黑體" pitchFamily="34" charset="-120"/>
              </a:rPr>
              <a:t> </a:t>
            </a:r>
            <a:r>
              <a:rPr lang="en-US" altLang="zh-TW" dirty="0">
                <a:latin typeface="微軟正黑體" pitchFamily="34" charset="-120"/>
                <a:ea typeface="微軟正黑體" pitchFamily="34" charset="-120"/>
              </a:rPr>
              <a:t>VM</a:t>
            </a:r>
            <a:r>
              <a:rPr lang="zh-TW" altLang="en-US" dirty="0">
                <a:latin typeface="微軟正黑體" pitchFamily="34" charset="-120"/>
                <a:ea typeface="微軟正黑體" pitchFamily="34" charset="-120"/>
              </a:rPr>
              <a:t> </a:t>
            </a:r>
            <a:r>
              <a:rPr lang="en-US" altLang="zh-TW" dirty="0">
                <a:latin typeface="微軟正黑體" pitchFamily="34" charset="-120"/>
                <a:ea typeface="微軟正黑體" pitchFamily="34" charset="-120"/>
              </a:rPr>
              <a:t>rights)</a:t>
            </a:r>
            <a:endParaRPr lang="en-US" dirty="0">
              <a:latin typeface="微軟正黑體" pitchFamily="34" charset="-120"/>
              <a:ea typeface="微軟正黑體" pitchFamily="34" charset="-120"/>
            </a:endParaRPr>
          </a:p>
          <a:p>
            <a:pPr lvl="1"/>
            <a:endParaRPr lang="en-US" dirty="0">
              <a:latin typeface="微軟正黑體" pitchFamily="34" charset="-120"/>
              <a:ea typeface="微軟正黑體" pitchFamily="34" charset="-120"/>
            </a:endParaRPr>
          </a:p>
        </p:txBody>
      </p:sp>
      <p:sp>
        <p:nvSpPr>
          <p:cNvPr id="2" name="Title 1"/>
          <p:cNvSpPr>
            <a:spLocks noGrp="1"/>
          </p:cNvSpPr>
          <p:nvPr>
            <p:ph type="title"/>
          </p:nvPr>
        </p:nvSpPr>
        <p:spPr>
          <a:xfrm>
            <a:off x="221514" y="175072"/>
            <a:ext cx="8363938" cy="976676"/>
          </a:xfrm>
        </p:spPr>
        <p:txBody>
          <a:bodyPr>
            <a:noAutofit/>
          </a:bodyPr>
          <a:lstStyle/>
          <a:p>
            <a:r>
              <a:rPr lang="en-US" sz="3600" dirty="0">
                <a:latin typeface="微軟正黑體" panose="020B0604030504040204" pitchFamily="34" charset="-120"/>
                <a:ea typeface="微軟正黑體" panose="020B0604030504040204" pitchFamily="34" charset="-120"/>
              </a:rPr>
              <a:t>Windows Server 2012 R2 </a:t>
            </a:r>
            <a:r>
              <a:rPr lang="zh-TW" altLang="en-US" sz="3600" dirty="0">
                <a:latin typeface="微軟正黑體" panose="020B0604030504040204" pitchFamily="34" charset="-120"/>
                <a:ea typeface="微軟正黑體" panose="020B0604030504040204" pitchFamily="34" charset="-120"/>
              </a:rPr>
              <a:t>授權重點</a:t>
            </a:r>
            <a:endParaRPr lang="en-US" sz="3600" dirty="0">
              <a:latin typeface="微軟正黑體" panose="020B0604030504040204" pitchFamily="34" charset="-120"/>
              <a:ea typeface="微軟正黑體" panose="020B0604030504040204" pitchFamily="34" charset="-120"/>
            </a:endParaRPr>
          </a:p>
        </p:txBody>
      </p:sp>
      <p:pic>
        <p:nvPicPr>
          <p:cNvPr id="31" name="Picture 30" descr="\\MAGNUM\Projects\Microsoft\Cloud Power FY12\Design\ICONS_PNG\Application.png"/>
          <p:cNvPicPr>
            <a:picLocks noChangeAspect="1" noChangeArrowheads="1"/>
          </p:cNvPicPr>
          <p:nvPr/>
        </p:nvPicPr>
        <p:blipFill>
          <a:blip r:embed="rId3" cstate="email">
            <a:lum bright="100000"/>
            <a:extLst>
              <a:ext uri="{28A0092B-C50C-407E-A947-70E740481C1C}">
                <a14:useLocalDpi xmlns:a14="http://schemas.microsoft.com/office/drawing/2010/main"/>
              </a:ext>
            </a:extLst>
          </a:blip>
          <a:srcRect/>
          <a:stretch>
            <a:fillRect/>
          </a:stretch>
        </p:blipFill>
        <p:spPr bwMode="auto">
          <a:xfrm>
            <a:off x="531388" y="4014860"/>
            <a:ext cx="919299" cy="919058"/>
          </a:xfrm>
          <a:prstGeom prst="rect">
            <a:avLst/>
          </a:prstGeom>
          <a:noFill/>
        </p:spPr>
      </p:pic>
      <p:pic>
        <p:nvPicPr>
          <p:cNvPr id="44" name="Picture 5" descr="\\MAGNUM\Projects\Microsoft\Cloud Power FY12\Design\Icons\PNGs\Self_Service.png"/>
          <p:cNvPicPr>
            <a:picLocks noChangeAspect="1" noChangeArrowheads="1"/>
          </p:cNvPicPr>
          <p:nvPr/>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584745" y="3000284"/>
            <a:ext cx="812585" cy="800210"/>
          </a:xfrm>
          <a:prstGeom prst="rect">
            <a:avLst/>
          </a:prstGeom>
          <a:noFill/>
        </p:spPr>
      </p:pic>
      <p:sp>
        <p:nvSpPr>
          <p:cNvPr id="3" name="投影片編號版面配置區 2"/>
          <p:cNvSpPr>
            <a:spLocks noGrp="1"/>
          </p:cNvSpPr>
          <p:nvPr>
            <p:ph type="sldNum" sz="quarter" idx="12"/>
          </p:nvPr>
        </p:nvSpPr>
        <p:spPr/>
        <p:txBody>
          <a:bodyPr/>
          <a:lstStyle/>
          <a:p>
            <a:pPr>
              <a:lnSpc>
                <a:spcPct val="90000"/>
              </a:lnSpc>
            </a:pPr>
            <a:fld id="{1BC86A1F-E589-44B2-A543-2EC98F5547A7}" type="slidenum">
              <a:rPr lang="en-US" altLang="zh-TW" smtClean="0">
                <a:gradFill>
                  <a:gsLst>
                    <a:gs pos="0">
                      <a:srgbClr val="505050"/>
                    </a:gs>
                    <a:gs pos="100000">
                      <a:srgbClr val="505050"/>
                    </a:gs>
                  </a:gsLst>
                  <a:lin ang="5400000" scaled="0"/>
                </a:gradFill>
              </a:rPr>
              <a:pPr>
                <a:lnSpc>
                  <a:spcPct val="90000"/>
                </a:lnSpc>
              </a:pPr>
              <a:t>51</a:t>
            </a:fld>
            <a:endParaRPr lang="zh-TW" altLang="en-US"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535515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1712" y="255625"/>
            <a:ext cx="8359388" cy="549896"/>
          </a:xfrm>
        </p:spPr>
        <p:txBody>
          <a:bodyPr>
            <a:normAutofit fontScale="90000"/>
          </a:bodyPr>
          <a:lstStyle/>
          <a:p>
            <a:pPr algn="ctr" defTabSz="685644"/>
            <a:r>
              <a:rPr lang="zh-TW" altLang="en-US" sz="3971" b="1" dirty="0">
                <a:latin typeface="微軟正黑體" panose="020B0604030504040204" pitchFamily="34" charset="-120"/>
                <a:ea typeface="微軟正黑體" panose="020B0604030504040204" pitchFamily="34" charset="-120"/>
              </a:rPr>
              <a:t>客戶情境</a:t>
            </a:r>
            <a:r>
              <a:rPr lang="en-US" sz="3971" b="1" dirty="0">
                <a:latin typeface="微軟正黑體" panose="020B0604030504040204" pitchFamily="34" charset="-120"/>
                <a:ea typeface="微軟正黑體" panose="020B0604030504040204" pitchFamily="34" charset="-120"/>
              </a:rPr>
              <a:t> </a:t>
            </a:r>
          </a:p>
        </p:txBody>
      </p:sp>
      <p:sp>
        <p:nvSpPr>
          <p:cNvPr id="3" name="Content Placeholder 2"/>
          <p:cNvSpPr>
            <a:spLocks noGrp="1"/>
          </p:cNvSpPr>
          <p:nvPr>
            <p:ph type="body" sz="quarter" idx="4294967295"/>
          </p:nvPr>
        </p:nvSpPr>
        <p:spPr>
          <a:xfrm>
            <a:off x="358365" y="1866911"/>
            <a:ext cx="8392735" cy="900229"/>
          </a:xfrm>
          <a:prstGeom prst="rect">
            <a:avLst/>
          </a:prstGeom>
        </p:spPr>
        <p:txBody>
          <a:bodyPr>
            <a:normAutofit lnSpcReduction="10000"/>
          </a:bodyPr>
          <a:lstStyle/>
          <a:p>
            <a:pPr marL="0" indent="0">
              <a:spcBef>
                <a:spcPts val="882"/>
              </a:spcBef>
              <a:spcAft>
                <a:spcPts val="882"/>
              </a:spcAft>
              <a:buNone/>
            </a:pPr>
            <a:r>
              <a:rPr lang="zh-TW" altLang="en-US" sz="1950" dirty="0">
                <a:latin typeface="微軟正黑體" pitchFamily="34" charset="-120"/>
                <a:ea typeface="微軟正黑體" pitchFamily="34" charset="-120"/>
              </a:rPr>
              <a:t>公司目前有</a:t>
            </a:r>
            <a:r>
              <a:rPr lang="en-US" altLang="zh-TW" sz="1950" dirty="0">
                <a:latin typeface="微軟正黑體" pitchFamily="34" charset="-120"/>
                <a:ea typeface="微軟正黑體" pitchFamily="34" charset="-120"/>
              </a:rPr>
              <a:t>1</a:t>
            </a:r>
            <a:r>
              <a:rPr lang="zh-TW" altLang="en-US" sz="1950" dirty="0">
                <a:latin typeface="微軟正黑體" pitchFamily="34" charset="-120"/>
                <a:ea typeface="微軟正黑體" pitchFamily="34" charset="-120"/>
              </a:rPr>
              <a:t>台 </a:t>
            </a:r>
            <a:r>
              <a:rPr lang="en-US" altLang="zh-TW" sz="1950" dirty="0">
                <a:latin typeface="微軟正黑體" pitchFamily="34" charset="-120"/>
                <a:ea typeface="微軟正黑體" pitchFamily="34" charset="-120"/>
              </a:rPr>
              <a:t>Windows Server 2008 R2 </a:t>
            </a:r>
            <a:r>
              <a:rPr lang="zh-TW" altLang="en-US" sz="1950" dirty="0">
                <a:latin typeface="微軟正黑體" pitchFamily="34" charset="-120"/>
                <a:ea typeface="微軟正黑體" pitchFamily="34" charset="-120"/>
              </a:rPr>
              <a:t>並有</a:t>
            </a:r>
            <a:r>
              <a:rPr lang="en-US" altLang="zh-TW" sz="1950" dirty="0">
                <a:latin typeface="微軟正黑體" pitchFamily="34" charset="-120"/>
                <a:ea typeface="微軟正黑體" pitchFamily="34" charset="-120"/>
              </a:rPr>
              <a:t>5</a:t>
            </a:r>
            <a:r>
              <a:rPr lang="zh-TW" altLang="en-US" sz="1950" dirty="0">
                <a:latin typeface="微軟正黑體" pitchFamily="34" charset="-120"/>
                <a:ea typeface="微軟正黑體" pitchFamily="34" charset="-120"/>
              </a:rPr>
              <a:t>位員工會存取該台伺服器</a:t>
            </a:r>
            <a:r>
              <a:rPr lang="en-US" altLang="zh-TW" sz="1950" dirty="0">
                <a:latin typeface="微軟正黑體" pitchFamily="34" charset="-120"/>
                <a:ea typeface="微軟正黑體" pitchFamily="34" charset="-120"/>
              </a:rPr>
              <a:t>;</a:t>
            </a:r>
            <a:r>
              <a:rPr lang="zh-TW" altLang="en-US" sz="1950" dirty="0">
                <a:latin typeface="微軟正黑體" pitchFamily="34" charset="-120"/>
                <a:ea typeface="微軟正黑體" pitchFamily="34" charset="-120"/>
              </a:rPr>
              <a:t> 後來公司新購</a:t>
            </a:r>
            <a:r>
              <a:rPr lang="en-US" altLang="zh-TW" sz="1950" dirty="0">
                <a:latin typeface="微軟正黑體" pitchFamily="34" charset="-120"/>
                <a:ea typeface="微軟正黑體" pitchFamily="34" charset="-120"/>
              </a:rPr>
              <a:t>1</a:t>
            </a:r>
            <a:r>
              <a:rPr lang="zh-TW" altLang="en-US" sz="1950" dirty="0">
                <a:latin typeface="微軟正黑體" pitchFamily="34" charset="-120"/>
                <a:ea typeface="微軟正黑體" pitchFamily="34" charset="-120"/>
              </a:rPr>
              <a:t>台</a:t>
            </a:r>
            <a:r>
              <a:rPr lang="en-US" sz="1950" dirty="0">
                <a:latin typeface="微軟正黑體" pitchFamily="34" charset="-120"/>
                <a:ea typeface="微軟正黑體" pitchFamily="34" charset="-120"/>
              </a:rPr>
              <a:t> Windows Server 2012 R2  </a:t>
            </a:r>
            <a:r>
              <a:rPr lang="zh-TW" altLang="en-US" sz="1950" dirty="0">
                <a:latin typeface="微軟正黑體" pitchFamily="34" charset="-120"/>
                <a:ea typeface="微軟正黑體" pitchFamily="34" charset="-120"/>
              </a:rPr>
              <a:t>並在上面提供</a:t>
            </a:r>
            <a:r>
              <a:rPr lang="en-US" sz="1950" dirty="0">
                <a:latin typeface="微軟正黑體" pitchFamily="34" charset="-120"/>
                <a:ea typeface="微軟正黑體" pitchFamily="34" charset="-120"/>
              </a:rPr>
              <a:t> CRM </a:t>
            </a:r>
            <a:r>
              <a:rPr lang="zh-TW" altLang="en-US" sz="1950" dirty="0">
                <a:latin typeface="微軟正黑體" pitchFamily="34" charset="-120"/>
                <a:ea typeface="微軟正黑體" pitchFamily="34" charset="-120"/>
              </a:rPr>
              <a:t>應用程式供其中</a:t>
            </a:r>
            <a:r>
              <a:rPr lang="en-US" altLang="zh-TW" sz="1950" dirty="0">
                <a:latin typeface="微軟正黑體" pitchFamily="34" charset="-120"/>
                <a:ea typeface="微軟正黑體" pitchFamily="34" charset="-120"/>
              </a:rPr>
              <a:t>2</a:t>
            </a:r>
            <a:r>
              <a:rPr lang="zh-TW" altLang="en-US" sz="1950" dirty="0">
                <a:latin typeface="微軟正黑體" pitchFamily="34" charset="-120"/>
                <a:ea typeface="微軟正黑體" pitchFamily="34" charset="-120"/>
              </a:rPr>
              <a:t>位員工使用及存取</a:t>
            </a:r>
            <a:endParaRPr lang="en-US" sz="1950" dirty="0">
              <a:latin typeface="微軟正黑體" pitchFamily="34" charset="-120"/>
              <a:ea typeface="微軟正黑體" pitchFamily="34" charset="-120"/>
            </a:endParaRPr>
          </a:p>
        </p:txBody>
      </p:sp>
      <p:sp>
        <p:nvSpPr>
          <p:cNvPr id="39" name="TextBox 38"/>
          <p:cNvSpPr txBox="1"/>
          <p:nvPr/>
        </p:nvSpPr>
        <p:spPr>
          <a:xfrm>
            <a:off x="4279360" y="3139760"/>
            <a:ext cx="2731539" cy="145424"/>
          </a:xfrm>
          <a:prstGeom prst="rect">
            <a:avLst/>
          </a:prstGeom>
          <a:noFill/>
        </p:spPr>
        <p:txBody>
          <a:bodyPr wrap="square" lIns="0" tIns="0" rIns="0" bIns="0" rtlCol="0">
            <a:spAutoFit/>
          </a:bodyPr>
          <a:lstStyle/>
          <a:p>
            <a:pPr algn="ctr" defTabSz="685714">
              <a:lnSpc>
                <a:spcPct val="90000"/>
              </a:lnSpc>
            </a:pPr>
            <a:r>
              <a:rPr lang="en-US" sz="1050" spc="-38" dirty="0">
                <a:gradFill>
                  <a:gsLst>
                    <a:gs pos="2917">
                      <a:srgbClr val="505050"/>
                    </a:gs>
                    <a:gs pos="30000">
                      <a:srgbClr val="505050"/>
                    </a:gs>
                  </a:gsLst>
                  <a:lin ang="5400000" scaled="0"/>
                </a:gradFill>
              </a:rPr>
              <a:t>Existing Windows Server </a:t>
            </a:r>
            <a:r>
              <a:rPr lang="en-US" sz="1050" b="1" spc="-38" dirty="0">
                <a:gradFill>
                  <a:gsLst>
                    <a:gs pos="2917">
                      <a:srgbClr val="505050"/>
                    </a:gs>
                    <a:gs pos="30000">
                      <a:srgbClr val="505050"/>
                    </a:gs>
                  </a:gsLst>
                  <a:lin ang="5400000" scaled="0"/>
                </a:gradFill>
              </a:rPr>
              <a:t>2008 CAL</a:t>
            </a:r>
          </a:p>
        </p:txBody>
      </p:sp>
      <p:cxnSp>
        <p:nvCxnSpPr>
          <p:cNvPr id="60" name="Straight Connector 59"/>
          <p:cNvCxnSpPr>
            <a:stCxn id="74" idx="2"/>
          </p:cNvCxnSpPr>
          <p:nvPr/>
        </p:nvCxnSpPr>
        <p:spPr>
          <a:xfrm>
            <a:off x="1744997" y="3850582"/>
            <a:ext cx="0" cy="959152"/>
          </a:xfrm>
          <a:prstGeom prst="line">
            <a:avLst/>
          </a:prstGeom>
          <a:ln w="25400" cap="rnd">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stCxn id="77" idx="2"/>
          </p:cNvCxnSpPr>
          <p:nvPr/>
        </p:nvCxnSpPr>
        <p:spPr>
          <a:xfrm flipH="1">
            <a:off x="1773636" y="3850582"/>
            <a:ext cx="524634" cy="997242"/>
          </a:xfrm>
          <a:prstGeom prst="line">
            <a:avLst/>
          </a:prstGeom>
          <a:ln w="25400" cap="rnd">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a:stCxn id="80" idx="2"/>
          </p:cNvCxnSpPr>
          <p:nvPr/>
        </p:nvCxnSpPr>
        <p:spPr>
          <a:xfrm flipH="1">
            <a:off x="1802202" y="3850581"/>
            <a:ext cx="1049341" cy="978197"/>
          </a:xfrm>
          <a:prstGeom prst="line">
            <a:avLst/>
          </a:prstGeom>
          <a:ln w="25400" cap="rnd">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68" idx="2"/>
          </p:cNvCxnSpPr>
          <p:nvPr/>
        </p:nvCxnSpPr>
        <p:spPr>
          <a:xfrm>
            <a:off x="1191724" y="3850582"/>
            <a:ext cx="572389" cy="987719"/>
          </a:xfrm>
          <a:prstGeom prst="line">
            <a:avLst/>
          </a:prstGeom>
          <a:ln w="25400" cap="rnd">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63" idx="2"/>
          </p:cNvCxnSpPr>
          <p:nvPr/>
        </p:nvCxnSpPr>
        <p:spPr>
          <a:xfrm>
            <a:off x="638449" y="3850581"/>
            <a:ext cx="1097097" cy="1044854"/>
          </a:xfrm>
          <a:prstGeom prst="line">
            <a:avLst/>
          </a:prstGeom>
          <a:ln w="25400" cap="rnd">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97" name="Group 96"/>
          <p:cNvGrpSpPr/>
          <p:nvPr/>
        </p:nvGrpSpPr>
        <p:grpSpPr>
          <a:xfrm>
            <a:off x="395284" y="3139761"/>
            <a:ext cx="3002297" cy="2415139"/>
            <a:chOff x="523875" y="3043238"/>
            <a:chExt cx="4004200" cy="3221101"/>
          </a:xfrm>
        </p:grpSpPr>
        <p:grpSp>
          <p:nvGrpSpPr>
            <p:cNvPr id="118" name="Group 117"/>
            <p:cNvGrpSpPr/>
            <p:nvPr/>
          </p:nvGrpSpPr>
          <p:grpSpPr>
            <a:xfrm>
              <a:off x="523875" y="3342637"/>
              <a:ext cx="3600257" cy="648630"/>
              <a:chOff x="491672" y="3858405"/>
              <a:chExt cx="3600257" cy="648630"/>
            </a:xfrm>
          </p:grpSpPr>
          <p:grpSp>
            <p:nvGrpSpPr>
              <p:cNvPr id="59" name="Group 58"/>
              <p:cNvGrpSpPr/>
              <p:nvPr/>
            </p:nvGrpSpPr>
            <p:grpSpPr>
              <a:xfrm>
                <a:off x="491672" y="3858405"/>
                <a:ext cx="648630" cy="648630"/>
                <a:chOff x="6283603" y="1447800"/>
                <a:chExt cx="1280160" cy="1280160"/>
              </a:xfrm>
            </p:grpSpPr>
            <p:sp>
              <p:nvSpPr>
                <p:cNvPr id="63" name="Rectangle 62"/>
                <p:cNvSpPr/>
                <p:nvPr/>
              </p:nvSpPr>
              <p:spPr bwMode="auto">
                <a:xfrm>
                  <a:off x="6283603" y="1447800"/>
                  <a:ext cx="1280160" cy="128016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58" tIns="34278" rIns="68558" bIns="34278" numCol="1" rtlCol="0" anchor="b" anchorCtr="0" compatLnSpc="1">
                  <a:prstTxWarp prst="textNoShape">
                    <a:avLst/>
                  </a:prstTxWarp>
                </a:bodyPr>
                <a:lstStyle/>
                <a:p>
                  <a:pPr defTabSz="685381" fontAlgn="base">
                    <a:lnSpc>
                      <a:spcPct val="90000"/>
                    </a:lnSpc>
                    <a:spcBef>
                      <a:spcPct val="0"/>
                    </a:spcBef>
                    <a:spcAft>
                      <a:spcPct val="0"/>
                    </a:spcAft>
                  </a:pPr>
                  <a:endParaRPr lang="en-US" sz="1500" spc="-38" dirty="0">
                    <a:gradFill>
                      <a:gsLst>
                        <a:gs pos="0">
                          <a:srgbClr val="EFEFEF"/>
                        </a:gs>
                        <a:gs pos="100000">
                          <a:srgbClr val="EFEFEF"/>
                        </a:gs>
                      </a:gsLst>
                      <a:lin ang="5400000" scaled="0"/>
                    </a:gradFill>
                  </a:endParaRPr>
                </a:p>
              </p:txBody>
            </p:sp>
            <p:pic>
              <p:nvPicPr>
                <p:cNvPr id="65"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6396986" y="1616508"/>
                  <a:ext cx="1029725" cy="940442"/>
                </a:xfrm>
                <a:prstGeom prst="rect">
                  <a:avLst/>
                </a:prstGeom>
                <a:noFill/>
                <a:ln w="9525">
                  <a:noFill/>
                  <a:miter lim="800000"/>
                  <a:headEnd/>
                  <a:tailEnd/>
                </a:ln>
              </p:spPr>
            </p:pic>
          </p:grpSp>
          <p:grpSp>
            <p:nvGrpSpPr>
              <p:cNvPr id="67" name="Group 66"/>
              <p:cNvGrpSpPr/>
              <p:nvPr/>
            </p:nvGrpSpPr>
            <p:grpSpPr>
              <a:xfrm>
                <a:off x="1229579" y="3858405"/>
                <a:ext cx="648630" cy="648630"/>
                <a:chOff x="6283603" y="1447800"/>
                <a:chExt cx="1280160" cy="1280160"/>
              </a:xfrm>
            </p:grpSpPr>
            <p:sp>
              <p:nvSpPr>
                <p:cNvPr id="68" name="Rectangle 67"/>
                <p:cNvSpPr/>
                <p:nvPr/>
              </p:nvSpPr>
              <p:spPr bwMode="auto">
                <a:xfrm>
                  <a:off x="6283603" y="1447800"/>
                  <a:ext cx="1280160" cy="128016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58" tIns="34278" rIns="68558" bIns="34278" numCol="1" rtlCol="0" anchor="b" anchorCtr="0" compatLnSpc="1">
                  <a:prstTxWarp prst="textNoShape">
                    <a:avLst/>
                  </a:prstTxWarp>
                </a:bodyPr>
                <a:lstStyle/>
                <a:p>
                  <a:pPr defTabSz="685381" fontAlgn="base">
                    <a:lnSpc>
                      <a:spcPct val="90000"/>
                    </a:lnSpc>
                    <a:spcBef>
                      <a:spcPct val="0"/>
                    </a:spcBef>
                    <a:spcAft>
                      <a:spcPct val="0"/>
                    </a:spcAft>
                  </a:pPr>
                  <a:endParaRPr lang="en-US" sz="1500" spc="-38" dirty="0">
                    <a:gradFill>
                      <a:gsLst>
                        <a:gs pos="0">
                          <a:srgbClr val="EFEFEF"/>
                        </a:gs>
                        <a:gs pos="100000">
                          <a:srgbClr val="EFEFEF"/>
                        </a:gs>
                      </a:gsLst>
                      <a:lin ang="5400000" scaled="0"/>
                    </a:gradFill>
                  </a:endParaRPr>
                </a:p>
              </p:txBody>
            </p:sp>
            <p:pic>
              <p:nvPicPr>
                <p:cNvPr id="72"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6396986" y="1616508"/>
                  <a:ext cx="1029725" cy="940442"/>
                </a:xfrm>
                <a:prstGeom prst="rect">
                  <a:avLst/>
                </a:prstGeom>
                <a:noFill/>
                <a:ln w="9525">
                  <a:noFill/>
                  <a:miter lim="800000"/>
                  <a:headEnd/>
                  <a:tailEnd/>
                </a:ln>
              </p:spPr>
            </p:pic>
          </p:grpSp>
          <p:grpSp>
            <p:nvGrpSpPr>
              <p:cNvPr id="73" name="Group 72"/>
              <p:cNvGrpSpPr/>
              <p:nvPr/>
            </p:nvGrpSpPr>
            <p:grpSpPr>
              <a:xfrm>
                <a:off x="1967486" y="3858405"/>
                <a:ext cx="648630" cy="648630"/>
                <a:chOff x="6283603" y="1447800"/>
                <a:chExt cx="1280160" cy="1280160"/>
              </a:xfrm>
            </p:grpSpPr>
            <p:sp>
              <p:nvSpPr>
                <p:cNvPr id="74" name="Rectangle 73"/>
                <p:cNvSpPr/>
                <p:nvPr/>
              </p:nvSpPr>
              <p:spPr bwMode="auto">
                <a:xfrm>
                  <a:off x="6283603" y="1447800"/>
                  <a:ext cx="1280160" cy="128016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58" tIns="34278" rIns="68558" bIns="34278" numCol="1" rtlCol="0" anchor="b" anchorCtr="0" compatLnSpc="1">
                  <a:prstTxWarp prst="textNoShape">
                    <a:avLst/>
                  </a:prstTxWarp>
                </a:bodyPr>
                <a:lstStyle/>
                <a:p>
                  <a:pPr defTabSz="685381" fontAlgn="base">
                    <a:lnSpc>
                      <a:spcPct val="90000"/>
                    </a:lnSpc>
                    <a:spcBef>
                      <a:spcPct val="0"/>
                    </a:spcBef>
                    <a:spcAft>
                      <a:spcPct val="0"/>
                    </a:spcAft>
                  </a:pPr>
                  <a:endParaRPr lang="en-US" sz="1500" spc="-38" dirty="0">
                    <a:gradFill>
                      <a:gsLst>
                        <a:gs pos="0">
                          <a:srgbClr val="EFEFEF"/>
                        </a:gs>
                        <a:gs pos="100000">
                          <a:srgbClr val="EFEFEF"/>
                        </a:gs>
                      </a:gsLst>
                      <a:lin ang="5400000" scaled="0"/>
                    </a:gradFill>
                  </a:endParaRPr>
                </a:p>
              </p:txBody>
            </p:sp>
            <p:pic>
              <p:nvPicPr>
                <p:cNvPr id="75"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6396986" y="1616508"/>
                  <a:ext cx="1029725" cy="940442"/>
                </a:xfrm>
                <a:prstGeom prst="rect">
                  <a:avLst/>
                </a:prstGeom>
                <a:noFill/>
                <a:ln w="9525">
                  <a:noFill/>
                  <a:miter lim="800000"/>
                  <a:headEnd/>
                  <a:tailEnd/>
                </a:ln>
              </p:spPr>
            </p:pic>
          </p:grpSp>
          <p:grpSp>
            <p:nvGrpSpPr>
              <p:cNvPr id="76" name="Group 75"/>
              <p:cNvGrpSpPr/>
              <p:nvPr/>
            </p:nvGrpSpPr>
            <p:grpSpPr>
              <a:xfrm>
                <a:off x="2705393" y="3858405"/>
                <a:ext cx="648630" cy="648630"/>
                <a:chOff x="6283603" y="1447800"/>
                <a:chExt cx="1280160" cy="1280160"/>
              </a:xfrm>
            </p:grpSpPr>
            <p:sp>
              <p:nvSpPr>
                <p:cNvPr id="77" name="Rectangle 76"/>
                <p:cNvSpPr/>
                <p:nvPr/>
              </p:nvSpPr>
              <p:spPr bwMode="auto">
                <a:xfrm>
                  <a:off x="6283603" y="1447800"/>
                  <a:ext cx="1280160" cy="128016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58" tIns="34278" rIns="68558" bIns="34278" numCol="1" rtlCol="0" anchor="b" anchorCtr="0" compatLnSpc="1">
                  <a:prstTxWarp prst="textNoShape">
                    <a:avLst/>
                  </a:prstTxWarp>
                </a:bodyPr>
                <a:lstStyle/>
                <a:p>
                  <a:pPr defTabSz="685381" fontAlgn="base">
                    <a:lnSpc>
                      <a:spcPct val="90000"/>
                    </a:lnSpc>
                    <a:spcBef>
                      <a:spcPct val="0"/>
                    </a:spcBef>
                    <a:spcAft>
                      <a:spcPct val="0"/>
                    </a:spcAft>
                  </a:pPr>
                  <a:endParaRPr lang="en-US" sz="1500" spc="-38" dirty="0">
                    <a:gradFill>
                      <a:gsLst>
                        <a:gs pos="0">
                          <a:srgbClr val="EFEFEF"/>
                        </a:gs>
                        <a:gs pos="100000">
                          <a:srgbClr val="EFEFEF"/>
                        </a:gs>
                      </a:gsLst>
                      <a:lin ang="5400000" scaled="0"/>
                    </a:gradFill>
                  </a:endParaRPr>
                </a:p>
              </p:txBody>
            </p:sp>
            <p:pic>
              <p:nvPicPr>
                <p:cNvPr id="78"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6396986" y="1616508"/>
                  <a:ext cx="1029725" cy="940442"/>
                </a:xfrm>
                <a:prstGeom prst="rect">
                  <a:avLst/>
                </a:prstGeom>
                <a:noFill/>
                <a:ln w="9525">
                  <a:noFill/>
                  <a:miter lim="800000"/>
                  <a:headEnd/>
                  <a:tailEnd/>
                </a:ln>
              </p:spPr>
            </p:pic>
          </p:grpSp>
          <p:grpSp>
            <p:nvGrpSpPr>
              <p:cNvPr id="79" name="Group 78"/>
              <p:cNvGrpSpPr/>
              <p:nvPr/>
            </p:nvGrpSpPr>
            <p:grpSpPr>
              <a:xfrm>
                <a:off x="3443299" y="3858405"/>
                <a:ext cx="648630" cy="648630"/>
                <a:chOff x="6283603" y="1447800"/>
                <a:chExt cx="1280160" cy="1280160"/>
              </a:xfrm>
            </p:grpSpPr>
            <p:sp>
              <p:nvSpPr>
                <p:cNvPr id="80" name="Rectangle 79"/>
                <p:cNvSpPr/>
                <p:nvPr/>
              </p:nvSpPr>
              <p:spPr bwMode="auto">
                <a:xfrm>
                  <a:off x="6283603" y="1447800"/>
                  <a:ext cx="1280160" cy="128016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58" tIns="34278" rIns="68558" bIns="34278" numCol="1" rtlCol="0" anchor="b" anchorCtr="0" compatLnSpc="1">
                  <a:prstTxWarp prst="textNoShape">
                    <a:avLst/>
                  </a:prstTxWarp>
                </a:bodyPr>
                <a:lstStyle/>
                <a:p>
                  <a:pPr defTabSz="685381" fontAlgn="base">
                    <a:lnSpc>
                      <a:spcPct val="90000"/>
                    </a:lnSpc>
                    <a:spcBef>
                      <a:spcPct val="0"/>
                    </a:spcBef>
                    <a:spcAft>
                      <a:spcPct val="0"/>
                    </a:spcAft>
                  </a:pPr>
                  <a:endParaRPr lang="en-US" sz="1500" spc="-38" dirty="0">
                    <a:gradFill>
                      <a:gsLst>
                        <a:gs pos="0">
                          <a:srgbClr val="EFEFEF"/>
                        </a:gs>
                        <a:gs pos="100000">
                          <a:srgbClr val="EFEFEF"/>
                        </a:gs>
                      </a:gsLst>
                      <a:lin ang="5400000" scaled="0"/>
                    </a:gradFill>
                  </a:endParaRPr>
                </a:p>
              </p:txBody>
            </p:sp>
            <p:pic>
              <p:nvPicPr>
                <p:cNvPr id="81"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6396986" y="1616508"/>
                  <a:ext cx="1029725" cy="940442"/>
                </a:xfrm>
                <a:prstGeom prst="rect">
                  <a:avLst/>
                </a:prstGeom>
                <a:noFill/>
                <a:ln w="9525">
                  <a:noFill/>
                  <a:miter lim="800000"/>
                  <a:headEnd/>
                  <a:tailEnd/>
                </a:ln>
              </p:spPr>
            </p:pic>
          </p:grpSp>
        </p:grpSp>
        <p:grpSp>
          <p:nvGrpSpPr>
            <p:cNvPr id="96" name="Group 95"/>
            <p:cNvGrpSpPr/>
            <p:nvPr/>
          </p:nvGrpSpPr>
          <p:grpSpPr>
            <a:xfrm>
              <a:off x="1005341" y="4972282"/>
              <a:ext cx="3522734" cy="1292057"/>
              <a:chOff x="1005341" y="4972282"/>
              <a:chExt cx="3522734" cy="1292057"/>
            </a:xfrm>
          </p:grpSpPr>
          <p:sp>
            <p:nvSpPr>
              <p:cNvPr id="11" name="TextBox 10"/>
              <p:cNvSpPr txBox="1"/>
              <p:nvPr/>
            </p:nvSpPr>
            <p:spPr>
              <a:xfrm>
                <a:off x="1005341" y="6042677"/>
                <a:ext cx="3522734" cy="221662"/>
              </a:xfrm>
              <a:prstGeom prst="rect">
                <a:avLst/>
              </a:prstGeom>
              <a:noFill/>
            </p:spPr>
            <p:txBody>
              <a:bodyPr wrap="none" lIns="0" tIns="0" rIns="0" bIns="0" rtlCol="0">
                <a:spAutoFit/>
              </a:bodyPr>
              <a:lstStyle/>
              <a:p>
                <a:pPr defTabSz="685714">
                  <a:lnSpc>
                    <a:spcPct val="90000"/>
                  </a:lnSpc>
                </a:pPr>
                <a:r>
                  <a:rPr lang="en-US" sz="1200" spc="-38" dirty="0">
                    <a:gradFill>
                      <a:gsLst>
                        <a:gs pos="2917">
                          <a:srgbClr val="505050"/>
                        </a:gs>
                        <a:gs pos="30000">
                          <a:srgbClr val="505050"/>
                        </a:gs>
                      </a:gsLst>
                      <a:lin ang="5400000" scaled="0"/>
                    </a:gradFill>
                  </a:rPr>
                  <a:t>Assigned License:  </a:t>
                </a:r>
                <a:r>
                  <a:rPr lang="en-US" sz="1200" b="1" spc="-38" dirty="0">
                    <a:gradFill>
                      <a:gsLst>
                        <a:gs pos="2917">
                          <a:srgbClr val="505050"/>
                        </a:gs>
                        <a:gs pos="30000">
                          <a:srgbClr val="505050"/>
                        </a:gs>
                      </a:gsLst>
                      <a:lin ang="5400000" scaled="0"/>
                    </a:gradFill>
                  </a:rPr>
                  <a:t>WS 2008 R2 Standard</a:t>
                </a:r>
              </a:p>
            </p:txBody>
          </p:sp>
          <p:grpSp>
            <p:nvGrpSpPr>
              <p:cNvPr id="82" name="Group 81"/>
              <p:cNvGrpSpPr/>
              <p:nvPr/>
            </p:nvGrpSpPr>
            <p:grpSpPr>
              <a:xfrm>
                <a:off x="1332715" y="4972282"/>
                <a:ext cx="1982576" cy="976312"/>
                <a:chOff x="732258" y="5360580"/>
                <a:chExt cx="1982576" cy="976312"/>
              </a:xfrm>
            </p:grpSpPr>
            <p:pic>
              <p:nvPicPr>
                <p:cNvPr id="5" name="Picture 2" descr="C:\Users\v-brunew\Desktop\Fumie - beautification\hardware.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32258" y="5360580"/>
                  <a:ext cx="1982576" cy="97631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processor5.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72849" y="5621424"/>
                  <a:ext cx="688554" cy="334471"/>
                </a:xfrm>
                <a:prstGeom prst="rect">
                  <a:avLst/>
                </a:prstGeom>
              </p:spPr>
            </p:pic>
            <p:grpSp>
              <p:nvGrpSpPr>
                <p:cNvPr id="7" name="Group 6"/>
                <p:cNvGrpSpPr/>
                <p:nvPr/>
              </p:nvGrpSpPr>
              <p:grpSpPr>
                <a:xfrm>
                  <a:off x="2200110" y="5723524"/>
                  <a:ext cx="412089" cy="593822"/>
                  <a:chOff x="4521098" y="3096914"/>
                  <a:chExt cx="1521396" cy="2192340"/>
                </a:xfrm>
              </p:grpSpPr>
              <p:pic>
                <p:nvPicPr>
                  <p:cNvPr id="8" name="Picture 7" descr="certificate.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521098" y="3096914"/>
                    <a:ext cx="1521396" cy="2192340"/>
                  </a:xfrm>
                  <a:prstGeom prst="rect">
                    <a:avLst/>
                  </a:prstGeom>
                </p:spPr>
              </p:pic>
              <p:sp>
                <p:nvSpPr>
                  <p:cNvPr id="9" name="10-Point Star 8"/>
                  <p:cNvSpPr/>
                  <p:nvPr/>
                </p:nvSpPr>
                <p:spPr bwMode="auto">
                  <a:xfrm rot="19200051">
                    <a:off x="5426281" y="4682772"/>
                    <a:ext cx="375453" cy="375455"/>
                  </a:xfrm>
                  <a:prstGeom prst="star10">
                    <a:avLst/>
                  </a:prstGeom>
                  <a:solidFill>
                    <a:schemeClr val="accent6"/>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58" tIns="34278" rIns="68558" bIns="34278" numCol="1" rtlCol="0" anchor="ctr" anchorCtr="0" compatLnSpc="1">
                    <a:prstTxWarp prst="textNoShape">
                      <a:avLst/>
                    </a:prstTxWarp>
                  </a:bodyPr>
                  <a:lstStyle/>
                  <a:p>
                    <a:pPr algn="ctr" defTabSz="685381" fontAlgn="base">
                      <a:lnSpc>
                        <a:spcPct val="90000"/>
                      </a:lnSpc>
                      <a:spcBef>
                        <a:spcPct val="0"/>
                      </a:spcBef>
                      <a:spcAft>
                        <a:spcPct val="0"/>
                      </a:spcAft>
                    </a:pPr>
                    <a:endParaRPr lang="en-US" sz="1500" spc="-38" dirty="0">
                      <a:gradFill>
                        <a:gsLst>
                          <a:gs pos="0">
                            <a:srgbClr val="EFEFEF"/>
                          </a:gs>
                          <a:gs pos="100000">
                            <a:srgbClr val="EFEFEF"/>
                          </a:gs>
                        </a:gsLst>
                        <a:lin ang="5400000" scaled="0"/>
                      </a:gradFill>
                    </a:endParaRPr>
                  </a:p>
                </p:txBody>
              </p:sp>
            </p:grpSp>
            <p:pic>
              <p:nvPicPr>
                <p:cNvPr id="10" name="Picture 9" descr="processor5.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98783" y="5805791"/>
                  <a:ext cx="688554" cy="334471"/>
                </a:xfrm>
                <a:prstGeom prst="rect">
                  <a:avLst/>
                </a:prstGeom>
              </p:spPr>
            </p:pic>
          </p:grpSp>
        </p:grpSp>
        <p:sp>
          <p:nvSpPr>
            <p:cNvPr id="54" name="TextBox 53"/>
            <p:cNvSpPr txBox="1"/>
            <p:nvPr/>
          </p:nvSpPr>
          <p:spPr>
            <a:xfrm>
              <a:off x="545096" y="3043238"/>
              <a:ext cx="3557815" cy="193954"/>
            </a:xfrm>
            <a:prstGeom prst="rect">
              <a:avLst/>
            </a:prstGeom>
            <a:noFill/>
          </p:spPr>
          <p:txBody>
            <a:bodyPr wrap="square" lIns="0" tIns="0" rIns="0" bIns="0" rtlCol="0">
              <a:spAutoFit/>
            </a:bodyPr>
            <a:lstStyle/>
            <a:p>
              <a:pPr algn="ctr" defTabSz="685714">
                <a:lnSpc>
                  <a:spcPct val="90000"/>
                </a:lnSpc>
              </a:pPr>
              <a:r>
                <a:rPr lang="en-US" sz="1050" spc="-38" dirty="0">
                  <a:gradFill>
                    <a:gsLst>
                      <a:gs pos="2917">
                        <a:srgbClr val="505050"/>
                      </a:gs>
                      <a:gs pos="30000">
                        <a:srgbClr val="505050"/>
                      </a:gs>
                    </a:gsLst>
                    <a:lin ang="5400000" scaled="0"/>
                  </a:gradFill>
                </a:rPr>
                <a:t>Windows Server </a:t>
              </a:r>
              <a:r>
                <a:rPr lang="en-US" sz="1050" b="1" spc="-38" dirty="0">
                  <a:gradFill>
                    <a:gsLst>
                      <a:gs pos="2917">
                        <a:srgbClr val="505050"/>
                      </a:gs>
                      <a:gs pos="30000">
                        <a:srgbClr val="505050"/>
                      </a:gs>
                    </a:gsLst>
                    <a:lin ang="5400000" scaled="0"/>
                  </a:gradFill>
                </a:rPr>
                <a:t>2008 CAL</a:t>
              </a:r>
            </a:p>
          </p:txBody>
        </p:sp>
      </p:grpSp>
      <p:sp>
        <p:nvSpPr>
          <p:cNvPr id="18" name="TextBox 17"/>
          <p:cNvSpPr txBox="1"/>
          <p:nvPr/>
        </p:nvSpPr>
        <p:spPr>
          <a:xfrm>
            <a:off x="5132498" y="5388702"/>
            <a:ext cx="2604496" cy="166199"/>
          </a:xfrm>
          <a:prstGeom prst="rect">
            <a:avLst/>
          </a:prstGeom>
          <a:noFill/>
        </p:spPr>
        <p:txBody>
          <a:bodyPr wrap="none" lIns="0" tIns="0" rIns="0" bIns="0" rtlCol="0">
            <a:spAutoFit/>
          </a:bodyPr>
          <a:lstStyle/>
          <a:p>
            <a:pPr defTabSz="685714">
              <a:lnSpc>
                <a:spcPct val="90000"/>
              </a:lnSpc>
            </a:pPr>
            <a:r>
              <a:rPr lang="en-US" sz="1200" spc="-38" dirty="0">
                <a:gradFill>
                  <a:gsLst>
                    <a:gs pos="2917">
                      <a:srgbClr val="505050"/>
                    </a:gs>
                    <a:gs pos="30000">
                      <a:srgbClr val="505050"/>
                    </a:gs>
                  </a:gsLst>
                  <a:lin ang="5400000" scaled="0"/>
                </a:gradFill>
              </a:rPr>
              <a:t>Assigned License: </a:t>
            </a:r>
            <a:r>
              <a:rPr lang="en-US" sz="1200" b="1" spc="-38" dirty="0">
                <a:gradFill>
                  <a:gsLst>
                    <a:gs pos="2917">
                      <a:srgbClr val="505050"/>
                    </a:gs>
                    <a:gs pos="30000">
                      <a:srgbClr val="505050"/>
                    </a:gs>
                  </a:gsLst>
                  <a:lin ang="5400000" scaled="0"/>
                </a:gradFill>
              </a:rPr>
              <a:t>WS 2012 </a:t>
            </a:r>
            <a:r>
              <a:rPr lang="en-US" altLang="zh-TW" sz="1200" b="1" spc="-38" dirty="0">
                <a:gradFill>
                  <a:gsLst>
                    <a:gs pos="2917">
                      <a:srgbClr val="505050"/>
                    </a:gs>
                    <a:gs pos="30000">
                      <a:srgbClr val="505050"/>
                    </a:gs>
                  </a:gsLst>
                  <a:lin ang="5400000" scaled="0"/>
                </a:gradFill>
              </a:rPr>
              <a:t>R2 </a:t>
            </a:r>
            <a:r>
              <a:rPr lang="en-US" sz="1200" b="1" spc="-38" dirty="0">
                <a:gradFill>
                  <a:gsLst>
                    <a:gs pos="2917">
                      <a:srgbClr val="505050"/>
                    </a:gs>
                    <a:gs pos="30000">
                      <a:srgbClr val="505050"/>
                    </a:gs>
                  </a:gsLst>
                  <a:lin ang="5400000" scaled="0"/>
                </a:gradFill>
              </a:rPr>
              <a:t>Standard</a:t>
            </a:r>
          </a:p>
        </p:txBody>
      </p:sp>
      <p:grpSp>
        <p:nvGrpSpPr>
          <p:cNvPr id="100" name="Group 99"/>
          <p:cNvGrpSpPr/>
          <p:nvPr/>
        </p:nvGrpSpPr>
        <p:grpSpPr>
          <a:xfrm>
            <a:off x="4299425" y="3359963"/>
            <a:ext cx="2699428" cy="1106968"/>
            <a:chOff x="5730875" y="3336925"/>
            <a:chExt cx="3600257" cy="1476375"/>
          </a:xfrm>
        </p:grpSpPr>
        <p:grpSp>
          <p:nvGrpSpPr>
            <p:cNvPr id="98" name="Group 97"/>
            <p:cNvGrpSpPr/>
            <p:nvPr/>
          </p:nvGrpSpPr>
          <p:grpSpPr>
            <a:xfrm>
              <a:off x="5730875" y="3336925"/>
              <a:ext cx="3600257" cy="648630"/>
              <a:chOff x="5730875" y="3336925"/>
              <a:chExt cx="3600257" cy="648630"/>
            </a:xfrm>
          </p:grpSpPr>
          <p:grpSp>
            <p:nvGrpSpPr>
              <p:cNvPr id="199" name="Group 58"/>
              <p:cNvGrpSpPr/>
              <p:nvPr/>
            </p:nvGrpSpPr>
            <p:grpSpPr>
              <a:xfrm>
                <a:off x="5730875" y="3336925"/>
                <a:ext cx="648630" cy="648630"/>
                <a:chOff x="6283603" y="1447800"/>
                <a:chExt cx="1280160" cy="1280160"/>
              </a:xfrm>
            </p:grpSpPr>
            <p:sp>
              <p:nvSpPr>
                <p:cNvPr id="212" name="Rectangle 211"/>
                <p:cNvSpPr/>
                <p:nvPr/>
              </p:nvSpPr>
              <p:spPr bwMode="auto">
                <a:xfrm>
                  <a:off x="6283603" y="1447800"/>
                  <a:ext cx="1280160" cy="128016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58" tIns="34278" rIns="68558" bIns="34278" numCol="1" rtlCol="0" anchor="b" anchorCtr="0" compatLnSpc="1">
                  <a:prstTxWarp prst="textNoShape">
                    <a:avLst/>
                  </a:prstTxWarp>
                </a:bodyPr>
                <a:lstStyle/>
                <a:p>
                  <a:pPr defTabSz="685381" fontAlgn="base">
                    <a:lnSpc>
                      <a:spcPct val="90000"/>
                    </a:lnSpc>
                    <a:spcBef>
                      <a:spcPct val="0"/>
                    </a:spcBef>
                    <a:spcAft>
                      <a:spcPct val="0"/>
                    </a:spcAft>
                  </a:pPr>
                  <a:endParaRPr lang="en-US" sz="1500" spc="-38" dirty="0">
                    <a:gradFill>
                      <a:gsLst>
                        <a:gs pos="0">
                          <a:srgbClr val="EFEFEF"/>
                        </a:gs>
                        <a:gs pos="100000">
                          <a:srgbClr val="EFEFEF"/>
                        </a:gs>
                      </a:gsLst>
                      <a:lin ang="5400000" scaled="0"/>
                    </a:gradFill>
                  </a:endParaRPr>
                </a:p>
              </p:txBody>
            </p:sp>
            <p:pic>
              <p:nvPicPr>
                <p:cNvPr id="213"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6396986" y="1616508"/>
                  <a:ext cx="1029725" cy="940442"/>
                </a:xfrm>
                <a:prstGeom prst="rect">
                  <a:avLst/>
                </a:prstGeom>
                <a:noFill/>
                <a:ln w="9525">
                  <a:noFill/>
                  <a:miter lim="800000"/>
                  <a:headEnd/>
                  <a:tailEnd/>
                </a:ln>
              </p:spPr>
            </p:pic>
          </p:grpSp>
          <p:grpSp>
            <p:nvGrpSpPr>
              <p:cNvPr id="200" name="Group 66"/>
              <p:cNvGrpSpPr/>
              <p:nvPr/>
            </p:nvGrpSpPr>
            <p:grpSpPr>
              <a:xfrm>
                <a:off x="6468782" y="3336925"/>
                <a:ext cx="648630" cy="648630"/>
                <a:chOff x="6283603" y="1447800"/>
                <a:chExt cx="1280160" cy="1280160"/>
              </a:xfrm>
            </p:grpSpPr>
            <p:sp>
              <p:nvSpPr>
                <p:cNvPr id="210" name="Rectangle 209"/>
                <p:cNvSpPr/>
                <p:nvPr/>
              </p:nvSpPr>
              <p:spPr bwMode="auto">
                <a:xfrm>
                  <a:off x="6283603" y="1447800"/>
                  <a:ext cx="1280160" cy="128016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58" tIns="34278" rIns="68558" bIns="34278" numCol="1" rtlCol="0" anchor="b" anchorCtr="0" compatLnSpc="1">
                  <a:prstTxWarp prst="textNoShape">
                    <a:avLst/>
                  </a:prstTxWarp>
                </a:bodyPr>
                <a:lstStyle/>
                <a:p>
                  <a:pPr defTabSz="685381" fontAlgn="base">
                    <a:lnSpc>
                      <a:spcPct val="90000"/>
                    </a:lnSpc>
                    <a:spcBef>
                      <a:spcPct val="0"/>
                    </a:spcBef>
                    <a:spcAft>
                      <a:spcPct val="0"/>
                    </a:spcAft>
                  </a:pPr>
                  <a:endParaRPr lang="en-US" sz="1500" spc="-38" dirty="0">
                    <a:gradFill>
                      <a:gsLst>
                        <a:gs pos="0">
                          <a:srgbClr val="EFEFEF"/>
                        </a:gs>
                        <a:gs pos="100000">
                          <a:srgbClr val="EFEFEF"/>
                        </a:gs>
                      </a:gsLst>
                      <a:lin ang="5400000" scaled="0"/>
                    </a:gradFill>
                  </a:endParaRPr>
                </a:p>
              </p:txBody>
            </p:sp>
            <p:pic>
              <p:nvPicPr>
                <p:cNvPr id="211"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6396986" y="1616508"/>
                  <a:ext cx="1029725" cy="940442"/>
                </a:xfrm>
                <a:prstGeom prst="rect">
                  <a:avLst/>
                </a:prstGeom>
                <a:noFill/>
                <a:ln w="9525">
                  <a:noFill/>
                  <a:miter lim="800000"/>
                  <a:headEnd/>
                  <a:tailEnd/>
                </a:ln>
              </p:spPr>
            </p:pic>
          </p:grpSp>
          <p:grpSp>
            <p:nvGrpSpPr>
              <p:cNvPr id="201" name="Group 72"/>
              <p:cNvGrpSpPr/>
              <p:nvPr/>
            </p:nvGrpSpPr>
            <p:grpSpPr>
              <a:xfrm>
                <a:off x="7206689" y="3336925"/>
                <a:ext cx="648630" cy="648630"/>
                <a:chOff x="6283603" y="1447800"/>
                <a:chExt cx="1280160" cy="1280160"/>
              </a:xfrm>
            </p:grpSpPr>
            <p:sp>
              <p:nvSpPr>
                <p:cNvPr id="208" name="Rectangle 207"/>
                <p:cNvSpPr/>
                <p:nvPr/>
              </p:nvSpPr>
              <p:spPr bwMode="auto">
                <a:xfrm>
                  <a:off x="6283603" y="1447800"/>
                  <a:ext cx="1280160" cy="128016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58" tIns="34278" rIns="68558" bIns="34278" numCol="1" rtlCol="0" anchor="b" anchorCtr="0" compatLnSpc="1">
                  <a:prstTxWarp prst="textNoShape">
                    <a:avLst/>
                  </a:prstTxWarp>
                </a:bodyPr>
                <a:lstStyle/>
                <a:p>
                  <a:pPr defTabSz="685381" fontAlgn="base">
                    <a:lnSpc>
                      <a:spcPct val="90000"/>
                    </a:lnSpc>
                    <a:spcBef>
                      <a:spcPct val="0"/>
                    </a:spcBef>
                    <a:spcAft>
                      <a:spcPct val="0"/>
                    </a:spcAft>
                  </a:pPr>
                  <a:endParaRPr lang="en-US" sz="1500" spc="-38" dirty="0">
                    <a:gradFill>
                      <a:gsLst>
                        <a:gs pos="0">
                          <a:srgbClr val="EFEFEF"/>
                        </a:gs>
                        <a:gs pos="100000">
                          <a:srgbClr val="EFEFEF"/>
                        </a:gs>
                      </a:gsLst>
                      <a:lin ang="5400000" scaled="0"/>
                    </a:gradFill>
                  </a:endParaRPr>
                </a:p>
              </p:txBody>
            </p:sp>
            <p:pic>
              <p:nvPicPr>
                <p:cNvPr id="209"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6396986" y="1616508"/>
                  <a:ext cx="1029725" cy="940442"/>
                </a:xfrm>
                <a:prstGeom prst="rect">
                  <a:avLst/>
                </a:prstGeom>
                <a:noFill/>
                <a:ln w="9525">
                  <a:noFill/>
                  <a:miter lim="800000"/>
                  <a:headEnd/>
                  <a:tailEnd/>
                </a:ln>
              </p:spPr>
            </p:pic>
          </p:grpSp>
          <p:grpSp>
            <p:nvGrpSpPr>
              <p:cNvPr id="202" name="Group 75"/>
              <p:cNvGrpSpPr/>
              <p:nvPr/>
            </p:nvGrpSpPr>
            <p:grpSpPr>
              <a:xfrm>
                <a:off x="7944596" y="3336925"/>
                <a:ext cx="648630" cy="648630"/>
                <a:chOff x="6283603" y="1447800"/>
                <a:chExt cx="1280160" cy="1280160"/>
              </a:xfrm>
            </p:grpSpPr>
            <p:sp>
              <p:nvSpPr>
                <p:cNvPr id="206" name="Rectangle 205"/>
                <p:cNvSpPr/>
                <p:nvPr/>
              </p:nvSpPr>
              <p:spPr bwMode="auto">
                <a:xfrm>
                  <a:off x="6283603" y="1447800"/>
                  <a:ext cx="1280160" cy="128016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58" tIns="34278" rIns="68558" bIns="34278" numCol="1" rtlCol="0" anchor="b" anchorCtr="0" compatLnSpc="1">
                  <a:prstTxWarp prst="textNoShape">
                    <a:avLst/>
                  </a:prstTxWarp>
                </a:bodyPr>
                <a:lstStyle/>
                <a:p>
                  <a:pPr defTabSz="685381" fontAlgn="base">
                    <a:lnSpc>
                      <a:spcPct val="90000"/>
                    </a:lnSpc>
                    <a:spcBef>
                      <a:spcPct val="0"/>
                    </a:spcBef>
                    <a:spcAft>
                      <a:spcPct val="0"/>
                    </a:spcAft>
                  </a:pPr>
                  <a:endParaRPr lang="en-US" sz="1500" spc="-38" dirty="0">
                    <a:gradFill>
                      <a:gsLst>
                        <a:gs pos="0">
                          <a:srgbClr val="EFEFEF"/>
                        </a:gs>
                        <a:gs pos="100000">
                          <a:srgbClr val="EFEFEF"/>
                        </a:gs>
                      </a:gsLst>
                      <a:lin ang="5400000" scaled="0"/>
                    </a:gradFill>
                  </a:endParaRPr>
                </a:p>
              </p:txBody>
            </p:sp>
            <p:pic>
              <p:nvPicPr>
                <p:cNvPr id="207"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6396986" y="1616508"/>
                  <a:ext cx="1029725" cy="940442"/>
                </a:xfrm>
                <a:prstGeom prst="rect">
                  <a:avLst/>
                </a:prstGeom>
                <a:noFill/>
                <a:ln w="9525">
                  <a:noFill/>
                  <a:miter lim="800000"/>
                  <a:headEnd/>
                  <a:tailEnd/>
                </a:ln>
              </p:spPr>
            </p:pic>
          </p:grpSp>
          <p:grpSp>
            <p:nvGrpSpPr>
              <p:cNvPr id="203" name="Group 78"/>
              <p:cNvGrpSpPr/>
              <p:nvPr/>
            </p:nvGrpSpPr>
            <p:grpSpPr>
              <a:xfrm>
                <a:off x="8682502" y="3336925"/>
                <a:ext cx="648630" cy="648630"/>
                <a:chOff x="6283603" y="1447800"/>
                <a:chExt cx="1280160" cy="1280160"/>
              </a:xfrm>
            </p:grpSpPr>
            <p:sp>
              <p:nvSpPr>
                <p:cNvPr id="204" name="Rectangle 203"/>
                <p:cNvSpPr/>
                <p:nvPr/>
              </p:nvSpPr>
              <p:spPr bwMode="auto">
                <a:xfrm>
                  <a:off x="6283603" y="1447800"/>
                  <a:ext cx="1280160" cy="128016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58" tIns="34278" rIns="68558" bIns="34278" numCol="1" rtlCol="0" anchor="b" anchorCtr="0" compatLnSpc="1">
                  <a:prstTxWarp prst="textNoShape">
                    <a:avLst/>
                  </a:prstTxWarp>
                </a:bodyPr>
                <a:lstStyle/>
                <a:p>
                  <a:pPr defTabSz="685381" fontAlgn="base">
                    <a:lnSpc>
                      <a:spcPct val="90000"/>
                    </a:lnSpc>
                    <a:spcBef>
                      <a:spcPct val="0"/>
                    </a:spcBef>
                    <a:spcAft>
                      <a:spcPct val="0"/>
                    </a:spcAft>
                  </a:pPr>
                  <a:endParaRPr lang="en-US" sz="1500" spc="-38" dirty="0">
                    <a:gradFill>
                      <a:gsLst>
                        <a:gs pos="0">
                          <a:srgbClr val="EFEFEF"/>
                        </a:gs>
                        <a:gs pos="100000">
                          <a:srgbClr val="EFEFEF"/>
                        </a:gs>
                      </a:gsLst>
                      <a:lin ang="5400000" scaled="0"/>
                    </a:gradFill>
                  </a:endParaRPr>
                </a:p>
              </p:txBody>
            </p:sp>
            <p:pic>
              <p:nvPicPr>
                <p:cNvPr id="205"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6396986" y="1616508"/>
                  <a:ext cx="1029725" cy="940442"/>
                </a:xfrm>
                <a:prstGeom prst="rect">
                  <a:avLst/>
                </a:prstGeom>
                <a:noFill/>
                <a:ln w="9525">
                  <a:noFill/>
                  <a:miter lim="800000"/>
                  <a:headEnd/>
                  <a:tailEnd/>
                </a:ln>
              </p:spPr>
            </p:pic>
          </p:grpSp>
        </p:grpSp>
        <p:cxnSp>
          <p:nvCxnSpPr>
            <p:cNvPr id="36" name="Straight Connector 35"/>
            <p:cNvCxnSpPr>
              <a:stCxn id="97" idx="2"/>
            </p:cNvCxnSpPr>
            <p:nvPr/>
          </p:nvCxnSpPr>
          <p:spPr>
            <a:xfrm>
              <a:off x="6049144" y="3991267"/>
              <a:ext cx="1164456" cy="811375"/>
            </a:xfrm>
            <a:prstGeom prst="line">
              <a:avLst/>
            </a:prstGeom>
            <a:ln w="25400" cap="rnd">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100" idx="2"/>
            </p:cNvCxnSpPr>
            <p:nvPr/>
          </p:nvCxnSpPr>
          <p:spPr>
            <a:xfrm>
              <a:off x="6790700" y="3991267"/>
              <a:ext cx="451929" cy="796860"/>
            </a:xfrm>
            <a:prstGeom prst="line">
              <a:avLst/>
            </a:prstGeom>
            <a:ln w="25400" cap="rnd">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7286171" y="3991267"/>
              <a:ext cx="246085" cy="796860"/>
            </a:xfrm>
            <a:prstGeom prst="line">
              <a:avLst/>
            </a:prstGeom>
            <a:ln w="25400" cap="rnd">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a:stCxn id="106" idx="2"/>
            </p:cNvCxnSpPr>
            <p:nvPr/>
          </p:nvCxnSpPr>
          <p:spPr>
            <a:xfrm flipH="1">
              <a:off x="7264400" y="3985555"/>
              <a:ext cx="1004511" cy="802345"/>
            </a:xfrm>
            <a:prstGeom prst="line">
              <a:avLst/>
            </a:prstGeom>
            <a:ln w="25400" cap="rnd">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a:stCxn id="109" idx="2"/>
            </p:cNvCxnSpPr>
            <p:nvPr/>
          </p:nvCxnSpPr>
          <p:spPr>
            <a:xfrm flipH="1">
              <a:off x="7239000" y="3985555"/>
              <a:ext cx="1767817" cy="827745"/>
            </a:xfrm>
            <a:prstGeom prst="line">
              <a:avLst/>
            </a:prstGeom>
            <a:ln w="25400" cap="rnd">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1" name="Group 110"/>
          <p:cNvGrpSpPr/>
          <p:nvPr/>
        </p:nvGrpSpPr>
        <p:grpSpPr>
          <a:xfrm>
            <a:off x="5284600" y="4586133"/>
            <a:ext cx="1486510" cy="732027"/>
            <a:chOff x="732258" y="5360580"/>
            <a:chExt cx="1982576" cy="976312"/>
          </a:xfrm>
        </p:grpSpPr>
        <p:pic>
          <p:nvPicPr>
            <p:cNvPr id="112" name="Picture 2" descr="C:\Users\v-brunew\Desktop\Fumie - beautification\hardware.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32258" y="5360580"/>
              <a:ext cx="1982576" cy="976312"/>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112" descr="processor5.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72849" y="5621424"/>
              <a:ext cx="688554" cy="334471"/>
            </a:xfrm>
            <a:prstGeom prst="rect">
              <a:avLst/>
            </a:prstGeom>
          </p:spPr>
        </p:pic>
        <p:grpSp>
          <p:nvGrpSpPr>
            <p:cNvPr id="114" name="Group 113"/>
            <p:cNvGrpSpPr/>
            <p:nvPr/>
          </p:nvGrpSpPr>
          <p:grpSpPr>
            <a:xfrm>
              <a:off x="2200110" y="5723524"/>
              <a:ext cx="412089" cy="593822"/>
              <a:chOff x="4521098" y="3096914"/>
              <a:chExt cx="1521396" cy="2192340"/>
            </a:xfrm>
          </p:grpSpPr>
          <p:pic>
            <p:nvPicPr>
              <p:cNvPr id="116" name="Picture 115" descr="certificate.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521098" y="3096914"/>
                <a:ext cx="1521396" cy="2192340"/>
              </a:xfrm>
              <a:prstGeom prst="rect">
                <a:avLst/>
              </a:prstGeom>
            </p:spPr>
          </p:pic>
          <p:sp>
            <p:nvSpPr>
              <p:cNvPr id="117" name="10-Point Star 116"/>
              <p:cNvSpPr/>
              <p:nvPr/>
            </p:nvSpPr>
            <p:spPr bwMode="auto">
              <a:xfrm rot="19200051">
                <a:off x="5426281" y="4682772"/>
                <a:ext cx="375453" cy="375455"/>
              </a:xfrm>
              <a:prstGeom prst="star10">
                <a:avLst/>
              </a:prstGeom>
              <a:solidFill>
                <a:schemeClr val="accent6"/>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58" tIns="34278" rIns="68558" bIns="34278" numCol="1" rtlCol="0" anchor="ctr" anchorCtr="0" compatLnSpc="1">
                <a:prstTxWarp prst="textNoShape">
                  <a:avLst/>
                </a:prstTxWarp>
              </a:bodyPr>
              <a:lstStyle/>
              <a:p>
                <a:pPr algn="ctr" defTabSz="685381" fontAlgn="base">
                  <a:lnSpc>
                    <a:spcPct val="90000"/>
                  </a:lnSpc>
                  <a:spcBef>
                    <a:spcPct val="0"/>
                  </a:spcBef>
                  <a:spcAft>
                    <a:spcPct val="0"/>
                  </a:spcAft>
                </a:pPr>
                <a:endParaRPr lang="en-US" sz="1500" spc="-38" dirty="0">
                  <a:gradFill>
                    <a:gsLst>
                      <a:gs pos="0">
                        <a:srgbClr val="EFEFEF"/>
                      </a:gs>
                      <a:gs pos="100000">
                        <a:srgbClr val="EFEFEF"/>
                      </a:gs>
                    </a:gsLst>
                    <a:lin ang="5400000" scaled="0"/>
                  </a:gradFill>
                </a:endParaRPr>
              </a:p>
            </p:txBody>
          </p:sp>
        </p:grpSp>
        <p:pic>
          <p:nvPicPr>
            <p:cNvPr id="115" name="Picture 114" descr="processor5.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98783" y="5805791"/>
              <a:ext cx="688554" cy="334471"/>
            </a:xfrm>
            <a:prstGeom prst="rect">
              <a:avLst/>
            </a:prstGeom>
          </p:spPr>
        </p:pic>
      </p:grpSp>
      <p:pic>
        <p:nvPicPr>
          <p:cNvPr id="26" name="Picture 2" descr="\\NAS\Data\Asset.Repository\Icons\_ VIRTUALIZATION ICONS\Server Virtual 2U.png"/>
          <p:cNvPicPr>
            <a:picLocks noChangeAspect="1" noChangeArrowheads="1"/>
          </p:cNvPicPr>
          <p:nvPr/>
        </p:nvPicPr>
        <p:blipFill>
          <a:blip r:embed="rId7" cstate="email">
            <a:grayscl/>
            <a:extLst>
              <a:ext uri="{28A0092B-C50C-407E-A947-70E740481C1C}">
                <a14:useLocalDpi xmlns:a14="http://schemas.microsoft.com/office/drawing/2010/main"/>
              </a:ext>
            </a:extLst>
          </a:blip>
          <a:srcRect/>
          <a:stretch>
            <a:fillRect/>
          </a:stretch>
        </p:blipFill>
        <p:spPr bwMode="auto">
          <a:xfrm>
            <a:off x="5030261" y="4279855"/>
            <a:ext cx="772332" cy="453719"/>
          </a:xfrm>
          <a:prstGeom prst="rect">
            <a:avLst/>
          </a:prstGeom>
          <a:noFill/>
        </p:spPr>
      </p:pic>
      <p:sp>
        <p:nvSpPr>
          <p:cNvPr id="28" name="Rectangle 27"/>
          <p:cNvSpPr/>
          <p:nvPr/>
        </p:nvSpPr>
        <p:spPr>
          <a:xfrm>
            <a:off x="5159925" y="4345777"/>
            <a:ext cx="564129" cy="230832"/>
          </a:xfrm>
          <a:prstGeom prst="rect">
            <a:avLst/>
          </a:prstGeom>
        </p:spPr>
        <p:txBody>
          <a:bodyPr wrap="none">
            <a:spAutoFit/>
          </a:bodyPr>
          <a:lstStyle/>
          <a:p>
            <a:pPr defTabSz="685714"/>
            <a:r>
              <a:rPr lang="en-US" sz="900" spc="-38" dirty="0">
                <a:gradFill>
                  <a:gsLst>
                    <a:gs pos="2917">
                      <a:srgbClr val="505050"/>
                    </a:gs>
                    <a:gs pos="30000">
                      <a:srgbClr val="505050"/>
                    </a:gs>
                  </a:gsLst>
                  <a:lin ang="5400000" scaled="0"/>
                </a:gradFill>
              </a:rPr>
              <a:t>2008 R2</a:t>
            </a:r>
            <a:endParaRPr lang="en-US" sz="900" dirty="0">
              <a:solidFill>
                <a:srgbClr val="505050"/>
              </a:solidFill>
            </a:endParaRPr>
          </a:p>
        </p:txBody>
      </p:sp>
      <p:grpSp>
        <p:nvGrpSpPr>
          <p:cNvPr id="88" name="Group 87"/>
          <p:cNvGrpSpPr/>
          <p:nvPr/>
        </p:nvGrpSpPr>
        <p:grpSpPr>
          <a:xfrm>
            <a:off x="5959246" y="3359966"/>
            <a:ext cx="1039606" cy="1097445"/>
            <a:chOff x="7944596" y="3336925"/>
            <a:chExt cx="1386536" cy="1463675"/>
          </a:xfrm>
        </p:grpSpPr>
        <p:cxnSp>
          <p:nvCxnSpPr>
            <p:cNvPr id="42" name="Straight Connector 41"/>
            <p:cNvCxnSpPr>
              <a:stCxn id="106" idx="2"/>
            </p:cNvCxnSpPr>
            <p:nvPr/>
          </p:nvCxnSpPr>
          <p:spPr>
            <a:xfrm>
              <a:off x="8268911" y="3985555"/>
              <a:ext cx="519489" cy="815045"/>
            </a:xfrm>
            <a:prstGeom prst="line">
              <a:avLst/>
            </a:prstGeom>
            <a:ln w="25400"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stCxn id="109" idx="2"/>
            </p:cNvCxnSpPr>
            <p:nvPr/>
          </p:nvCxnSpPr>
          <p:spPr>
            <a:xfrm flipH="1">
              <a:off x="8813800" y="3985555"/>
              <a:ext cx="193017" cy="815045"/>
            </a:xfrm>
            <a:prstGeom prst="line">
              <a:avLst/>
            </a:prstGeom>
            <a:ln w="25400"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105" name="Group 104"/>
            <p:cNvGrpSpPr/>
            <p:nvPr/>
          </p:nvGrpSpPr>
          <p:grpSpPr>
            <a:xfrm>
              <a:off x="7944596" y="3336925"/>
              <a:ext cx="648630" cy="648630"/>
              <a:chOff x="6283601" y="1447800"/>
              <a:chExt cx="1280160" cy="1280160"/>
            </a:xfrm>
          </p:grpSpPr>
          <p:sp>
            <p:nvSpPr>
              <p:cNvPr id="106" name="Rectangle 105"/>
              <p:cNvSpPr/>
              <p:nvPr/>
            </p:nvSpPr>
            <p:spPr bwMode="auto">
              <a:xfrm>
                <a:off x="6283601" y="1447800"/>
                <a:ext cx="1280160" cy="128016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58" tIns="34278" rIns="68558" bIns="34278" numCol="1" rtlCol="0" anchor="b" anchorCtr="0" compatLnSpc="1">
                <a:prstTxWarp prst="textNoShape">
                  <a:avLst/>
                </a:prstTxWarp>
              </a:bodyPr>
              <a:lstStyle/>
              <a:p>
                <a:pPr defTabSz="685381" fontAlgn="base">
                  <a:lnSpc>
                    <a:spcPct val="90000"/>
                  </a:lnSpc>
                  <a:spcBef>
                    <a:spcPct val="0"/>
                  </a:spcBef>
                  <a:spcAft>
                    <a:spcPct val="0"/>
                  </a:spcAft>
                </a:pPr>
                <a:endParaRPr lang="en-US" sz="1500" spc="-38" dirty="0">
                  <a:gradFill>
                    <a:gsLst>
                      <a:gs pos="0">
                        <a:srgbClr val="EFEFEF"/>
                      </a:gs>
                      <a:gs pos="100000">
                        <a:srgbClr val="EFEFEF"/>
                      </a:gs>
                    </a:gsLst>
                    <a:lin ang="5400000" scaled="0"/>
                  </a:gradFill>
                </a:endParaRPr>
              </a:p>
            </p:txBody>
          </p:sp>
          <p:pic>
            <p:nvPicPr>
              <p:cNvPr id="107"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6396986" y="1616508"/>
                <a:ext cx="1029725" cy="940442"/>
              </a:xfrm>
              <a:prstGeom prst="rect">
                <a:avLst/>
              </a:prstGeom>
              <a:noFill/>
              <a:ln w="9525">
                <a:noFill/>
                <a:miter lim="800000"/>
                <a:headEnd/>
                <a:tailEnd/>
              </a:ln>
            </p:spPr>
          </p:pic>
        </p:grpSp>
        <p:grpSp>
          <p:nvGrpSpPr>
            <p:cNvPr id="108" name="Group 107"/>
            <p:cNvGrpSpPr/>
            <p:nvPr/>
          </p:nvGrpSpPr>
          <p:grpSpPr>
            <a:xfrm>
              <a:off x="8682502" y="3336925"/>
              <a:ext cx="648630" cy="648630"/>
              <a:chOff x="6283601" y="1447800"/>
              <a:chExt cx="1280160" cy="1280160"/>
            </a:xfrm>
          </p:grpSpPr>
          <p:sp>
            <p:nvSpPr>
              <p:cNvPr id="109" name="Rectangle 108"/>
              <p:cNvSpPr/>
              <p:nvPr/>
            </p:nvSpPr>
            <p:spPr bwMode="auto">
              <a:xfrm>
                <a:off x="6283601" y="1447800"/>
                <a:ext cx="1280160" cy="128016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58" tIns="34278" rIns="68558" bIns="34278" numCol="1" rtlCol="0" anchor="b" anchorCtr="0" compatLnSpc="1">
                <a:prstTxWarp prst="textNoShape">
                  <a:avLst/>
                </a:prstTxWarp>
              </a:bodyPr>
              <a:lstStyle/>
              <a:p>
                <a:pPr defTabSz="685381" fontAlgn="base">
                  <a:lnSpc>
                    <a:spcPct val="90000"/>
                  </a:lnSpc>
                  <a:spcBef>
                    <a:spcPct val="0"/>
                  </a:spcBef>
                  <a:spcAft>
                    <a:spcPct val="0"/>
                  </a:spcAft>
                </a:pPr>
                <a:endParaRPr lang="en-US" sz="1500" spc="-38" dirty="0">
                  <a:gradFill>
                    <a:gsLst>
                      <a:gs pos="0">
                        <a:srgbClr val="EFEFEF"/>
                      </a:gs>
                      <a:gs pos="100000">
                        <a:srgbClr val="EFEFEF"/>
                      </a:gs>
                    </a:gsLst>
                    <a:lin ang="5400000" scaled="0"/>
                  </a:gradFill>
                </a:endParaRPr>
              </a:p>
            </p:txBody>
          </p:sp>
          <p:pic>
            <p:nvPicPr>
              <p:cNvPr id="110"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6396986" y="1616508"/>
                <a:ext cx="1029725" cy="940442"/>
              </a:xfrm>
              <a:prstGeom prst="rect">
                <a:avLst/>
              </a:prstGeom>
              <a:noFill/>
              <a:ln w="9525">
                <a:noFill/>
                <a:miter lim="800000"/>
                <a:headEnd/>
                <a:tailEnd/>
              </a:ln>
            </p:spPr>
          </p:pic>
        </p:grpSp>
      </p:grpSp>
      <p:sp>
        <p:nvSpPr>
          <p:cNvPr id="170" name="TextBox 169"/>
          <p:cNvSpPr txBox="1"/>
          <p:nvPr/>
        </p:nvSpPr>
        <p:spPr>
          <a:xfrm>
            <a:off x="7067709" y="3385648"/>
            <a:ext cx="1527294" cy="436273"/>
          </a:xfrm>
          <a:prstGeom prst="rect">
            <a:avLst/>
          </a:prstGeom>
          <a:noFill/>
        </p:spPr>
        <p:txBody>
          <a:bodyPr wrap="square" lIns="0" tIns="0" rIns="0" bIns="0" rtlCol="0">
            <a:spAutoFit/>
          </a:bodyPr>
          <a:lstStyle/>
          <a:p>
            <a:pPr defTabSz="685714">
              <a:lnSpc>
                <a:spcPct val="90000"/>
              </a:lnSpc>
            </a:pPr>
            <a:r>
              <a:rPr lang="zh-TW" altLang="en-US" sz="1050" dirty="0">
                <a:gradFill>
                  <a:gsLst>
                    <a:gs pos="0">
                      <a:srgbClr val="505050"/>
                    </a:gs>
                    <a:gs pos="100000">
                      <a:srgbClr val="505050"/>
                    </a:gs>
                  </a:gsLst>
                  <a:lin ang="5400000" scaled="0"/>
                </a:gradFill>
                <a:latin typeface="微軟正黑體" pitchFamily="34" charset="-120"/>
                <a:ea typeface="微軟正黑體" pitchFamily="34" charset="-120"/>
              </a:rPr>
              <a:t>只要需要存取新購</a:t>
            </a:r>
            <a:r>
              <a:rPr lang="en-US" sz="1050" dirty="0">
                <a:gradFill>
                  <a:gsLst>
                    <a:gs pos="0">
                      <a:srgbClr val="505050"/>
                    </a:gs>
                    <a:gs pos="100000">
                      <a:srgbClr val="505050"/>
                    </a:gs>
                  </a:gsLst>
                  <a:lin ang="5400000" scaled="0"/>
                </a:gradFill>
                <a:latin typeface="微軟正黑體" pitchFamily="34" charset="-120"/>
                <a:ea typeface="微軟正黑體" pitchFamily="34" charset="-120"/>
              </a:rPr>
              <a:t/>
            </a:r>
            <a:br>
              <a:rPr lang="en-US" sz="1050" dirty="0">
                <a:gradFill>
                  <a:gsLst>
                    <a:gs pos="0">
                      <a:srgbClr val="505050"/>
                    </a:gs>
                    <a:gs pos="100000">
                      <a:srgbClr val="505050"/>
                    </a:gs>
                  </a:gsLst>
                  <a:lin ang="5400000" scaled="0"/>
                </a:gradFill>
                <a:latin typeface="微軟正黑體" pitchFamily="34" charset="-120"/>
                <a:ea typeface="微軟正黑體" pitchFamily="34" charset="-120"/>
              </a:rPr>
            </a:br>
            <a:r>
              <a:rPr lang="en-US" sz="1050" dirty="0">
                <a:gradFill>
                  <a:gsLst>
                    <a:gs pos="0">
                      <a:srgbClr val="505050"/>
                    </a:gs>
                    <a:gs pos="100000">
                      <a:srgbClr val="505050"/>
                    </a:gs>
                  </a:gsLst>
                  <a:lin ang="5400000" scaled="0"/>
                </a:gradFill>
                <a:latin typeface="微軟正黑體" pitchFamily="34" charset="-120"/>
                <a:ea typeface="微軟正黑體" pitchFamily="34" charset="-120"/>
              </a:rPr>
              <a:t>WS 2012 R2</a:t>
            </a:r>
            <a:r>
              <a:rPr lang="zh-TW" altLang="en-US" sz="1050" dirty="0">
                <a:gradFill>
                  <a:gsLst>
                    <a:gs pos="0">
                      <a:srgbClr val="505050"/>
                    </a:gs>
                    <a:gs pos="100000">
                      <a:srgbClr val="505050"/>
                    </a:gs>
                  </a:gsLst>
                  <a:lin ang="5400000" scaled="0"/>
                </a:gradFill>
                <a:latin typeface="微軟正黑體" pitchFamily="34" charset="-120"/>
                <a:ea typeface="微軟正黑體" pitchFamily="34" charset="-120"/>
              </a:rPr>
              <a:t>上的服務</a:t>
            </a:r>
            <a:r>
              <a:rPr lang="en-US" altLang="zh-TW" sz="1050" dirty="0">
                <a:gradFill>
                  <a:gsLst>
                    <a:gs pos="0">
                      <a:srgbClr val="505050"/>
                    </a:gs>
                    <a:gs pos="100000">
                      <a:srgbClr val="505050"/>
                    </a:gs>
                  </a:gsLst>
                  <a:lin ang="5400000" scaled="0"/>
                </a:gradFill>
                <a:latin typeface="微軟正黑體" pitchFamily="34" charset="-120"/>
                <a:ea typeface="微軟正黑體" pitchFamily="34" charset="-120"/>
              </a:rPr>
              <a:t>,</a:t>
            </a:r>
            <a:r>
              <a:rPr lang="zh-TW" altLang="en-US" sz="1050" dirty="0">
                <a:gradFill>
                  <a:gsLst>
                    <a:gs pos="0">
                      <a:srgbClr val="505050"/>
                    </a:gs>
                    <a:gs pos="100000">
                      <a:srgbClr val="505050"/>
                    </a:gs>
                  </a:gsLst>
                  <a:lin ang="5400000" scaled="0"/>
                </a:gradFill>
                <a:latin typeface="微軟正黑體" pitchFamily="34" charset="-120"/>
                <a:ea typeface="微軟正黑體" pitchFamily="34" charset="-120"/>
              </a:rPr>
              <a:t> 則必須新贈</a:t>
            </a:r>
            <a:r>
              <a:rPr lang="en-US" altLang="zh-TW" sz="1050" dirty="0">
                <a:gradFill>
                  <a:gsLst>
                    <a:gs pos="0">
                      <a:srgbClr val="505050"/>
                    </a:gs>
                    <a:gs pos="100000">
                      <a:srgbClr val="505050"/>
                    </a:gs>
                  </a:gsLst>
                  <a:lin ang="5400000" scaled="0"/>
                </a:gradFill>
                <a:latin typeface="微軟正黑體" pitchFamily="34" charset="-120"/>
                <a:ea typeface="微軟正黑體" pitchFamily="34" charset="-120"/>
              </a:rPr>
              <a:t>WS</a:t>
            </a:r>
            <a:r>
              <a:rPr lang="zh-TW" altLang="en-US" sz="1050" dirty="0">
                <a:gradFill>
                  <a:gsLst>
                    <a:gs pos="0">
                      <a:srgbClr val="505050"/>
                    </a:gs>
                    <a:gs pos="100000">
                      <a:srgbClr val="505050"/>
                    </a:gs>
                  </a:gsLst>
                  <a:lin ang="5400000" scaled="0"/>
                </a:gradFill>
                <a:latin typeface="微軟正黑體" pitchFamily="34" charset="-120"/>
                <a:ea typeface="微軟正黑體" pitchFamily="34" charset="-120"/>
              </a:rPr>
              <a:t> </a:t>
            </a:r>
            <a:r>
              <a:rPr lang="en-US" altLang="zh-TW" sz="1050" dirty="0">
                <a:gradFill>
                  <a:gsLst>
                    <a:gs pos="0">
                      <a:srgbClr val="505050"/>
                    </a:gs>
                    <a:gs pos="100000">
                      <a:srgbClr val="505050"/>
                    </a:gs>
                  </a:gsLst>
                  <a:lin ang="5400000" scaled="0"/>
                </a:gradFill>
                <a:latin typeface="微軟正黑體" pitchFamily="34" charset="-120"/>
                <a:ea typeface="微軟正黑體" pitchFamily="34" charset="-120"/>
              </a:rPr>
              <a:t>2012</a:t>
            </a:r>
            <a:r>
              <a:rPr lang="zh-TW" altLang="en-US" sz="1050" dirty="0">
                <a:gradFill>
                  <a:gsLst>
                    <a:gs pos="0">
                      <a:srgbClr val="505050"/>
                    </a:gs>
                    <a:gs pos="100000">
                      <a:srgbClr val="505050"/>
                    </a:gs>
                  </a:gsLst>
                  <a:lin ang="5400000" scaled="0"/>
                </a:gradFill>
                <a:latin typeface="微軟正黑體" pitchFamily="34" charset="-120"/>
                <a:ea typeface="微軟正黑體" pitchFamily="34" charset="-120"/>
              </a:rPr>
              <a:t> </a:t>
            </a:r>
            <a:r>
              <a:rPr lang="en-US" sz="1050" dirty="0">
                <a:gradFill>
                  <a:gsLst>
                    <a:gs pos="0">
                      <a:srgbClr val="505050"/>
                    </a:gs>
                    <a:gs pos="100000">
                      <a:srgbClr val="505050"/>
                    </a:gs>
                  </a:gsLst>
                  <a:lin ang="5400000" scaled="0"/>
                </a:gradFill>
                <a:latin typeface="微軟正黑體" pitchFamily="34" charset="-120"/>
                <a:ea typeface="微軟正黑體" pitchFamily="34" charset="-120"/>
              </a:rPr>
              <a:t>CALs</a:t>
            </a:r>
            <a:endParaRPr lang="en-US" sz="1050" spc="-38" dirty="0">
              <a:gradFill>
                <a:gsLst>
                  <a:gs pos="0">
                    <a:srgbClr val="505050"/>
                  </a:gs>
                  <a:gs pos="100000">
                    <a:srgbClr val="505050"/>
                  </a:gs>
                </a:gsLst>
                <a:lin ang="5400000" scaled="0"/>
              </a:gradFill>
              <a:latin typeface="微軟正黑體" pitchFamily="34" charset="-120"/>
              <a:ea typeface="微軟正黑體" pitchFamily="34" charset="-120"/>
            </a:endParaRPr>
          </a:p>
        </p:txBody>
      </p:sp>
      <p:grpSp>
        <p:nvGrpSpPr>
          <p:cNvPr id="89" name="Group 88"/>
          <p:cNvGrpSpPr/>
          <p:nvPr/>
        </p:nvGrpSpPr>
        <p:grpSpPr>
          <a:xfrm>
            <a:off x="6191091" y="4258089"/>
            <a:ext cx="765395" cy="449643"/>
            <a:chOff x="8253812" y="4534766"/>
            <a:chExt cx="1020817" cy="599694"/>
          </a:xfrm>
        </p:grpSpPr>
        <p:pic>
          <p:nvPicPr>
            <p:cNvPr id="27" name="Picture 2" descr="\\NAS\Data\Asset.Repository\Icons\_ VIRTUALIZATION ICONS\Server Virtual 2U.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8253812" y="4534766"/>
              <a:ext cx="1020817" cy="599694"/>
            </a:xfrm>
            <a:prstGeom prst="rect">
              <a:avLst/>
            </a:prstGeom>
            <a:noFill/>
          </p:spPr>
        </p:pic>
        <p:sp>
          <p:nvSpPr>
            <p:cNvPr id="29" name="Rectangle 28"/>
            <p:cNvSpPr/>
            <p:nvPr/>
          </p:nvSpPr>
          <p:spPr>
            <a:xfrm>
              <a:off x="8539231" y="4641851"/>
              <a:ext cx="553814" cy="307863"/>
            </a:xfrm>
            <a:prstGeom prst="rect">
              <a:avLst/>
            </a:prstGeom>
          </p:spPr>
          <p:txBody>
            <a:bodyPr wrap="none">
              <a:spAutoFit/>
            </a:bodyPr>
            <a:lstStyle/>
            <a:p>
              <a:pPr defTabSz="685714"/>
              <a:r>
                <a:rPr lang="en-US" sz="900" spc="-38" dirty="0">
                  <a:gradFill>
                    <a:gsLst>
                      <a:gs pos="2917">
                        <a:srgbClr val="505050"/>
                      </a:gs>
                      <a:gs pos="30000">
                        <a:srgbClr val="505050"/>
                      </a:gs>
                    </a:gsLst>
                    <a:lin ang="5400000" scaled="0"/>
                  </a:gradFill>
                </a:rPr>
                <a:t>2012</a:t>
              </a:r>
              <a:endParaRPr lang="en-US" sz="900" dirty="0">
                <a:solidFill>
                  <a:srgbClr val="505050"/>
                </a:solidFill>
              </a:endParaRPr>
            </a:p>
          </p:txBody>
        </p:sp>
      </p:grpSp>
      <p:sp>
        <p:nvSpPr>
          <p:cNvPr id="4" name="投影片編號版面配置區 3"/>
          <p:cNvSpPr>
            <a:spLocks noGrp="1"/>
          </p:cNvSpPr>
          <p:nvPr>
            <p:ph type="sldNum" sz="quarter" idx="12"/>
          </p:nvPr>
        </p:nvSpPr>
        <p:spPr/>
        <p:txBody>
          <a:bodyPr/>
          <a:lstStyle/>
          <a:p>
            <a:pPr>
              <a:lnSpc>
                <a:spcPct val="90000"/>
              </a:lnSpc>
            </a:pPr>
            <a:fld id="{1BC86A1F-E589-44B2-A543-2EC98F5547A7}" type="slidenum">
              <a:rPr lang="en-US" altLang="zh-TW" smtClean="0">
                <a:gradFill>
                  <a:gsLst>
                    <a:gs pos="0">
                      <a:srgbClr val="505050"/>
                    </a:gs>
                    <a:gs pos="100000">
                      <a:srgbClr val="505050"/>
                    </a:gs>
                  </a:gsLst>
                  <a:lin ang="5400000" scaled="0"/>
                </a:gradFill>
              </a:rPr>
              <a:pPr>
                <a:lnSpc>
                  <a:spcPct val="90000"/>
                </a:lnSpc>
              </a:pPr>
              <a:t>52</a:t>
            </a:fld>
            <a:endParaRPr lang="zh-TW" altLang="en-US"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1022053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7"/>
                                        </p:tgtEl>
                                        <p:attrNameLst>
                                          <p:attrName>style.visibility</p:attrName>
                                        </p:attrNameLst>
                                      </p:cBhvr>
                                      <p:to>
                                        <p:strVal val="visible"/>
                                      </p:to>
                                    </p:set>
                                    <p:animEffect transition="in" filter="fade">
                                      <p:cBhvr>
                                        <p:cTn id="7" dur="500"/>
                                        <p:tgtEl>
                                          <p:spTgt spid="9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6"/>
                                        </p:tgtEl>
                                        <p:attrNameLst>
                                          <p:attrName>style.visibility</p:attrName>
                                        </p:attrNameLst>
                                      </p:cBhvr>
                                      <p:to>
                                        <p:strVal val="visible"/>
                                      </p:to>
                                    </p:set>
                                    <p:animEffect transition="in" filter="fade">
                                      <p:cBhvr>
                                        <p:cTn id="11" dur="500"/>
                                        <p:tgtEl>
                                          <p:spTgt spid="6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4"/>
                                        </p:tgtEl>
                                        <p:attrNameLst>
                                          <p:attrName>style.visibility</p:attrName>
                                        </p:attrNameLst>
                                      </p:cBhvr>
                                      <p:to>
                                        <p:strVal val="visible"/>
                                      </p:to>
                                    </p:set>
                                    <p:animEffect transition="in" filter="fade">
                                      <p:cBhvr>
                                        <p:cTn id="15" dur="500"/>
                                        <p:tgtEl>
                                          <p:spTgt spid="64"/>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60"/>
                                        </p:tgtEl>
                                        <p:attrNameLst>
                                          <p:attrName>style.visibility</p:attrName>
                                        </p:attrNameLst>
                                      </p:cBhvr>
                                      <p:to>
                                        <p:strVal val="visible"/>
                                      </p:to>
                                    </p:set>
                                    <p:animEffect transition="in" filter="fade">
                                      <p:cBhvr>
                                        <p:cTn id="19" dur="500"/>
                                        <p:tgtEl>
                                          <p:spTgt spid="60"/>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61"/>
                                        </p:tgtEl>
                                        <p:attrNameLst>
                                          <p:attrName>style.visibility</p:attrName>
                                        </p:attrNameLst>
                                      </p:cBhvr>
                                      <p:to>
                                        <p:strVal val="visible"/>
                                      </p:to>
                                    </p:set>
                                    <p:animEffect transition="in" filter="fade">
                                      <p:cBhvr>
                                        <p:cTn id="23" dur="500"/>
                                        <p:tgtEl>
                                          <p:spTgt spid="61"/>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62"/>
                                        </p:tgtEl>
                                        <p:attrNameLst>
                                          <p:attrName>style.visibility</p:attrName>
                                        </p:attrNameLst>
                                      </p:cBhvr>
                                      <p:to>
                                        <p:strVal val="visible"/>
                                      </p:to>
                                    </p:set>
                                    <p:animEffect transition="in" filter="fade">
                                      <p:cBhvr>
                                        <p:cTn id="27" dur="500"/>
                                        <p:tgtEl>
                                          <p:spTgt spid="6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11"/>
                                        </p:tgtEl>
                                        <p:attrNameLst>
                                          <p:attrName>style.visibility</p:attrName>
                                        </p:attrNameLst>
                                      </p:cBhvr>
                                      <p:to>
                                        <p:strVal val="visible"/>
                                      </p:to>
                                    </p:set>
                                    <p:animEffect transition="in" filter="fade">
                                      <p:cBhvr>
                                        <p:cTn id="32" dur="500"/>
                                        <p:tgtEl>
                                          <p:spTgt spid="111"/>
                                        </p:tgtEl>
                                      </p:cBhvr>
                                    </p:animEffect>
                                  </p:childTnLst>
                                </p:cTn>
                              </p:par>
                              <p:par>
                                <p:cTn id="33" presetID="10" presetClass="entr" presetSubtype="0" fill="hold" nodeType="with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500"/>
                                        <p:tgtEl>
                                          <p:spTgt spid="26"/>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8"/>
                                        </p:tgtEl>
                                        <p:attrNameLst>
                                          <p:attrName>style.visibility</p:attrName>
                                        </p:attrNameLst>
                                      </p:cBhvr>
                                      <p:to>
                                        <p:strVal val="visible"/>
                                      </p:to>
                                    </p:set>
                                    <p:animEffect transition="in" filter="fade">
                                      <p:cBhvr>
                                        <p:cTn id="38" dur="500"/>
                                        <p:tgtEl>
                                          <p:spTgt spid="1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100"/>
                                        </p:tgtEl>
                                        <p:attrNameLst>
                                          <p:attrName>style.visibility</p:attrName>
                                        </p:attrNameLst>
                                      </p:cBhvr>
                                      <p:to>
                                        <p:strVal val="visible"/>
                                      </p:to>
                                    </p:set>
                                    <p:animEffect transition="in" filter="fade">
                                      <p:cBhvr>
                                        <p:cTn id="46" dur="500"/>
                                        <p:tgtEl>
                                          <p:spTgt spid="100"/>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39"/>
                                        </p:tgtEl>
                                        <p:attrNameLst>
                                          <p:attrName>style.visibility</p:attrName>
                                        </p:attrNameLst>
                                      </p:cBhvr>
                                      <p:to>
                                        <p:strVal val="visible"/>
                                      </p:to>
                                    </p:set>
                                    <p:animEffect transition="in" filter="fade">
                                      <p:cBhvr>
                                        <p:cTn id="49" dur="500"/>
                                        <p:tgtEl>
                                          <p:spTgt spid="39"/>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89"/>
                                        </p:tgtEl>
                                        <p:attrNameLst>
                                          <p:attrName>style.visibility</p:attrName>
                                        </p:attrNameLst>
                                      </p:cBhvr>
                                      <p:to>
                                        <p:strVal val="visible"/>
                                      </p:to>
                                    </p:set>
                                    <p:animEffect transition="in" filter="fade">
                                      <p:cBhvr>
                                        <p:cTn id="54" dur="500"/>
                                        <p:tgtEl>
                                          <p:spTgt spid="89"/>
                                        </p:tgtEl>
                                      </p:cBhvr>
                                    </p:animEffect>
                                  </p:childTnLst>
                                </p:cTn>
                              </p:par>
                            </p:childTnLst>
                          </p:cTn>
                        </p:par>
                        <p:par>
                          <p:cTn id="55" fill="hold">
                            <p:stCondLst>
                              <p:cond delay="500"/>
                            </p:stCondLst>
                            <p:childTnLst>
                              <p:par>
                                <p:cTn id="56" presetID="10" presetClass="entr" presetSubtype="0" fill="hold" nodeType="afterEffect">
                                  <p:stCondLst>
                                    <p:cond delay="0"/>
                                  </p:stCondLst>
                                  <p:childTnLst>
                                    <p:set>
                                      <p:cBhvr>
                                        <p:cTn id="57" dur="1" fill="hold">
                                          <p:stCondLst>
                                            <p:cond delay="0"/>
                                          </p:stCondLst>
                                        </p:cTn>
                                        <p:tgtEl>
                                          <p:spTgt spid="88"/>
                                        </p:tgtEl>
                                        <p:attrNameLst>
                                          <p:attrName>style.visibility</p:attrName>
                                        </p:attrNameLst>
                                      </p:cBhvr>
                                      <p:to>
                                        <p:strVal val="visible"/>
                                      </p:to>
                                    </p:set>
                                    <p:animEffect transition="in" filter="fade">
                                      <p:cBhvr>
                                        <p:cTn id="58" dur="500"/>
                                        <p:tgtEl>
                                          <p:spTgt spid="88"/>
                                        </p:tgtEl>
                                      </p:cBhvr>
                                    </p:animEffect>
                                  </p:childTnLst>
                                </p:cTn>
                              </p:par>
                            </p:childTnLst>
                          </p:cTn>
                        </p:par>
                        <p:par>
                          <p:cTn id="59" fill="hold">
                            <p:stCondLst>
                              <p:cond delay="1000"/>
                            </p:stCondLst>
                            <p:childTnLst>
                              <p:par>
                                <p:cTn id="60" presetID="10" presetClass="entr" presetSubtype="0" fill="hold" grpId="0" nodeType="afterEffect">
                                  <p:stCondLst>
                                    <p:cond delay="0"/>
                                  </p:stCondLst>
                                  <p:childTnLst>
                                    <p:set>
                                      <p:cBhvr>
                                        <p:cTn id="61" dur="1" fill="hold">
                                          <p:stCondLst>
                                            <p:cond delay="0"/>
                                          </p:stCondLst>
                                        </p:cTn>
                                        <p:tgtEl>
                                          <p:spTgt spid="170"/>
                                        </p:tgtEl>
                                        <p:attrNameLst>
                                          <p:attrName>style.visibility</p:attrName>
                                        </p:attrNameLst>
                                      </p:cBhvr>
                                      <p:to>
                                        <p:strVal val="visible"/>
                                      </p:to>
                                    </p:set>
                                    <p:animEffect transition="in" filter="fade">
                                      <p:cBhvr>
                                        <p:cTn id="62" dur="500"/>
                                        <p:tgtEl>
                                          <p:spTgt spid="1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18" grpId="0"/>
      <p:bldP spid="28" grpId="0"/>
      <p:bldP spid="170"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04800" y="2438400"/>
            <a:ext cx="5181600" cy="1676400"/>
          </a:xfrm>
        </p:spPr>
        <p:txBody>
          <a:bodyPr>
            <a:normAutofit/>
          </a:bodyPr>
          <a:lstStyle/>
          <a:p>
            <a:r>
              <a:rPr lang="en-US" altLang="zh-TW" sz="4000" b="1" dirty="0" smtClean="0">
                <a:latin typeface="+mj-lt"/>
                <a:ea typeface="微軟正黑體" pitchFamily="34" charset="-120"/>
              </a:rPr>
              <a:t>SQL Server </a:t>
            </a:r>
            <a:r>
              <a:rPr lang="en-US" altLang="zh-TW" sz="4000" dirty="0" smtClean="0">
                <a:latin typeface="微軟正黑體" pitchFamily="34" charset="-120"/>
                <a:ea typeface="微軟正黑體" pitchFamily="34" charset="-120"/>
              </a:rPr>
              <a:t/>
            </a:r>
            <a:br>
              <a:rPr lang="en-US" altLang="zh-TW" sz="4000" dirty="0" smtClean="0">
                <a:latin typeface="微軟正黑體" pitchFamily="34" charset="-120"/>
                <a:ea typeface="微軟正黑體" pitchFamily="34" charset="-120"/>
              </a:rPr>
            </a:br>
            <a:r>
              <a:rPr lang="zh-TW" altLang="en-US" sz="4000" dirty="0" smtClean="0">
                <a:latin typeface="微軟正黑體" pitchFamily="34" charset="-120"/>
                <a:ea typeface="微軟正黑體" pitchFamily="34" charset="-120"/>
              </a:rPr>
              <a:t>授權模式</a:t>
            </a:r>
            <a:endParaRPr lang="en-US" sz="4000" dirty="0"/>
          </a:p>
        </p:txBody>
      </p:sp>
    </p:spTree>
    <p:extLst>
      <p:ext uri="{BB962C8B-B14F-4D97-AF65-F5344CB8AC3E}">
        <p14:creationId xmlns:p14="http://schemas.microsoft.com/office/powerpoint/2010/main" val="540857988"/>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p:cNvSpPr/>
          <p:nvPr/>
        </p:nvSpPr>
        <p:spPr bwMode="auto">
          <a:xfrm>
            <a:off x="262815" y="1650525"/>
            <a:ext cx="8645610" cy="2971800"/>
          </a:xfrm>
          <a:prstGeom prst="roundRect">
            <a:avLst/>
          </a:prstGeom>
          <a:solidFill>
            <a:schemeClr val="accent3">
              <a:lumMod val="75000"/>
            </a:schemeClr>
          </a:solidFill>
          <a:ln>
            <a:headEnd type="none" w="med" len="med"/>
            <a:tailEnd type="none" w="med" len="med"/>
          </a:ln>
          <a:effectLst>
            <a:outerShdw blurRad="50800" dist="38100" dir="8100000" algn="tr" rotWithShape="0">
              <a:prstClr val="black">
                <a:alpha val="40000"/>
              </a:prstClr>
            </a:outerShdw>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smtClean="0">
              <a:gradFill>
                <a:gsLst>
                  <a:gs pos="0">
                    <a:schemeClr val="bg1"/>
                  </a:gs>
                  <a:gs pos="100000">
                    <a:schemeClr val="bg1"/>
                  </a:gs>
                </a:gsLst>
                <a:lin ang="13500000" scaled="1"/>
              </a:gradFill>
              <a:effectLst>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endParaRPr>
          </a:p>
        </p:txBody>
      </p:sp>
      <p:graphicFrame>
        <p:nvGraphicFramePr>
          <p:cNvPr id="9" name="Object 8"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pic>
        <p:nvPicPr>
          <p:cNvPr id="52" name="Picture 2" descr="\\MAGNUM\Projects\Microsoft\Cloud Power FY12\Design\Icons\PNGs\Server_2.png"/>
          <p:cNvPicPr>
            <a:picLocks noChangeAspect="1" noChangeArrowheads="1"/>
          </p:cNvPicPr>
          <p:nvPr/>
        </p:nvPicPr>
        <p:blipFill rotWithShape="1">
          <a:blip r:embed="rId8" cstate="print">
            <a:lum bright="100000"/>
            <a:extLst>
              <a:ext uri="{28A0092B-C50C-407E-A947-70E740481C1C}">
                <a14:useLocalDpi xmlns:a14="http://schemas.microsoft.com/office/drawing/2010/main"/>
              </a:ext>
            </a:extLst>
          </a:blip>
          <a:srcRect l="24347" t="7204" r="25653" b="6347"/>
          <a:stretch/>
        </p:blipFill>
        <p:spPr bwMode="auto">
          <a:xfrm>
            <a:off x="397505" y="2378563"/>
            <a:ext cx="1397057" cy="2030774"/>
          </a:xfrm>
          <a:prstGeom prst="rect">
            <a:avLst/>
          </a:prstGeom>
          <a:noFill/>
        </p:spPr>
      </p:pic>
      <p:pic>
        <p:nvPicPr>
          <p:cNvPr id="54" name="Picture 14"/>
          <p:cNvPicPr>
            <a:picLocks noChangeAspect="1" noChangeArrowheads="1"/>
          </p:cNvPicPr>
          <p:nvPr/>
        </p:nvPicPr>
        <p:blipFill>
          <a:blip r:embed="rId9">
            <a:duotone>
              <a:schemeClr val="bg2">
                <a:shade val="45000"/>
                <a:satMod val="135000"/>
              </a:schemeClr>
              <a:prstClr val="white"/>
            </a:duotone>
            <a:extLst>
              <a:ext uri="{BEBA8EAE-BF5A-486C-A8C5-ECC9F3942E4B}">
                <a14:imgProps xmlns:a14="http://schemas.microsoft.com/office/drawing/2010/main">
                  <a14:imgLayer r:embed="rId10">
                    <a14:imgEffect>
                      <a14:colorTemperature colorTemp="8500"/>
                    </a14:imgEffect>
                    <a14:imgEffect>
                      <a14:brightnessContrast bright="-20000" contrast="20000"/>
                    </a14:imgEffect>
                  </a14:imgLayer>
                </a14:imgProps>
              </a:ext>
              <a:ext uri="{28A0092B-C50C-407E-A947-70E740481C1C}">
                <a14:useLocalDpi xmlns:a14="http://schemas.microsoft.com/office/drawing/2010/main" val="0"/>
              </a:ext>
            </a:extLst>
          </a:blip>
          <a:srcRect/>
          <a:stretch>
            <a:fillRect/>
          </a:stretch>
        </p:blipFill>
        <p:spPr bwMode="auto">
          <a:xfrm>
            <a:off x="1538125" y="2165441"/>
            <a:ext cx="1631156" cy="1332045"/>
          </a:xfrm>
          <a:prstGeom prst="rect">
            <a:avLst/>
          </a:prstGeom>
          <a:noFill/>
          <a:ln>
            <a:noFill/>
          </a:ln>
          <a:effectLst>
            <a:glow rad="190500">
              <a:schemeClr val="accent6">
                <a:lumMod val="60000"/>
                <a:lumOff val="40000"/>
                <a:alpha val="80000"/>
              </a:schemeClr>
            </a:glow>
            <a:outerShdw blurRad="63500" sx="102000" sy="102000" algn="ctr" rotWithShape="0">
              <a:srgbClr val="FF0000">
                <a:alpha val="40000"/>
              </a:srgbClr>
            </a:outerShdw>
            <a:softEdge rad="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5" name="Right Arrow 54"/>
          <p:cNvSpPr/>
          <p:nvPr>
            <p:custDataLst>
              <p:tags r:id="rId3"/>
            </p:custDataLst>
          </p:nvPr>
        </p:nvSpPr>
        <p:spPr bwMode="auto">
          <a:xfrm>
            <a:off x="3957205" y="2775364"/>
            <a:ext cx="1256831" cy="722122"/>
          </a:xfrm>
          <a:prstGeom prst="rightArrow">
            <a:avLst>
              <a:gd name="adj1" fmla="val 50000"/>
              <a:gd name="adj2" fmla="val 29086"/>
            </a:avLst>
          </a:prstGeom>
          <a:gradFill flip="none" rotWithShape="1">
            <a:gsLst>
              <a:gs pos="0">
                <a:srgbClr val="FFFF00"/>
              </a:gs>
              <a:gs pos="100000">
                <a:schemeClr val="tx1">
                  <a:alpha val="0"/>
                </a:schemeClr>
              </a:gs>
            </a:gsLst>
            <a:lin ang="10800000" scaled="1"/>
            <a:tileRect/>
          </a:gradFill>
          <a:ln w="9525">
            <a:gradFill flip="none" rotWithShape="1">
              <a:gsLst>
                <a:gs pos="0">
                  <a:schemeClr val="tx1">
                    <a:alpha val="75000"/>
                  </a:schemeClr>
                </a:gs>
                <a:gs pos="50000">
                  <a:schemeClr val="tx1">
                    <a:alpha val="27000"/>
                  </a:schemeClr>
                </a:gs>
                <a:gs pos="100000">
                  <a:schemeClr val="tx1">
                    <a:alpha val="0"/>
                  </a:schemeClr>
                </a:gs>
              </a:gsLst>
              <a:lin ang="10800000" scaled="1"/>
              <a:tileRect/>
            </a:gra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91440" rIns="91440" bIns="91440" numCol="1" rtlCol="0" anchor="ctr" anchorCtr="0" compatLnSpc="1">
            <a:prstTxWarp prst="textNoShape">
              <a:avLst/>
            </a:prstTxWarp>
            <a:noAutofit/>
          </a:bodyPr>
          <a:lstStyle/>
          <a:p>
            <a:pPr defTabSz="914363"/>
            <a:endParaRPr lang="en-US" dirty="0">
              <a:ln>
                <a:solidFill>
                  <a:srgbClr val="FFFFFF">
                    <a:alpha val="0"/>
                  </a:srgbClr>
                </a:solidFill>
              </a:ln>
              <a:solidFill>
                <a:schemeClr val="tx1"/>
              </a:solidFill>
              <a:latin typeface="微軟正黑體" panose="020B0604030504040204" pitchFamily="34" charset="-120"/>
              <a:ea typeface="微軟正黑體" panose="020B0604030504040204" pitchFamily="34" charset="-120"/>
            </a:endParaRPr>
          </a:p>
        </p:txBody>
      </p:sp>
      <p:pic>
        <p:nvPicPr>
          <p:cNvPr id="56" name="Picture 2" descr="\\MAGNUM\Projects\Microsoft\Cloud Power FY12\Design\Icons\PNGs\Server_2.png"/>
          <p:cNvPicPr>
            <a:picLocks noChangeAspect="1" noChangeArrowheads="1"/>
          </p:cNvPicPr>
          <p:nvPr/>
        </p:nvPicPr>
        <p:blipFill rotWithShape="1">
          <a:blip r:embed="rId8" cstate="print">
            <a:lum bright="100000"/>
            <a:extLst>
              <a:ext uri="{28A0092B-C50C-407E-A947-70E740481C1C}">
                <a14:useLocalDpi xmlns:a14="http://schemas.microsoft.com/office/drawing/2010/main"/>
              </a:ext>
            </a:extLst>
          </a:blip>
          <a:srcRect l="24347" t="7204" r="25653" b="6347"/>
          <a:stretch/>
        </p:blipFill>
        <p:spPr bwMode="auto">
          <a:xfrm>
            <a:off x="5731505" y="2378563"/>
            <a:ext cx="1397057" cy="2030774"/>
          </a:xfrm>
          <a:prstGeom prst="rect">
            <a:avLst/>
          </a:prstGeom>
          <a:noFill/>
        </p:spPr>
      </p:pic>
      <p:pic>
        <p:nvPicPr>
          <p:cNvPr id="57" name="Picture 14"/>
          <p:cNvPicPr>
            <a:picLocks noChangeAspect="1" noChangeArrowheads="1"/>
          </p:cNvPicPr>
          <p:nvPr/>
        </p:nvPicPr>
        <p:blipFill>
          <a:blip r:embed="rId11">
            <a:duotone>
              <a:schemeClr val="bg2">
                <a:shade val="45000"/>
                <a:satMod val="135000"/>
              </a:schemeClr>
              <a:prstClr val="white"/>
            </a:duotone>
            <a:extLst>
              <a:ext uri="{BEBA8EAE-BF5A-486C-A8C5-ECC9F3942E4B}">
                <a14:imgProps xmlns:a14="http://schemas.microsoft.com/office/drawing/2010/main">
                  <a14:imgLayer r:embed="rId10">
                    <a14:imgEffect>
                      <a14:brightnessContrast bright="-20000" contrast="20000"/>
                    </a14:imgEffect>
                  </a14:imgLayer>
                </a14:imgProps>
              </a:ext>
              <a:ext uri="{28A0092B-C50C-407E-A947-70E740481C1C}">
                <a14:useLocalDpi xmlns:a14="http://schemas.microsoft.com/office/drawing/2010/main" val="0"/>
              </a:ext>
            </a:extLst>
          </a:blip>
          <a:srcRect/>
          <a:stretch>
            <a:fillRect/>
          </a:stretch>
        </p:blipFill>
        <p:spPr bwMode="auto">
          <a:xfrm>
            <a:off x="6872125" y="2165441"/>
            <a:ext cx="1631156" cy="13320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8" name="Freeform 57"/>
          <p:cNvSpPr/>
          <p:nvPr/>
        </p:nvSpPr>
        <p:spPr bwMode="auto">
          <a:xfrm>
            <a:off x="7629572" y="2719210"/>
            <a:ext cx="355842" cy="270491"/>
          </a:xfrm>
          <a:custGeom>
            <a:avLst/>
            <a:gdLst>
              <a:gd name="connsiteX0" fmla="*/ 0 w 558800"/>
              <a:gd name="connsiteY0" fmla="*/ 203200 h 381000"/>
              <a:gd name="connsiteX1" fmla="*/ 215900 w 558800"/>
              <a:gd name="connsiteY1" fmla="*/ 0 h 381000"/>
              <a:gd name="connsiteX2" fmla="*/ 558800 w 558800"/>
              <a:gd name="connsiteY2" fmla="*/ 152400 h 381000"/>
              <a:gd name="connsiteX3" fmla="*/ 336550 w 558800"/>
              <a:gd name="connsiteY3" fmla="*/ 381000 h 381000"/>
              <a:gd name="connsiteX4" fmla="*/ 0 w 558800"/>
              <a:gd name="connsiteY4" fmla="*/ 203200 h 381000"/>
              <a:gd name="connsiteX0" fmla="*/ 0 w 558800"/>
              <a:gd name="connsiteY0" fmla="*/ 203200 h 327998"/>
              <a:gd name="connsiteX1" fmla="*/ 215900 w 558800"/>
              <a:gd name="connsiteY1" fmla="*/ 0 h 327998"/>
              <a:gd name="connsiteX2" fmla="*/ 558800 w 558800"/>
              <a:gd name="connsiteY2" fmla="*/ 152400 h 327998"/>
              <a:gd name="connsiteX3" fmla="*/ 285278 w 558800"/>
              <a:gd name="connsiteY3" fmla="*/ 327998 h 327998"/>
              <a:gd name="connsiteX4" fmla="*/ 0 w 558800"/>
              <a:gd name="connsiteY4" fmla="*/ 203200 h 327998"/>
              <a:gd name="connsiteX0" fmla="*/ 0 w 436191"/>
              <a:gd name="connsiteY0" fmla="*/ 203200 h 327998"/>
              <a:gd name="connsiteX1" fmla="*/ 215900 w 436191"/>
              <a:gd name="connsiteY1" fmla="*/ 0 h 327998"/>
              <a:gd name="connsiteX2" fmla="*/ 436191 w 436191"/>
              <a:gd name="connsiteY2" fmla="*/ 166227 h 327998"/>
              <a:gd name="connsiteX3" fmla="*/ 285278 w 436191"/>
              <a:gd name="connsiteY3" fmla="*/ 327998 h 327998"/>
              <a:gd name="connsiteX4" fmla="*/ 0 w 436191"/>
              <a:gd name="connsiteY4" fmla="*/ 203200 h 327998"/>
              <a:gd name="connsiteX0" fmla="*/ 0 w 436191"/>
              <a:gd name="connsiteY0" fmla="*/ 198592 h 323390"/>
              <a:gd name="connsiteX1" fmla="*/ 137875 w 436191"/>
              <a:gd name="connsiteY1" fmla="*/ 0 h 323390"/>
              <a:gd name="connsiteX2" fmla="*/ 436191 w 436191"/>
              <a:gd name="connsiteY2" fmla="*/ 161619 h 323390"/>
              <a:gd name="connsiteX3" fmla="*/ 285278 w 436191"/>
              <a:gd name="connsiteY3" fmla="*/ 323390 h 323390"/>
              <a:gd name="connsiteX4" fmla="*/ 0 w 436191"/>
              <a:gd name="connsiteY4" fmla="*/ 198592 h 323390"/>
              <a:gd name="connsiteX0" fmla="*/ 0 w 436191"/>
              <a:gd name="connsiteY0" fmla="*/ 164025 h 288823"/>
              <a:gd name="connsiteX1" fmla="*/ 171313 w 436191"/>
              <a:gd name="connsiteY1" fmla="*/ 0 h 288823"/>
              <a:gd name="connsiteX2" fmla="*/ 436191 w 436191"/>
              <a:gd name="connsiteY2" fmla="*/ 127052 h 288823"/>
              <a:gd name="connsiteX3" fmla="*/ 285278 w 436191"/>
              <a:gd name="connsiteY3" fmla="*/ 288823 h 288823"/>
              <a:gd name="connsiteX4" fmla="*/ 0 w 436191"/>
              <a:gd name="connsiteY4" fmla="*/ 164025 h 2888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191" h="288823">
                <a:moveTo>
                  <a:pt x="0" y="164025"/>
                </a:moveTo>
                <a:lnTo>
                  <a:pt x="171313" y="0"/>
                </a:lnTo>
                <a:lnTo>
                  <a:pt x="436191" y="127052"/>
                </a:lnTo>
                <a:lnTo>
                  <a:pt x="285278" y="288823"/>
                </a:lnTo>
                <a:lnTo>
                  <a:pt x="0" y="164025"/>
                </a:lnTo>
                <a:close/>
              </a:path>
            </a:pathLst>
          </a:custGeom>
          <a:solidFill>
            <a:schemeClr val="tx1">
              <a:lumMod val="85000"/>
              <a:lumOff val="15000"/>
            </a:schemeClr>
          </a:solidFill>
          <a:ln w="9525">
            <a:solidFill>
              <a:schemeClr val="accent6">
                <a:lumMod val="60000"/>
                <a:lumOff val="40000"/>
              </a:schemeClr>
            </a:solidFill>
            <a:headEnd type="none" w="med" len="med"/>
            <a:tailEnd type="none" w="med" len="med"/>
          </a:ln>
          <a:effectLst>
            <a:glow rad="190500">
              <a:schemeClr val="accent6">
                <a:lumMod val="60000"/>
                <a:lumOff val="40000"/>
                <a:alpha val="98000"/>
              </a:schemeClr>
            </a:glow>
            <a:outerShdw blurRad="63500" sx="102000" sy="102000" algn="ctr" rotWithShape="0">
              <a:srgbClr val="FF0000">
                <a:alpha val="40000"/>
              </a:srgbClr>
            </a:outerShdw>
          </a:effectLst>
          <a:scene3d>
            <a:camera prst="orthographicFront"/>
            <a:lightRig rig="threePt" dir="t"/>
          </a:scene3d>
          <a:sp3d>
            <a:bevelT w="63500" h="31750"/>
          </a:sp3d>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solidFill>
                <a:schemeClr val="tx1"/>
              </a:solidFill>
              <a:latin typeface="微軟正黑體" panose="020B0604030504040204" pitchFamily="34" charset="-120"/>
              <a:ea typeface="微軟正黑體" panose="020B0604030504040204" pitchFamily="34" charset="-120"/>
            </a:endParaRPr>
          </a:p>
        </p:txBody>
      </p:sp>
      <p:sp>
        <p:nvSpPr>
          <p:cNvPr id="4" name="TextBox 3"/>
          <p:cNvSpPr txBox="1"/>
          <p:nvPr/>
        </p:nvSpPr>
        <p:spPr>
          <a:xfrm>
            <a:off x="1756144" y="3861977"/>
            <a:ext cx="2100748" cy="615553"/>
          </a:xfrm>
          <a:prstGeom prst="rect">
            <a:avLst/>
          </a:prstGeom>
          <a:noFill/>
        </p:spPr>
        <p:txBody>
          <a:bodyPr wrap="square" lIns="0" tIns="0" rIns="0" bIns="0" rtlCol="0">
            <a:spAutoFit/>
          </a:bodyPr>
          <a:lstStyle/>
          <a:p>
            <a:pPr defTabSz="914363"/>
            <a:r>
              <a:rPr lang="en-US" sz="2000" b="1" dirty="0" smtClean="0">
                <a:latin typeface="微軟正黑體" panose="020B0604030504040204" pitchFamily="34" charset="-120"/>
                <a:ea typeface="微軟正黑體" panose="020B0604030504040204" pitchFamily="34" charset="-120"/>
              </a:rPr>
              <a:t>SQL 2008 R2: </a:t>
            </a:r>
            <a:r>
              <a:rPr lang="en-US" sz="2000" dirty="0" smtClean="0">
                <a:latin typeface="微軟正黑體" panose="020B0604030504040204" pitchFamily="34" charset="-120"/>
                <a:ea typeface="微軟正黑體" panose="020B0604030504040204" pitchFamily="34" charset="-120"/>
              </a:rPr>
              <a:t>Processor</a:t>
            </a:r>
            <a:r>
              <a:rPr lang="zh-TW" altLang="en-US" sz="2000" dirty="0" smtClean="0">
                <a:latin typeface="微軟正黑體" panose="020B0604030504040204" pitchFamily="34" charset="-120"/>
                <a:ea typeface="微軟正黑體" panose="020B0604030504040204" pitchFamily="34" charset="-120"/>
              </a:rPr>
              <a:t>授權</a:t>
            </a:r>
            <a:endParaRPr lang="en-US" sz="2000" dirty="0" smtClean="0">
              <a:latin typeface="微軟正黑體" panose="020B0604030504040204" pitchFamily="34" charset="-120"/>
              <a:ea typeface="微軟正黑體" panose="020B0604030504040204" pitchFamily="34" charset="-120"/>
            </a:endParaRPr>
          </a:p>
        </p:txBody>
      </p:sp>
      <p:sp>
        <p:nvSpPr>
          <p:cNvPr id="59" name="TextBox 58"/>
          <p:cNvSpPr txBox="1"/>
          <p:nvPr/>
        </p:nvSpPr>
        <p:spPr>
          <a:xfrm>
            <a:off x="7128588" y="3689038"/>
            <a:ext cx="1683729" cy="923330"/>
          </a:xfrm>
          <a:prstGeom prst="rect">
            <a:avLst/>
          </a:prstGeom>
          <a:noFill/>
        </p:spPr>
        <p:txBody>
          <a:bodyPr wrap="square" lIns="0" tIns="0" rIns="0" bIns="0" rtlCol="0">
            <a:spAutoFit/>
          </a:bodyPr>
          <a:lstStyle/>
          <a:p>
            <a:pPr defTabSz="914363"/>
            <a:r>
              <a:rPr lang="en-US" altLang="zh-TW" sz="2000" b="1" dirty="0" smtClean="0">
                <a:latin typeface="微軟正黑體" panose="020B0604030504040204" pitchFamily="34" charset="-120"/>
                <a:ea typeface="微軟正黑體" panose="020B0604030504040204" pitchFamily="34" charset="-120"/>
              </a:rPr>
              <a:t>SQL</a:t>
            </a:r>
            <a:r>
              <a:rPr lang="zh-TW" altLang="en-US" sz="2000" b="1" dirty="0" smtClean="0">
                <a:latin typeface="微軟正黑體" panose="020B0604030504040204" pitchFamily="34" charset="-120"/>
                <a:ea typeface="微軟正黑體" panose="020B0604030504040204" pitchFamily="34" charset="-120"/>
              </a:rPr>
              <a:t> </a:t>
            </a:r>
            <a:r>
              <a:rPr lang="en-US" altLang="zh-TW" sz="2000" b="1" dirty="0" smtClean="0">
                <a:latin typeface="微軟正黑體" panose="020B0604030504040204" pitchFamily="34" charset="-120"/>
                <a:ea typeface="微軟正黑體" panose="020B0604030504040204" pitchFamily="34" charset="-120"/>
              </a:rPr>
              <a:t>2012/2014</a:t>
            </a:r>
            <a:r>
              <a:rPr lang="en-US" altLang="zh-TW" sz="2000" dirty="0" smtClean="0">
                <a:latin typeface="微軟正黑體" panose="020B0604030504040204" pitchFamily="34" charset="-120"/>
                <a:ea typeface="微軟正黑體" panose="020B0604030504040204" pitchFamily="34" charset="-120"/>
              </a:rPr>
              <a:t>:</a:t>
            </a:r>
          </a:p>
          <a:p>
            <a:pPr defTabSz="914363"/>
            <a:r>
              <a:rPr lang="en-US" sz="2000" dirty="0" smtClean="0">
                <a:latin typeface="微軟正黑體" panose="020B0604030504040204" pitchFamily="34" charset="-120"/>
                <a:ea typeface="微軟正黑體" panose="020B0604030504040204" pitchFamily="34" charset="-120"/>
              </a:rPr>
              <a:t>Core</a:t>
            </a:r>
            <a:r>
              <a:rPr lang="zh-TW" altLang="en-US" sz="2000" dirty="0" smtClean="0">
                <a:latin typeface="微軟正黑體" panose="020B0604030504040204" pitchFamily="34" charset="-120"/>
                <a:ea typeface="微軟正黑體" panose="020B0604030504040204" pitchFamily="34" charset="-120"/>
              </a:rPr>
              <a:t>授權</a:t>
            </a:r>
            <a:endParaRPr lang="en-US" sz="2000" dirty="0" smtClean="0">
              <a:latin typeface="微軟正黑體" panose="020B0604030504040204" pitchFamily="34" charset="-120"/>
              <a:ea typeface="微軟正黑體" panose="020B0604030504040204" pitchFamily="34" charset="-120"/>
            </a:endParaRPr>
          </a:p>
        </p:txBody>
      </p:sp>
      <p:sp>
        <p:nvSpPr>
          <p:cNvPr id="8" name="TextBox 7"/>
          <p:cNvSpPr txBox="1"/>
          <p:nvPr/>
        </p:nvSpPr>
        <p:spPr>
          <a:xfrm>
            <a:off x="556847" y="5018162"/>
            <a:ext cx="3500005" cy="1338828"/>
          </a:xfrm>
          <a:prstGeom prst="rect">
            <a:avLst/>
          </a:prstGeom>
          <a:noFill/>
        </p:spPr>
        <p:txBody>
          <a:bodyPr wrap="square" lIns="0" tIns="0" rIns="0" bIns="0" rtlCol="0">
            <a:spAutoFit/>
          </a:bodyPr>
          <a:lstStyle/>
          <a:p>
            <a:pPr marL="0" lvl="2">
              <a:spcBef>
                <a:spcPts val="600"/>
              </a:spcBef>
              <a:buClr>
                <a:srgbClr val="FFFFFF"/>
              </a:buClr>
              <a:buSzPct val="100000"/>
            </a:pPr>
            <a:r>
              <a:rPr lang="zh-TW" altLang="en-US" sz="1800" dirty="0" smtClean="0">
                <a:ln>
                  <a:solidFill>
                    <a:srgbClr val="FFFFFF">
                      <a:alpha val="0"/>
                    </a:srgbClr>
                  </a:solidFill>
                </a:ln>
                <a:latin typeface="微軟正黑體" panose="020B0604030504040204" pitchFamily="34" charset="-120"/>
                <a:ea typeface="微軟正黑體" panose="020B0604030504040204" pitchFamily="34" charset="-120"/>
              </a:rPr>
              <a:t>計算實體核心：</a:t>
            </a:r>
            <a:endParaRPr lang="en-US" altLang="zh-TW" sz="1800" dirty="0" smtClean="0">
              <a:ln>
                <a:solidFill>
                  <a:srgbClr val="FFFFFF">
                    <a:alpha val="0"/>
                  </a:srgbClr>
                </a:solidFill>
              </a:ln>
              <a:latin typeface="微軟正黑體" panose="020B0604030504040204" pitchFamily="34" charset="-120"/>
              <a:ea typeface="微軟正黑體" panose="020B0604030504040204" pitchFamily="34" charset="-120"/>
            </a:endParaRPr>
          </a:p>
          <a:p>
            <a:pPr marL="288925" lvl="2" indent="-288925">
              <a:spcBef>
                <a:spcPts val="600"/>
              </a:spcBef>
              <a:buClr>
                <a:srgbClr val="FFFFFF"/>
              </a:buClr>
              <a:buSzPct val="100000"/>
              <a:buBlip>
                <a:blip r:embed="rId12"/>
              </a:buBlip>
            </a:pPr>
            <a:r>
              <a:rPr lang="zh-TW" altLang="en-US" sz="1800" dirty="0" smtClean="0">
                <a:ln>
                  <a:solidFill>
                    <a:srgbClr val="FFFFFF">
                      <a:alpha val="0"/>
                    </a:srgbClr>
                  </a:solidFill>
                </a:ln>
                <a:latin typeface="微軟正黑體" panose="020B0604030504040204" pitchFamily="34" charset="-120"/>
                <a:ea typeface="微軟正黑體" panose="020B0604030504040204" pitchFamily="34" charset="-120"/>
              </a:rPr>
              <a:t>授權</a:t>
            </a:r>
            <a:r>
              <a:rPr lang="zh-TW" altLang="en-US" sz="1800" dirty="0">
                <a:ln>
                  <a:solidFill>
                    <a:srgbClr val="FFFFFF">
                      <a:alpha val="0"/>
                    </a:srgbClr>
                  </a:solidFill>
                </a:ln>
                <a:latin typeface="微軟正黑體" panose="020B0604030504040204" pitchFamily="34" charset="-120"/>
                <a:ea typeface="微軟正黑體" panose="020B0604030504040204" pitchFamily="34" charset="-120"/>
              </a:rPr>
              <a:t>伺服器上的所有</a:t>
            </a:r>
            <a:r>
              <a:rPr lang="zh-TW" altLang="en-US" sz="1800" dirty="0" smtClean="0">
                <a:ln>
                  <a:solidFill>
                    <a:srgbClr val="FFFFFF">
                      <a:alpha val="0"/>
                    </a:srgbClr>
                  </a:solidFill>
                </a:ln>
                <a:latin typeface="微軟正黑體" panose="020B0604030504040204" pitchFamily="34" charset="-120"/>
                <a:ea typeface="微軟正黑體" panose="020B0604030504040204" pitchFamily="34" charset="-120"/>
              </a:rPr>
              <a:t>實體核心</a:t>
            </a:r>
            <a:endParaRPr lang="en-US" altLang="zh-TW" sz="1800" dirty="0">
              <a:ln>
                <a:solidFill>
                  <a:srgbClr val="FFFFFF">
                    <a:alpha val="0"/>
                  </a:srgbClr>
                </a:solidFill>
              </a:ln>
              <a:latin typeface="微軟正黑體" panose="020B0604030504040204" pitchFamily="34" charset="-120"/>
              <a:ea typeface="微軟正黑體" panose="020B0604030504040204" pitchFamily="34" charset="-120"/>
            </a:endParaRPr>
          </a:p>
          <a:p>
            <a:pPr marL="288925" lvl="2" indent="-288925">
              <a:spcBef>
                <a:spcPts val="600"/>
              </a:spcBef>
              <a:buClr>
                <a:srgbClr val="FFFFFF"/>
              </a:buClr>
              <a:buSzPct val="100000"/>
              <a:buBlip>
                <a:blip r:embed="rId12"/>
              </a:buBlip>
            </a:pPr>
            <a:r>
              <a:rPr lang="zh-TW" altLang="en-US" sz="1800" dirty="0">
                <a:ln>
                  <a:solidFill>
                    <a:srgbClr val="FFFFFF">
                      <a:alpha val="0"/>
                    </a:srgbClr>
                  </a:solidFill>
                </a:ln>
                <a:latin typeface="微軟正黑體" panose="020B0604030504040204" pitchFamily="34" charset="-120"/>
                <a:ea typeface="微軟正黑體" panose="020B0604030504040204" pitchFamily="34" charset="-120"/>
              </a:rPr>
              <a:t>計算 </a:t>
            </a:r>
            <a:r>
              <a:rPr lang="en-US" altLang="zh-TW" sz="1800" dirty="0">
                <a:ln>
                  <a:solidFill>
                    <a:srgbClr val="FFFFFF">
                      <a:alpha val="0"/>
                    </a:srgbClr>
                  </a:solidFill>
                </a:ln>
                <a:latin typeface="微軟正黑體" panose="020B0604030504040204" pitchFamily="34" charset="-120"/>
                <a:ea typeface="微軟正黑體" panose="020B0604030504040204" pitchFamily="34" charset="-120"/>
              </a:rPr>
              <a:t>Core Factor</a:t>
            </a:r>
          </a:p>
          <a:p>
            <a:pPr marL="288925" lvl="2" indent="-288925">
              <a:spcBef>
                <a:spcPts val="600"/>
              </a:spcBef>
              <a:buClr>
                <a:srgbClr val="FFFFFF"/>
              </a:buClr>
              <a:buSzPct val="100000"/>
              <a:buBlip>
                <a:blip r:embed="rId12"/>
              </a:buBlip>
            </a:pPr>
            <a:r>
              <a:rPr lang="zh-TW" altLang="en-US" sz="1800" dirty="0">
                <a:ln>
                  <a:solidFill>
                    <a:srgbClr val="FFFFFF">
                      <a:alpha val="0"/>
                    </a:srgbClr>
                  </a:solidFill>
                </a:ln>
                <a:latin typeface="微軟正黑體" panose="020B0604030504040204" pitchFamily="34" charset="-120"/>
                <a:ea typeface="微軟正黑體" panose="020B0604030504040204" pitchFamily="34" charset="-120"/>
              </a:rPr>
              <a:t>每個 </a:t>
            </a:r>
            <a:r>
              <a:rPr lang="en-US" altLang="zh-TW" sz="1800" dirty="0">
                <a:ln>
                  <a:solidFill>
                    <a:srgbClr val="FFFFFF">
                      <a:alpha val="0"/>
                    </a:srgbClr>
                  </a:solidFill>
                </a:ln>
                <a:latin typeface="微軟正黑體" panose="020B0604030504040204" pitchFamily="34" charset="-120"/>
                <a:ea typeface="微軟正黑體" panose="020B0604030504040204" pitchFamily="34" charset="-120"/>
              </a:rPr>
              <a:t>CPU </a:t>
            </a:r>
            <a:r>
              <a:rPr lang="zh-TW" altLang="en-US" sz="1800" dirty="0">
                <a:ln>
                  <a:solidFill>
                    <a:srgbClr val="FFFFFF">
                      <a:alpha val="0"/>
                    </a:srgbClr>
                  </a:solidFill>
                </a:ln>
                <a:latin typeface="微軟正黑體" panose="020B0604030504040204" pitchFamily="34" charset="-120"/>
                <a:ea typeface="微軟正黑體" panose="020B0604030504040204" pitchFamily="34" charset="-120"/>
              </a:rPr>
              <a:t>至少四個核心</a:t>
            </a:r>
            <a:endParaRPr lang="en-US" altLang="zh-TW" sz="1800" dirty="0">
              <a:ln>
                <a:solidFill>
                  <a:srgbClr val="FFFFFF">
                    <a:alpha val="0"/>
                  </a:srgbClr>
                </a:solidFill>
              </a:ln>
              <a:latin typeface="微軟正黑體" panose="020B0604030504040204" pitchFamily="34" charset="-120"/>
              <a:ea typeface="微軟正黑體" panose="020B0604030504040204" pitchFamily="34" charset="-120"/>
            </a:endParaRPr>
          </a:p>
        </p:txBody>
      </p:sp>
      <p:sp>
        <p:nvSpPr>
          <p:cNvPr id="10" name="Title 9"/>
          <p:cNvSpPr>
            <a:spLocks noGrp="1"/>
          </p:cNvSpPr>
          <p:nvPr>
            <p:ph type="title"/>
          </p:nvPr>
        </p:nvSpPr>
        <p:spPr/>
        <p:txBody>
          <a:bodyPr/>
          <a:lstStyle/>
          <a:p>
            <a:r>
              <a:rPr lang="en-US" smtClean="0">
                <a:latin typeface="微軟正黑體" panose="020B0604030504040204" pitchFamily="34" charset="-120"/>
                <a:ea typeface="微軟正黑體" panose="020B0604030504040204" pitchFamily="34" charset="-120"/>
              </a:rPr>
              <a:t>Core </a:t>
            </a:r>
            <a:r>
              <a:rPr lang="zh-TW" altLang="en-US" smtClean="0">
                <a:latin typeface="微軟正黑體" panose="020B0604030504040204" pitchFamily="34" charset="-120"/>
                <a:ea typeface="微軟正黑體" panose="020B0604030504040204" pitchFamily="34" charset="-120"/>
              </a:rPr>
              <a:t>授權模式</a:t>
            </a:r>
            <a:endParaRPr lang="en-US" dirty="0">
              <a:latin typeface="微軟正黑體" panose="020B0604030504040204" pitchFamily="34" charset="-120"/>
              <a:ea typeface="微軟正黑體" panose="020B0604030504040204" pitchFamily="34" charset="-120"/>
            </a:endParaRPr>
          </a:p>
        </p:txBody>
      </p:sp>
      <p:sp>
        <p:nvSpPr>
          <p:cNvPr id="15" name="TextBox 14"/>
          <p:cNvSpPr txBox="1"/>
          <p:nvPr/>
        </p:nvSpPr>
        <p:spPr>
          <a:xfrm>
            <a:off x="5643995" y="5029200"/>
            <a:ext cx="3500005" cy="984885"/>
          </a:xfrm>
          <a:prstGeom prst="rect">
            <a:avLst/>
          </a:prstGeom>
          <a:noFill/>
        </p:spPr>
        <p:txBody>
          <a:bodyPr wrap="square" lIns="0" tIns="0" rIns="0" bIns="0" rtlCol="0">
            <a:spAutoFit/>
          </a:bodyPr>
          <a:lstStyle/>
          <a:p>
            <a:pPr marL="0" lvl="2">
              <a:spcBef>
                <a:spcPts val="600"/>
              </a:spcBef>
              <a:buClr>
                <a:srgbClr val="FFFFFF"/>
              </a:buClr>
              <a:buSzPct val="100000"/>
            </a:pPr>
            <a:r>
              <a:rPr lang="zh-TW" altLang="en-US" sz="1800" dirty="0" smtClean="0">
                <a:ln>
                  <a:solidFill>
                    <a:srgbClr val="FFFFFF">
                      <a:alpha val="0"/>
                    </a:srgbClr>
                  </a:solidFill>
                </a:ln>
                <a:latin typeface="微軟正黑體" panose="020B0604030504040204" pitchFamily="34" charset="-120"/>
                <a:ea typeface="微軟正黑體" panose="020B0604030504040204" pitchFamily="34" charset="-120"/>
              </a:rPr>
              <a:t>計算虛擬核心：</a:t>
            </a:r>
            <a:endParaRPr lang="en-US" altLang="zh-TW" sz="1800" dirty="0" smtClean="0">
              <a:ln>
                <a:solidFill>
                  <a:srgbClr val="FFFFFF">
                    <a:alpha val="0"/>
                  </a:srgbClr>
                </a:solidFill>
              </a:ln>
              <a:latin typeface="微軟正黑體" panose="020B0604030504040204" pitchFamily="34" charset="-120"/>
              <a:ea typeface="微軟正黑體" panose="020B0604030504040204" pitchFamily="34" charset="-120"/>
            </a:endParaRPr>
          </a:p>
          <a:p>
            <a:pPr marL="288925" lvl="2" indent="-288925">
              <a:spcBef>
                <a:spcPts val="600"/>
              </a:spcBef>
              <a:buClr>
                <a:srgbClr val="FFFFFF"/>
              </a:buClr>
              <a:buSzPct val="100000"/>
              <a:buBlip>
                <a:blip r:embed="rId12"/>
              </a:buBlip>
            </a:pPr>
            <a:r>
              <a:rPr lang="zh-TW" altLang="en-US" sz="1800" dirty="0" smtClean="0">
                <a:ln>
                  <a:solidFill>
                    <a:srgbClr val="FFFFFF">
                      <a:alpha val="0"/>
                    </a:srgbClr>
                  </a:solidFill>
                </a:ln>
                <a:latin typeface="微軟正黑體" panose="020B0604030504040204" pitchFamily="34" charset="-120"/>
                <a:ea typeface="微軟正黑體" panose="020B0604030504040204" pitchFamily="34" charset="-120"/>
              </a:rPr>
              <a:t>授權 </a:t>
            </a:r>
            <a:r>
              <a:rPr lang="en-US" altLang="zh-TW" sz="1800" dirty="0" smtClean="0">
                <a:ln>
                  <a:solidFill>
                    <a:srgbClr val="FFFFFF">
                      <a:alpha val="0"/>
                    </a:srgbClr>
                  </a:solidFill>
                </a:ln>
                <a:latin typeface="微軟正黑體" panose="020B0604030504040204" pitchFamily="34" charset="-120"/>
                <a:ea typeface="微軟正黑體" panose="020B0604030504040204" pitchFamily="34" charset="-120"/>
              </a:rPr>
              <a:t>VM </a:t>
            </a:r>
            <a:r>
              <a:rPr lang="zh-TW" altLang="en-US" sz="1800" dirty="0" smtClean="0">
                <a:ln>
                  <a:solidFill>
                    <a:srgbClr val="FFFFFF">
                      <a:alpha val="0"/>
                    </a:srgbClr>
                  </a:solidFill>
                </a:ln>
                <a:latin typeface="微軟正黑體" panose="020B0604030504040204" pitchFamily="34" charset="-120"/>
                <a:ea typeface="微軟正黑體" panose="020B0604030504040204" pitchFamily="34" charset="-120"/>
              </a:rPr>
              <a:t>上</a:t>
            </a:r>
            <a:r>
              <a:rPr lang="zh-TW" altLang="en-US" sz="1800" dirty="0">
                <a:ln>
                  <a:solidFill>
                    <a:srgbClr val="FFFFFF">
                      <a:alpha val="0"/>
                    </a:srgbClr>
                  </a:solidFill>
                </a:ln>
                <a:latin typeface="微軟正黑體" panose="020B0604030504040204" pitchFamily="34" charset="-120"/>
                <a:ea typeface="微軟正黑體" panose="020B0604030504040204" pitchFamily="34" charset="-120"/>
              </a:rPr>
              <a:t>的</a:t>
            </a:r>
            <a:r>
              <a:rPr lang="zh-TW" altLang="en-US" sz="1800" dirty="0" smtClean="0">
                <a:ln>
                  <a:solidFill>
                    <a:srgbClr val="FFFFFF">
                      <a:alpha val="0"/>
                    </a:srgbClr>
                  </a:solidFill>
                </a:ln>
                <a:latin typeface="微軟正黑體" panose="020B0604030504040204" pitchFamily="34" charset="-120"/>
                <a:ea typeface="微軟正黑體" panose="020B0604030504040204" pitchFamily="34" charset="-120"/>
              </a:rPr>
              <a:t>所有</a:t>
            </a:r>
            <a:r>
              <a:rPr lang="zh-TW" altLang="en-US" sz="1800" dirty="0">
                <a:ln>
                  <a:solidFill>
                    <a:srgbClr val="FFFFFF">
                      <a:alpha val="0"/>
                    </a:srgbClr>
                  </a:solidFill>
                </a:ln>
                <a:latin typeface="微軟正黑體" panose="020B0604030504040204" pitchFamily="34" charset="-120"/>
                <a:ea typeface="微軟正黑體" panose="020B0604030504040204" pitchFamily="34" charset="-120"/>
              </a:rPr>
              <a:t>虛擬</a:t>
            </a:r>
            <a:r>
              <a:rPr lang="zh-TW" altLang="en-US" sz="1800" dirty="0" smtClean="0">
                <a:ln>
                  <a:solidFill>
                    <a:srgbClr val="FFFFFF">
                      <a:alpha val="0"/>
                    </a:srgbClr>
                  </a:solidFill>
                </a:ln>
                <a:latin typeface="微軟正黑體" panose="020B0604030504040204" pitchFamily="34" charset="-120"/>
                <a:ea typeface="微軟正黑體" panose="020B0604030504040204" pitchFamily="34" charset="-120"/>
              </a:rPr>
              <a:t>核心</a:t>
            </a:r>
            <a:endParaRPr lang="en-US" altLang="zh-TW" sz="1800" dirty="0">
              <a:ln>
                <a:solidFill>
                  <a:srgbClr val="FFFFFF">
                    <a:alpha val="0"/>
                  </a:srgbClr>
                </a:solidFill>
              </a:ln>
              <a:latin typeface="微軟正黑體" panose="020B0604030504040204" pitchFamily="34" charset="-120"/>
              <a:ea typeface="微軟正黑體" panose="020B0604030504040204" pitchFamily="34" charset="-120"/>
            </a:endParaRPr>
          </a:p>
          <a:p>
            <a:pPr marL="288925" lvl="2" indent="-288925">
              <a:spcBef>
                <a:spcPts val="600"/>
              </a:spcBef>
              <a:buClr>
                <a:srgbClr val="FFFFFF"/>
              </a:buClr>
              <a:buSzPct val="100000"/>
              <a:buBlip>
                <a:blip r:embed="rId12"/>
              </a:buBlip>
            </a:pPr>
            <a:r>
              <a:rPr lang="zh-TW" altLang="en-US" sz="1800" dirty="0" smtClean="0">
                <a:ln>
                  <a:solidFill>
                    <a:srgbClr val="FFFFFF">
                      <a:alpha val="0"/>
                    </a:srgbClr>
                  </a:solidFill>
                </a:ln>
                <a:latin typeface="微軟正黑體" panose="020B0604030504040204" pitchFamily="34" charset="-120"/>
                <a:ea typeface="微軟正黑體" panose="020B0604030504040204" pitchFamily="34" charset="-120"/>
              </a:rPr>
              <a:t>每</a:t>
            </a:r>
            <a:r>
              <a:rPr lang="zh-TW" altLang="en-US" sz="1800" dirty="0">
                <a:ln>
                  <a:solidFill>
                    <a:srgbClr val="FFFFFF">
                      <a:alpha val="0"/>
                    </a:srgbClr>
                  </a:solidFill>
                </a:ln>
                <a:latin typeface="微軟正黑體" panose="020B0604030504040204" pitchFamily="34" charset="-120"/>
                <a:ea typeface="微軟正黑體" panose="020B0604030504040204" pitchFamily="34" charset="-120"/>
              </a:rPr>
              <a:t>個 </a:t>
            </a:r>
            <a:r>
              <a:rPr lang="en-US" altLang="zh-TW" sz="1800" dirty="0" smtClean="0">
                <a:ln>
                  <a:solidFill>
                    <a:srgbClr val="FFFFFF">
                      <a:alpha val="0"/>
                    </a:srgbClr>
                  </a:solidFill>
                </a:ln>
                <a:latin typeface="微軟正黑體" panose="020B0604030504040204" pitchFamily="34" charset="-120"/>
                <a:ea typeface="微軟正黑體" panose="020B0604030504040204" pitchFamily="34" charset="-120"/>
              </a:rPr>
              <a:t>VM </a:t>
            </a:r>
            <a:r>
              <a:rPr lang="zh-TW" altLang="en-US" sz="1800" dirty="0" smtClean="0">
                <a:ln>
                  <a:solidFill>
                    <a:srgbClr val="FFFFFF">
                      <a:alpha val="0"/>
                    </a:srgbClr>
                  </a:solidFill>
                </a:ln>
                <a:latin typeface="微軟正黑體" panose="020B0604030504040204" pitchFamily="34" charset="-120"/>
                <a:ea typeface="微軟正黑體" panose="020B0604030504040204" pitchFamily="34" charset="-120"/>
              </a:rPr>
              <a:t>至少需要四</a:t>
            </a:r>
            <a:r>
              <a:rPr lang="zh-TW" altLang="en-US" sz="1800" dirty="0">
                <a:ln>
                  <a:solidFill>
                    <a:srgbClr val="FFFFFF">
                      <a:alpha val="0"/>
                    </a:srgbClr>
                  </a:solidFill>
                </a:ln>
                <a:latin typeface="微軟正黑體" panose="020B0604030504040204" pitchFamily="34" charset="-120"/>
                <a:ea typeface="微軟正黑體" panose="020B0604030504040204" pitchFamily="34" charset="-120"/>
              </a:rPr>
              <a:t>個核心</a:t>
            </a:r>
            <a:endParaRPr lang="en-US" altLang="zh-TW" sz="1800" dirty="0">
              <a:ln>
                <a:solidFill>
                  <a:srgbClr val="FFFFFF">
                    <a:alpha val="0"/>
                  </a:srgbClr>
                </a:solidFill>
              </a:ln>
              <a:latin typeface="微軟正黑體" panose="020B0604030504040204" pitchFamily="34" charset="-120"/>
              <a:ea typeface="微軟正黑體" panose="020B0604030504040204" pitchFamily="34" charset="-120"/>
            </a:endParaRPr>
          </a:p>
        </p:txBody>
      </p:sp>
      <p:sp>
        <p:nvSpPr>
          <p:cNvPr id="16" name="AutoShape 8"/>
          <p:cNvSpPr>
            <a:spLocks noChangeArrowheads="1"/>
          </p:cNvSpPr>
          <p:nvPr/>
        </p:nvSpPr>
        <p:spPr bwMode="auto">
          <a:xfrm>
            <a:off x="3962400" y="5255002"/>
            <a:ext cx="1295400" cy="666750"/>
          </a:xfrm>
          <a:prstGeom prst="leftRightArrow">
            <a:avLst>
              <a:gd name="adj1" fmla="val 50000"/>
              <a:gd name="adj2" fmla="val 45116"/>
            </a:avLst>
          </a:prstGeom>
          <a:solidFill>
            <a:schemeClr val="accent6">
              <a:lumMod val="60000"/>
              <a:lumOff val="40000"/>
            </a:schemeClr>
          </a:solidFill>
          <a:ln w="25400" algn="ctr">
            <a:solidFill>
              <a:schemeClr val="bg1"/>
            </a:solidFill>
            <a:miter lim="800000"/>
            <a:headEnd/>
            <a:tailEnd/>
          </a:ln>
        </p:spPr>
        <p:txBody>
          <a:bodyPr wrap="none" anchor="ctr"/>
          <a:lstStyle/>
          <a:p>
            <a:pPr algn="ctr"/>
            <a:r>
              <a:rPr kumimoji="0" lang="zh-TW" altLang="en-US" sz="2400" b="1" dirty="0">
                <a:latin typeface="微軟正黑體" panose="020B0604030504040204" pitchFamily="34" charset="-120"/>
                <a:ea typeface="微軟正黑體" panose="020B0604030504040204" pitchFamily="34" charset="-120"/>
              </a:rPr>
              <a:t>或</a:t>
            </a:r>
          </a:p>
        </p:txBody>
      </p:sp>
    </p:spTree>
    <p:extLst>
      <p:ext uri="{BB962C8B-B14F-4D97-AF65-F5344CB8AC3E}">
        <p14:creationId xmlns:p14="http://schemas.microsoft.com/office/powerpoint/2010/main" val="41642336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5" grpId="0"/>
      <p:bldP spid="16"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13"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3"/>
          <p:cNvSpPr>
            <a:spLocks noGrp="1"/>
          </p:cNvSpPr>
          <p:nvPr>
            <p:ph type="title"/>
            <p:custDataLst>
              <p:tags r:id="rId3"/>
            </p:custDataLst>
          </p:nvPr>
        </p:nvSpPr>
        <p:spPr>
          <a:xfrm>
            <a:off x="277813" y="228600"/>
            <a:ext cx="8596312" cy="803297"/>
          </a:xfrm>
        </p:spPr>
        <p:txBody>
          <a:bodyPr>
            <a:normAutofit/>
          </a:bodyPr>
          <a:lstStyle/>
          <a:p>
            <a:r>
              <a:rPr lang="en-US" dirty="0">
                <a:gradFill flip="none" rotWithShape="1">
                  <a:gsLst>
                    <a:gs pos="0">
                      <a:srgbClr val="FFFFFF"/>
                    </a:gs>
                    <a:gs pos="86000">
                      <a:srgbClr val="FFFFFF"/>
                    </a:gs>
                  </a:gsLst>
                  <a:lin ang="5400000" scaled="0"/>
                  <a:tileRect/>
                </a:gradFill>
                <a:latin typeface="微軟正黑體" pitchFamily="34" charset="-120"/>
                <a:ea typeface="微軟正黑體" pitchFamily="34" charset="-120"/>
              </a:rPr>
              <a:t>SQL Server </a:t>
            </a:r>
            <a:r>
              <a:rPr lang="en-US" dirty="0" smtClean="0">
                <a:gradFill flip="none" rotWithShape="1">
                  <a:gsLst>
                    <a:gs pos="0">
                      <a:srgbClr val="FFFFFF"/>
                    </a:gs>
                    <a:gs pos="86000">
                      <a:srgbClr val="FFFFFF"/>
                    </a:gs>
                  </a:gsLst>
                  <a:lin ang="5400000" scaled="0"/>
                  <a:tileRect/>
                </a:gradFill>
                <a:latin typeface="微軟正黑體" pitchFamily="34" charset="-120"/>
                <a:ea typeface="微軟正黑體" pitchFamily="34" charset="-120"/>
              </a:rPr>
              <a:t>201</a:t>
            </a:r>
            <a:r>
              <a:rPr lang="en-US" altLang="zh-TW" dirty="0" smtClean="0">
                <a:gradFill flip="none" rotWithShape="1">
                  <a:gsLst>
                    <a:gs pos="0">
                      <a:srgbClr val="FFFFFF"/>
                    </a:gs>
                    <a:gs pos="86000">
                      <a:srgbClr val="FFFFFF"/>
                    </a:gs>
                  </a:gsLst>
                  <a:lin ang="5400000" scaled="0"/>
                  <a:tileRect/>
                </a:gradFill>
                <a:latin typeface="微軟正黑體" pitchFamily="34" charset="-120"/>
                <a:ea typeface="微軟正黑體" pitchFamily="34" charset="-120"/>
              </a:rPr>
              <a:t>4</a:t>
            </a:r>
            <a:r>
              <a:rPr lang="en-US" dirty="0" smtClean="0">
                <a:gradFill flip="none" rotWithShape="1">
                  <a:gsLst>
                    <a:gs pos="0">
                      <a:srgbClr val="FFFFFF"/>
                    </a:gs>
                    <a:gs pos="86000">
                      <a:srgbClr val="FFFFFF"/>
                    </a:gs>
                  </a:gsLst>
                  <a:lin ang="5400000" scaled="0"/>
                  <a:tileRect/>
                </a:gradFill>
                <a:latin typeface="微軟正黑體" pitchFamily="34" charset="-120"/>
                <a:ea typeface="微軟正黑體" pitchFamily="34" charset="-120"/>
              </a:rPr>
              <a:t> </a:t>
            </a:r>
            <a:r>
              <a:rPr lang="en-US" dirty="0" err="1" smtClean="0">
                <a:gradFill flip="none" rotWithShape="1">
                  <a:gsLst>
                    <a:gs pos="0">
                      <a:srgbClr val="FFFFFF"/>
                    </a:gs>
                    <a:gs pos="86000">
                      <a:srgbClr val="FFFFFF"/>
                    </a:gs>
                  </a:gsLst>
                  <a:lin ang="5400000" scaled="0"/>
                  <a:tileRect/>
                </a:gradFill>
                <a:latin typeface="微軟正黑體" pitchFamily="34" charset="-120"/>
                <a:ea typeface="微軟正黑體" pitchFamily="34" charset="-120"/>
                <a:cs typeface="Arial Unicode MS" pitchFamily="34" charset="-128"/>
              </a:rPr>
              <a:t>授權</a:t>
            </a:r>
            <a:endParaRPr lang="en-US" dirty="0">
              <a:latin typeface="微軟正黑體" pitchFamily="34" charset="-120"/>
              <a:ea typeface="微軟正黑體" pitchFamily="34" charset="-120"/>
              <a:cs typeface="Arial Unicode MS" pitchFamily="34" charset="-128"/>
            </a:endParaRPr>
          </a:p>
        </p:txBody>
      </p:sp>
      <p:sp>
        <p:nvSpPr>
          <p:cNvPr id="44" name="Footer Placeholder 4"/>
          <p:cNvSpPr txBox="1">
            <a:spLocks/>
          </p:cNvSpPr>
          <p:nvPr/>
        </p:nvSpPr>
        <p:spPr>
          <a:xfrm>
            <a:off x="3124200" y="6554660"/>
            <a:ext cx="2895600" cy="365125"/>
          </a:xfrm>
          <a:prstGeom prst="rect">
            <a:avLst/>
          </a:prstGeom>
        </p:spPr>
        <p:txBody>
          <a:bodyPr vert="horz" lIns="91440" tIns="45720" rIns="91440" bIns="45720" rtlCol="0" anchor="ctr"/>
          <a:lstStyle>
            <a:defPPr>
              <a:defRPr lang="en-US"/>
            </a:defPPr>
            <a:lvl1pPr marL="0" algn="ctr" defTabSz="914363" rtl="0" eaLnBrk="1" latinLnBrk="0" hangingPunct="1">
              <a:defRPr sz="1050" kern="1200">
                <a:solidFill>
                  <a:schemeClr val="bg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R="0" lvl="0" indent="0" fontAlgn="auto">
              <a:lnSpc>
                <a:spcPct val="100000"/>
              </a:lnSpc>
              <a:spcBef>
                <a:spcPts val="0"/>
              </a:spcBef>
              <a:spcAft>
                <a:spcPts val="0"/>
              </a:spcAft>
              <a:buClrTx/>
              <a:buSzTx/>
              <a:buFontTx/>
              <a:buNone/>
              <a:tabLst/>
              <a:defRPr/>
            </a:pPr>
            <a:r>
              <a:rPr lang="en-US" sz="1000" dirty="0" smtClean="0">
                <a:solidFill>
                  <a:schemeClr val="tx1"/>
                </a:solidFill>
                <a:latin typeface="微軟正黑體" pitchFamily="34" charset="-120"/>
                <a:ea typeface="微軟正黑體" pitchFamily="34" charset="-120"/>
              </a:rPr>
              <a:t> </a:t>
            </a:r>
            <a:endParaRPr lang="en-US" sz="1000" dirty="0">
              <a:solidFill>
                <a:schemeClr val="tx1"/>
              </a:solidFill>
              <a:latin typeface="微軟正黑體" pitchFamily="34" charset="-120"/>
              <a:ea typeface="微軟正黑體" pitchFamily="34" charset="-120"/>
            </a:endParaRPr>
          </a:p>
        </p:txBody>
      </p:sp>
      <p:sp>
        <p:nvSpPr>
          <p:cNvPr id="47" name="Slide Number Placeholder 3"/>
          <p:cNvSpPr txBox="1">
            <a:spLocks/>
          </p:cNvSpPr>
          <p:nvPr/>
        </p:nvSpPr>
        <p:spPr>
          <a:xfrm>
            <a:off x="7002213" y="6554660"/>
            <a:ext cx="2133600" cy="365125"/>
          </a:xfrm>
          <a:prstGeom prst="rect">
            <a:avLst/>
          </a:prstGeom>
        </p:spPr>
        <p:txBody>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a:fld id="{91098593-08D3-42B8-840D-8E12C9A4D757}" type="slidenum">
              <a:rPr lang="en-US" sz="1000" smtClean="0">
                <a:latin typeface="微軟正黑體" pitchFamily="34" charset="-120"/>
                <a:ea typeface="微軟正黑體" pitchFamily="34" charset="-120"/>
              </a:rPr>
              <a:pPr algn="r"/>
              <a:t>55</a:t>
            </a:fld>
            <a:endParaRPr lang="en-US" sz="1000" dirty="0">
              <a:latin typeface="微軟正黑體" pitchFamily="34" charset="-120"/>
              <a:ea typeface="微軟正黑體" pitchFamily="34" charset="-120"/>
            </a:endParaRPr>
          </a:p>
        </p:txBody>
      </p:sp>
      <p:grpSp>
        <p:nvGrpSpPr>
          <p:cNvPr id="41" name="Group 40"/>
          <p:cNvGrpSpPr/>
          <p:nvPr/>
        </p:nvGrpSpPr>
        <p:grpSpPr>
          <a:xfrm>
            <a:off x="1214174" y="1938384"/>
            <a:ext cx="5825397" cy="3674896"/>
            <a:chOff x="1651360" y="1469921"/>
            <a:chExt cx="7922945" cy="4998114"/>
          </a:xfrm>
        </p:grpSpPr>
        <p:sp>
          <p:nvSpPr>
            <p:cNvPr id="50" name="Rectangle 49"/>
            <p:cNvSpPr/>
            <p:nvPr>
              <p:custDataLst>
                <p:tags r:id="rId4"/>
              </p:custDataLst>
            </p:nvPr>
          </p:nvSpPr>
          <p:spPr bwMode="auto">
            <a:xfrm>
              <a:off x="1651360" y="1469921"/>
              <a:ext cx="7922945" cy="4998114"/>
            </a:xfrm>
            <a:prstGeom prst="rect">
              <a:avLst/>
            </a:prstGeom>
            <a:solidFill>
              <a:srgbClr val="FF8C00"/>
            </a:solidFill>
            <a:ln w="12700">
              <a:solidFill>
                <a:srgbClr val="000000">
                  <a:alpha val="50000"/>
                </a:srgbClr>
              </a:solidFill>
              <a:headEnd type="none" w="med" len="med"/>
              <a:tailEnd type="none" w="med" len="med"/>
            </a:ln>
            <a:effectLst/>
            <a:scene3d>
              <a:camera prst="orthographicFront" fov="0">
                <a:rot lat="0" lon="0" rev="0"/>
              </a:camera>
              <a:lightRig rig="glow" dir="t">
                <a:rot lat="0" lon="0" rev="6360000"/>
              </a:lightRig>
            </a:scene3d>
            <a:sp3d prstMaterial="flat">
              <a:contourClr>
                <a:srgbClr val="FF8C00">
                  <a:satMod val="300000"/>
                </a:srgbClr>
              </a:contourClr>
            </a:sp3d>
          </p:spPr>
          <p:txBody>
            <a:bodyPr vert="horz" wrap="square" lIns="33616" tIns="67232" rIns="33616" bIns="67232" numCol="1" rtlCol="0" anchor="ctr" anchorCtr="0" compatLnSpc="1">
              <a:prstTxWarp prst="textNoShape">
                <a:avLst/>
              </a:prstTxWarp>
              <a:noAutofit/>
            </a:bodyPr>
            <a:lstStyle/>
            <a:p>
              <a:pPr marL="0" marR="0" lvl="0" indent="0" algn="ctr" defTabSz="672358" eaLnBrk="1" fontAlgn="auto" latinLnBrk="0" hangingPunct="1">
                <a:lnSpc>
                  <a:spcPct val="100000"/>
                </a:lnSpc>
                <a:spcBef>
                  <a:spcPts val="441"/>
                </a:spcBef>
                <a:spcAft>
                  <a:spcPts val="0"/>
                </a:spcAft>
                <a:buClrTx/>
                <a:buSzTx/>
                <a:buFontTx/>
                <a:buNone/>
                <a:tabLst/>
                <a:defRPr/>
              </a:pPr>
              <a:endParaRPr kumimoji="0" lang="en-US" altLang="zh-CN" sz="1029" b="0" i="0" u="none" strike="noStrike" kern="0" cap="none" spc="0" normalizeH="0" baseline="0" noProof="0" dirty="0" smtClean="0">
                <a:ln>
                  <a:solidFill>
                    <a:srgbClr val="FFFFFF">
                      <a:alpha val="0"/>
                    </a:srgbClr>
                  </a:solidFill>
                </a:ln>
                <a:solidFill>
                  <a:srgbClr val="FFFFFF"/>
                </a:solidFill>
                <a:effectLst/>
                <a:uLnTx/>
                <a:uFillTx/>
                <a:latin typeface="微軟正黑體" pitchFamily="34" charset="-120"/>
                <a:ea typeface="微軟正黑體" pitchFamily="34" charset="-120"/>
                <a:cs typeface="+mn-cs"/>
              </a:endParaRPr>
            </a:p>
          </p:txBody>
        </p:sp>
        <p:sp>
          <p:nvSpPr>
            <p:cNvPr id="51" name="Rectangle 50"/>
            <p:cNvSpPr/>
            <p:nvPr>
              <p:custDataLst>
                <p:tags r:id="rId5"/>
              </p:custDataLst>
            </p:nvPr>
          </p:nvSpPr>
          <p:spPr bwMode="auto">
            <a:xfrm>
              <a:off x="1731113" y="1518890"/>
              <a:ext cx="3819184" cy="4888665"/>
            </a:xfrm>
            <a:prstGeom prst="rect">
              <a:avLst/>
            </a:prstGeom>
            <a:gradFill flip="none" rotWithShape="1">
              <a:gsLst>
                <a:gs pos="0">
                  <a:srgbClr val="505050">
                    <a:alpha val="25000"/>
                  </a:srgbClr>
                </a:gs>
                <a:gs pos="17000">
                  <a:srgbClr val="505050">
                    <a:alpha val="15000"/>
                  </a:srgbClr>
                </a:gs>
                <a:gs pos="100000">
                  <a:srgbClr val="000000">
                    <a:alpha val="0"/>
                  </a:srgbClr>
                </a:gs>
              </a:gsLst>
              <a:lin ang="5400000" scaled="1"/>
              <a:tileRect/>
            </a:gradFill>
            <a:ln w="12700">
              <a:noFill/>
              <a:headEnd type="none" w="med" len="med"/>
              <a:tailEnd type="none" w="med" len="med"/>
            </a:ln>
            <a:effectLst/>
            <a:scene3d>
              <a:camera prst="orthographicFront" fov="0">
                <a:rot lat="0" lon="0" rev="0"/>
              </a:camera>
              <a:lightRig rig="glow" dir="t">
                <a:rot lat="0" lon="0" rev="6360000"/>
              </a:lightRig>
            </a:scene3d>
            <a:sp3d prstMaterial="flat">
              <a:contourClr>
                <a:srgbClr val="FF8C00">
                  <a:satMod val="300000"/>
                </a:srgbClr>
              </a:contourClr>
            </a:sp3d>
          </p:spPr>
          <p:txBody>
            <a:bodyPr vert="horz" wrap="square" lIns="0" tIns="67232" rIns="0" bIns="67232" numCol="1" rtlCol="0" anchor="t" anchorCtr="0" compatLnSpc="1">
              <a:prstTxWarp prst="textNoShape">
                <a:avLst/>
              </a:prstTxWarp>
              <a:noAutofit/>
            </a:bodyPr>
            <a:lstStyle/>
            <a:p>
              <a:pPr marL="0" marR="0" lvl="0" indent="0" algn="ctr" defTabSz="672181" eaLnBrk="1" fontAlgn="base" latinLnBrk="0" hangingPunct="1">
                <a:lnSpc>
                  <a:spcPct val="100000"/>
                </a:lnSpc>
                <a:spcBef>
                  <a:spcPts val="0"/>
                </a:spcBef>
                <a:spcAft>
                  <a:spcPts val="441"/>
                </a:spcAft>
                <a:buClr>
                  <a:srgbClr val="FFFF99"/>
                </a:buClr>
                <a:buSzPct val="120000"/>
                <a:buFontTx/>
                <a:buNone/>
                <a:tabLst/>
                <a:defRPr/>
              </a:pPr>
              <a:r>
                <a:rPr kumimoji="0" lang="en-US" altLang="zh-CN" sz="2353" b="1" i="0" u="none" strike="noStrike" kern="0" cap="none" spc="0" normalizeH="0" baseline="0" noProof="0" dirty="0" smtClean="0">
                  <a:ln>
                    <a:noFill/>
                  </a:ln>
                  <a:solidFill>
                    <a:srgbClr val="FFFFFF">
                      <a:alpha val="99000"/>
                    </a:srgbClr>
                  </a:solidFill>
                  <a:effectLst/>
                  <a:uLnTx/>
                  <a:uFillTx/>
                  <a:latin typeface="微軟正黑體" pitchFamily="34" charset="-120"/>
                  <a:ea typeface="微軟正黑體" pitchFamily="34" charset="-120"/>
                  <a:cs typeface="Arial Unicode MS" pitchFamily="34" charset="-128"/>
                </a:rPr>
                <a:t>主要版本</a:t>
              </a:r>
            </a:p>
          </p:txBody>
        </p:sp>
        <p:sp>
          <p:nvSpPr>
            <p:cNvPr id="52" name="Rectangle 51"/>
            <p:cNvSpPr/>
            <p:nvPr>
              <p:custDataLst>
                <p:tags r:id="rId6"/>
              </p:custDataLst>
            </p:nvPr>
          </p:nvSpPr>
          <p:spPr bwMode="auto">
            <a:xfrm>
              <a:off x="5510671" y="1518889"/>
              <a:ext cx="4059143" cy="4888665"/>
            </a:xfrm>
            <a:prstGeom prst="rect">
              <a:avLst/>
            </a:prstGeom>
            <a:gradFill flip="none" rotWithShape="1">
              <a:gsLst>
                <a:gs pos="0">
                  <a:srgbClr val="505050">
                    <a:alpha val="25000"/>
                  </a:srgbClr>
                </a:gs>
                <a:gs pos="17000">
                  <a:srgbClr val="505050">
                    <a:alpha val="15000"/>
                  </a:srgbClr>
                </a:gs>
                <a:gs pos="100000">
                  <a:srgbClr val="000000">
                    <a:alpha val="0"/>
                  </a:srgbClr>
                </a:gs>
              </a:gsLst>
              <a:lin ang="5400000" scaled="1"/>
              <a:tileRect/>
            </a:gradFill>
            <a:ln w="12700">
              <a:noFill/>
              <a:headEnd type="none" w="med" len="med"/>
              <a:tailEnd type="none" w="med" len="med"/>
            </a:ln>
            <a:effectLst/>
            <a:scene3d>
              <a:camera prst="orthographicFront" fov="0">
                <a:rot lat="0" lon="0" rev="0"/>
              </a:camera>
              <a:lightRig rig="glow" dir="t">
                <a:rot lat="0" lon="0" rev="6360000"/>
              </a:lightRig>
            </a:scene3d>
            <a:sp3d prstMaterial="flat">
              <a:contourClr>
                <a:srgbClr val="FF8C00">
                  <a:satMod val="300000"/>
                </a:srgbClr>
              </a:contourClr>
            </a:sp3d>
          </p:spPr>
          <p:txBody>
            <a:bodyPr vert="horz" wrap="square" lIns="0" tIns="67232" rIns="0" bIns="67232" numCol="1" rtlCol="0" anchor="t" anchorCtr="0" compatLnSpc="1">
              <a:prstTxWarp prst="textNoShape">
                <a:avLst/>
              </a:prstTxWarp>
              <a:noAutofit/>
            </a:bodyPr>
            <a:lstStyle/>
            <a:p>
              <a:pPr marL="0" marR="0" lvl="0" indent="0" algn="ctr" defTabSz="672181" eaLnBrk="1" fontAlgn="base" latinLnBrk="0" hangingPunct="1">
                <a:lnSpc>
                  <a:spcPct val="100000"/>
                </a:lnSpc>
                <a:spcBef>
                  <a:spcPts val="0"/>
                </a:spcBef>
                <a:spcAft>
                  <a:spcPts val="441"/>
                </a:spcAft>
                <a:buClr>
                  <a:srgbClr val="FFFF99"/>
                </a:buClr>
                <a:buSzPct val="120000"/>
                <a:buFontTx/>
                <a:buNone/>
                <a:tabLst/>
                <a:defRPr/>
              </a:pPr>
              <a:r>
                <a:rPr kumimoji="0" lang="en-US" altLang="zh-CN" sz="1765" b="1" i="0" u="none" strike="noStrike" kern="0" cap="none" spc="0" normalizeH="0" baseline="0" noProof="0" dirty="0" err="1" smtClean="0">
                  <a:ln>
                    <a:noFill/>
                  </a:ln>
                  <a:solidFill>
                    <a:srgbClr val="FFFFFF">
                      <a:alpha val="99000"/>
                    </a:srgbClr>
                  </a:solidFill>
                  <a:effectLst/>
                  <a:uLnTx/>
                  <a:uFillTx/>
                  <a:latin typeface="微軟正黑體" pitchFamily="34" charset="-120"/>
                  <a:ea typeface="微軟正黑體" pitchFamily="34" charset="-120"/>
                  <a:cs typeface="Arial Unicode MS" pitchFamily="34" charset="-128"/>
                </a:rPr>
                <a:t>授權選擇</a:t>
              </a:r>
              <a:endParaRPr kumimoji="0" lang="en-US" altLang="zh-CN" sz="1765" b="1" i="0" u="none" strike="noStrike" kern="0" cap="none" spc="0" normalizeH="0" baseline="0" noProof="0" dirty="0" smtClean="0">
                <a:ln>
                  <a:noFill/>
                </a:ln>
                <a:solidFill>
                  <a:srgbClr val="FFFFFF">
                    <a:alpha val="99000"/>
                  </a:srgbClr>
                </a:solidFill>
                <a:effectLst/>
                <a:uLnTx/>
                <a:uFillTx/>
                <a:latin typeface="微軟正黑體" pitchFamily="34" charset="-120"/>
                <a:ea typeface="微軟正黑體" pitchFamily="34" charset="-120"/>
                <a:cs typeface="Arial Unicode MS" pitchFamily="34" charset="-128"/>
              </a:endParaRPr>
            </a:p>
            <a:p>
              <a:pPr marL="0" marR="0" lvl="0" indent="0" algn="ctr" defTabSz="672181" eaLnBrk="1" fontAlgn="base" latinLnBrk="0" hangingPunct="1">
                <a:lnSpc>
                  <a:spcPct val="100000"/>
                </a:lnSpc>
                <a:spcBef>
                  <a:spcPts val="0"/>
                </a:spcBef>
                <a:spcAft>
                  <a:spcPts val="441"/>
                </a:spcAft>
                <a:buClr>
                  <a:srgbClr val="FFFF99"/>
                </a:buClr>
                <a:buSzPct val="120000"/>
                <a:buFontTx/>
                <a:buNone/>
                <a:tabLst/>
                <a:defRPr/>
              </a:pPr>
              <a:r>
                <a:rPr kumimoji="0" lang="en-US" altLang="zh-TW" sz="1471" b="1" i="0" u="none" strike="noStrike" kern="0" cap="none" spc="0" normalizeH="0" baseline="0" noProof="0" dirty="0" err="1" smtClean="0">
                  <a:ln>
                    <a:noFill/>
                  </a:ln>
                  <a:solidFill>
                    <a:srgbClr val="FFFF00">
                      <a:alpha val="99000"/>
                    </a:srgbClr>
                  </a:solidFill>
                  <a:effectLst>
                    <a:outerShdw blurRad="38100" dist="38100" dir="2700000" algn="tl">
                      <a:srgbClr val="000000">
                        <a:alpha val="43137"/>
                      </a:srgbClr>
                    </a:outerShdw>
                  </a:effectLst>
                  <a:uLnTx/>
                  <a:uFillTx/>
                  <a:latin typeface="微軟正黑體" pitchFamily="34" charset="-120"/>
                  <a:ea typeface="微軟正黑體" pitchFamily="34" charset="-120"/>
                  <a:cs typeface="Arial Unicode MS" pitchFamily="34" charset="-128"/>
                </a:rPr>
                <a:t>Server</a:t>
              </a:r>
              <a:r>
                <a:rPr kumimoji="0" lang="en-US" altLang="zh-CN" sz="1471" b="1" i="0" u="none" strike="noStrike" kern="0" cap="none" spc="0" normalizeH="0" baseline="0" noProof="0" dirty="0" err="1" smtClean="0">
                  <a:ln>
                    <a:noFill/>
                  </a:ln>
                  <a:solidFill>
                    <a:srgbClr val="FFFF00">
                      <a:alpha val="99000"/>
                    </a:srgbClr>
                  </a:solidFill>
                  <a:effectLst>
                    <a:outerShdw blurRad="38100" dist="38100" dir="2700000" algn="tl">
                      <a:srgbClr val="000000">
                        <a:alpha val="43137"/>
                      </a:srgbClr>
                    </a:outerShdw>
                  </a:effectLst>
                  <a:uLnTx/>
                  <a:uFillTx/>
                  <a:latin typeface="微軟正黑體" pitchFamily="34" charset="-120"/>
                  <a:ea typeface="微軟正黑體" pitchFamily="34" charset="-120"/>
                  <a:cs typeface="Segoe UI" pitchFamily="34" charset="0"/>
                </a:rPr>
                <a:t>+CAL</a:t>
              </a:r>
              <a:r>
                <a:rPr kumimoji="0" lang="en-US" altLang="zh-CN" sz="1471" b="1" i="0" u="none" strike="noStrike" kern="0" cap="none" spc="0" normalizeH="0" baseline="0" noProof="0" dirty="0" smtClean="0">
                  <a:ln>
                    <a:noFill/>
                  </a:ln>
                  <a:solidFill>
                    <a:srgbClr val="FFFF00">
                      <a:alpha val="99000"/>
                    </a:srgbClr>
                  </a:solidFill>
                  <a:effectLst>
                    <a:outerShdw blurRad="38100" dist="38100" dir="2700000" algn="tl">
                      <a:srgbClr val="000000">
                        <a:alpha val="43137"/>
                      </a:srgbClr>
                    </a:outerShdw>
                  </a:effectLst>
                  <a:uLnTx/>
                  <a:uFillTx/>
                  <a:latin typeface="微軟正黑體" pitchFamily="34" charset="-120"/>
                  <a:ea typeface="微軟正黑體" pitchFamily="34" charset="-120"/>
                  <a:cs typeface="Segoe UI" pitchFamily="34" charset="0"/>
                </a:rPr>
                <a:t>      </a:t>
              </a:r>
              <a:r>
                <a:rPr kumimoji="0" lang="en-US" altLang="zh-CN" sz="1471" b="1" i="0" u="none" strike="noStrike" kern="0" cap="none" spc="0" normalizeH="0" baseline="0" noProof="0" dirty="0" err="1" smtClean="0">
                  <a:ln>
                    <a:noFill/>
                  </a:ln>
                  <a:solidFill>
                    <a:srgbClr val="FFFF00">
                      <a:alpha val="99000"/>
                    </a:srgbClr>
                  </a:solidFill>
                  <a:effectLst>
                    <a:outerShdw blurRad="38100" dist="38100" dir="2700000" algn="tl">
                      <a:srgbClr val="000000">
                        <a:alpha val="43137"/>
                      </a:srgbClr>
                    </a:outerShdw>
                  </a:effectLst>
                  <a:uLnTx/>
                  <a:uFillTx/>
                  <a:latin typeface="微軟正黑體" pitchFamily="34" charset="-120"/>
                  <a:ea typeface="微軟正黑體" pitchFamily="34" charset="-120"/>
                  <a:cs typeface="Arial Unicode MS" pitchFamily="34" charset="-128"/>
                </a:rPr>
                <a:t>以核心為基礎</a:t>
              </a:r>
              <a:endParaRPr kumimoji="0" lang="en-US" altLang="zh-CN" sz="1471" b="1" i="0" u="none" strike="noStrike" kern="0" cap="none" spc="0" normalizeH="0" baseline="0" noProof="0" dirty="0" smtClean="0">
                <a:ln>
                  <a:noFill/>
                </a:ln>
                <a:solidFill>
                  <a:srgbClr val="FFFF00">
                    <a:alpha val="99000"/>
                  </a:srgbClr>
                </a:solidFill>
                <a:effectLst>
                  <a:outerShdw blurRad="38100" dist="38100" dir="2700000" algn="tl">
                    <a:srgbClr val="000000">
                      <a:alpha val="43137"/>
                    </a:srgbClr>
                  </a:outerShdw>
                </a:effectLst>
                <a:uLnTx/>
                <a:uFillTx/>
                <a:latin typeface="微軟正黑體" pitchFamily="34" charset="-120"/>
                <a:ea typeface="微軟正黑體" pitchFamily="34" charset="-120"/>
                <a:cs typeface="Arial Unicode MS" pitchFamily="34" charset="-128"/>
              </a:endParaRPr>
            </a:p>
          </p:txBody>
        </p:sp>
        <p:cxnSp>
          <p:nvCxnSpPr>
            <p:cNvPr id="53" name="Straight Connector 10"/>
            <p:cNvCxnSpPr/>
            <p:nvPr>
              <p:custDataLst>
                <p:tags r:id="rId7"/>
              </p:custDataLst>
            </p:nvPr>
          </p:nvCxnSpPr>
          <p:spPr>
            <a:xfrm>
              <a:off x="1748512" y="3581727"/>
              <a:ext cx="7650188" cy="0"/>
            </a:xfrm>
            <a:prstGeom prst="line">
              <a:avLst/>
            </a:prstGeom>
            <a:gradFill flip="none" rotWithShape="1">
              <a:gsLst>
                <a:gs pos="0">
                  <a:srgbClr val="FFFFFF">
                    <a:alpha val="40000"/>
                  </a:srgbClr>
                </a:gs>
                <a:gs pos="17000">
                  <a:srgbClr val="FFFFFF">
                    <a:alpha val="25000"/>
                  </a:srgbClr>
                </a:gs>
                <a:gs pos="100000">
                  <a:srgbClr val="FFFFFF">
                    <a:alpha val="5000"/>
                  </a:srgbClr>
                </a:gs>
              </a:gsLst>
              <a:lin ang="16200000" scaled="1"/>
              <a:tileRect/>
            </a:gradFill>
            <a:ln w="19050">
              <a:solidFill>
                <a:srgbClr val="000000">
                  <a:alpha val="69000"/>
                </a:srgbClr>
              </a:solidFill>
              <a:prstDash val="sysDash"/>
              <a:headEnd type="none" w="med" len="med"/>
              <a:tailEnd type="none" w="med" len="med"/>
            </a:ln>
            <a:effectLst/>
            <a:scene3d>
              <a:camera prst="orthographicFront" fov="0">
                <a:rot lat="0" lon="0" rev="0"/>
              </a:camera>
              <a:lightRig rig="glow" dir="t">
                <a:rot lat="0" lon="0" rev="6360000"/>
              </a:lightRig>
            </a:scene3d>
            <a:sp3d prstMaterial="flat">
              <a:contourClr>
                <a:srgbClr val="FF8C00">
                  <a:satMod val="300000"/>
                </a:srgbClr>
              </a:contourClr>
            </a:sp3d>
          </p:spPr>
        </p:cxnSp>
        <p:grpSp>
          <p:nvGrpSpPr>
            <p:cNvPr id="54" name="Group 53"/>
            <p:cNvGrpSpPr/>
            <p:nvPr/>
          </p:nvGrpSpPr>
          <p:grpSpPr>
            <a:xfrm>
              <a:off x="1836578" y="2460812"/>
              <a:ext cx="7562121" cy="1121383"/>
              <a:chOff x="454978" y="2280972"/>
              <a:chExt cx="5206309" cy="1190076"/>
            </a:xfrm>
          </p:grpSpPr>
          <p:sp>
            <p:nvSpPr>
              <p:cNvPr id="67" name="Rectangle 66"/>
              <p:cNvSpPr/>
              <p:nvPr>
                <p:custDataLst>
                  <p:tags r:id="rId11"/>
                </p:custDataLst>
              </p:nvPr>
            </p:nvSpPr>
            <p:spPr bwMode="auto">
              <a:xfrm>
                <a:off x="454978" y="2280973"/>
                <a:ext cx="2468880" cy="1190075"/>
              </a:xfrm>
              <a:prstGeom prst="rect">
                <a:avLst/>
              </a:prstGeom>
              <a:solidFill>
                <a:srgbClr val="FFFFFF">
                  <a:alpha val="30000"/>
                </a:srgbClr>
              </a:solidFill>
              <a:ln w="12700">
                <a:noFill/>
                <a:headEnd type="none" w="med" len="med"/>
                <a:tailEnd type="none" w="med" len="med"/>
              </a:ln>
              <a:effectLst/>
              <a:scene3d>
                <a:camera prst="orthographicFront" fov="0">
                  <a:rot lat="0" lon="0" rev="0"/>
                </a:camera>
                <a:lightRig rig="glow" dir="t">
                  <a:rot lat="0" lon="0" rev="6360000"/>
                </a:lightRig>
              </a:scene3d>
              <a:sp3d prstMaterial="flat">
                <a:contourClr>
                  <a:srgbClr val="FF8C00">
                    <a:satMod val="300000"/>
                  </a:srgbClr>
                </a:contourClr>
              </a:sp3d>
            </p:spPr>
            <p:txBody>
              <a:bodyPr vert="horz" wrap="square" lIns="33616" tIns="67232" rIns="33616" bIns="67232" numCol="1" rtlCol="0" anchor="ctr" anchorCtr="0" compatLnSpc="1">
                <a:prstTxWarp prst="textNoShape">
                  <a:avLst/>
                </a:prstTxWarp>
                <a:noAutofit/>
              </a:bodyPr>
              <a:lstStyle/>
              <a:p>
                <a:pPr marL="0" marR="0" lvl="0" indent="0" algn="ctr" defTabSz="672358" eaLnBrk="1" fontAlgn="auto" latinLnBrk="0" hangingPunct="1">
                  <a:lnSpc>
                    <a:spcPct val="100000"/>
                  </a:lnSpc>
                  <a:spcBef>
                    <a:spcPts val="441"/>
                  </a:spcBef>
                  <a:spcAft>
                    <a:spcPts val="0"/>
                  </a:spcAft>
                  <a:buClr>
                    <a:srgbClr val="FFFFFF"/>
                  </a:buClr>
                  <a:buSzPct val="90000"/>
                  <a:buFontTx/>
                  <a:buNone/>
                  <a:tabLst/>
                  <a:defRPr/>
                </a:pPr>
                <a:r>
                  <a:rPr kumimoji="0" lang="en-US" sz="2059" b="1" i="0" u="none" strike="noStrike" kern="0" cap="none" spc="0" normalizeH="0" baseline="0" noProof="0" dirty="0" smtClean="0">
                    <a:ln>
                      <a:noFill/>
                    </a:ln>
                    <a:solidFill>
                      <a:srgbClr val="000000"/>
                    </a:solidFill>
                    <a:effectLst/>
                    <a:uLnTx/>
                    <a:uFillTx/>
                    <a:latin typeface="微軟正黑體" pitchFamily="34" charset="-120"/>
                    <a:ea typeface="微軟正黑體" pitchFamily="34" charset="-120"/>
                    <a:cs typeface="Arial Unicode MS" pitchFamily="34" charset="-128"/>
                  </a:rPr>
                  <a:t>Enterprise </a:t>
                </a:r>
                <a:r>
                  <a:rPr kumimoji="0" lang="en-US" sz="2059" b="1" i="0" u="none" strike="noStrike" kern="0" cap="none" spc="0" normalizeH="0" baseline="0" noProof="0" dirty="0" err="1" smtClean="0">
                    <a:ln>
                      <a:noFill/>
                    </a:ln>
                    <a:solidFill>
                      <a:srgbClr val="000000"/>
                    </a:solidFill>
                    <a:effectLst/>
                    <a:uLnTx/>
                    <a:uFillTx/>
                    <a:latin typeface="微軟正黑體" pitchFamily="34" charset="-120"/>
                    <a:ea typeface="微軟正黑體" pitchFamily="34" charset="-120"/>
                    <a:cs typeface="Arial Unicode MS" pitchFamily="34" charset="-128"/>
                  </a:rPr>
                  <a:t>企業版</a:t>
                </a:r>
                <a:endParaRPr kumimoji="0" lang="en-US" sz="2059" b="1" i="0" u="none" strike="noStrike" kern="0" cap="none" spc="0" normalizeH="0" baseline="0" noProof="0" dirty="0" smtClean="0">
                  <a:ln>
                    <a:noFill/>
                  </a:ln>
                  <a:solidFill>
                    <a:srgbClr val="000000"/>
                  </a:solidFill>
                  <a:effectLst/>
                  <a:uLnTx/>
                  <a:uFillTx/>
                  <a:latin typeface="微軟正黑體" pitchFamily="34" charset="-120"/>
                  <a:ea typeface="微軟正黑體" pitchFamily="34" charset="-120"/>
                  <a:cs typeface="Arial Unicode MS" pitchFamily="34" charset="-128"/>
                </a:endParaRPr>
              </a:p>
            </p:txBody>
          </p:sp>
          <p:sp>
            <p:nvSpPr>
              <p:cNvPr id="68" name="Rectangle 67"/>
              <p:cNvSpPr/>
              <p:nvPr/>
            </p:nvSpPr>
            <p:spPr bwMode="auto">
              <a:xfrm>
                <a:off x="4472567" y="2280972"/>
                <a:ext cx="1188720" cy="1190075"/>
              </a:xfrm>
              <a:prstGeom prst="rect">
                <a:avLst/>
              </a:prstGeom>
              <a:solidFill>
                <a:srgbClr val="FFFFFF">
                  <a:alpha val="30000"/>
                </a:srgbClr>
              </a:solidFill>
              <a:ln w="12700">
                <a:noFill/>
                <a:headEnd type="none" w="med" len="med"/>
                <a:tailEnd type="none" w="med" len="med"/>
              </a:ln>
              <a:effectLst/>
              <a:scene3d>
                <a:camera prst="orthographicFront" fov="0">
                  <a:rot lat="0" lon="0" rev="0"/>
                </a:camera>
                <a:lightRig rig="glow" dir="t">
                  <a:rot lat="0" lon="0" rev="6360000"/>
                </a:lightRig>
              </a:scene3d>
              <a:sp3d prstMaterial="flat">
                <a:contourClr>
                  <a:srgbClr val="FF8C00">
                    <a:satMod val="300000"/>
                  </a:srgbClr>
                </a:contourClr>
              </a:sp3d>
            </p:spPr>
            <p:txBody>
              <a:bodyPr vert="horz" wrap="square" lIns="33616" tIns="67232" rIns="33616" bIns="67232" numCol="1" rtlCol="0" anchor="ctr" anchorCtr="0" compatLnSpc="1">
                <a:prstTxWarp prst="textNoShape">
                  <a:avLst/>
                </a:prstTxWarp>
                <a:noAutofit/>
              </a:bodyPr>
              <a:lstStyle/>
              <a:p>
                <a:pPr marL="0" marR="0" lvl="0" indent="0" algn="ctr" defTabSz="672358" eaLnBrk="1" fontAlgn="auto" latinLnBrk="0" hangingPunct="1">
                  <a:lnSpc>
                    <a:spcPct val="100000"/>
                  </a:lnSpc>
                  <a:spcBef>
                    <a:spcPts val="441"/>
                  </a:spcBef>
                  <a:spcAft>
                    <a:spcPts val="0"/>
                  </a:spcAft>
                  <a:buClr>
                    <a:srgbClr val="FFFFFF"/>
                  </a:buClr>
                  <a:buSzPct val="90000"/>
                  <a:buFontTx/>
                  <a:buNone/>
                  <a:tabLst/>
                  <a:defRPr/>
                </a:pPr>
                <a:endParaRPr kumimoji="0" lang="en-US" sz="1324" b="0" i="0" u="none" strike="noStrike" kern="0" cap="none" spc="0" normalizeH="0" baseline="0" noProof="0" dirty="0" smtClean="0">
                  <a:ln>
                    <a:noFill/>
                  </a:ln>
                  <a:gradFill>
                    <a:gsLst>
                      <a:gs pos="0">
                        <a:srgbClr val="FFFFFF"/>
                      </a:gs>
                      <a:gs pos="86000">
                        <a:srgbClr val="FFFFFF"/>
                      </a:gs>
                    </a:gsLst>
                    <a:lin ang="5400000" scaled="0"/>
                  </a:gradFill>
                  <a:effectLst/>
                  <a:uLnTx/>
                  <a:uFillTx/>
                  <a:latin typeface="微軟正黑體" pitchFamily="34" charset="-120"/>
                  <a:ea typeface="微軟正黑體" pitchFamily="34" charset="-120"/>
                  <a:cs typeface="+mn-cs"/>
                </a:endParaRPr>
              </a:p>
            </p:txBody>
          </p:sp>
          <p:sp>
            <p:nvSpPr>
              <p:cNvPr id="69" name="Rectangle 68"/>
              <p:cNvSpPr/>
              <p:nvPr/>
            </p:nvSpPr>
            <p:spPr bwMode="auto">
              <a:xfrm>
                <a:off x="3192407" y="2280972"/>
                <a:ext cx="1188720" cy="1190075"/>
              </a:xfrm>
              <a:prstGeom prst="rect">
                <a:avLst/>
              </a:prstGeom>
              <a:solidFill>
                <a:srgbClr val="FFFFFF">
                  <a:alpha val="30000"/>
                </a:srgbClr>
              </a:solidFill>
              <a:ln w="12700">
                <a:noFill/>
                <a:headEnd type="none" w="med" len="med"/>
                <a:tailEnd type="none" w="med" len="med"/>
              </a:ln>
              <a:effectLst/>
              <a:scene3d>
                <a:camera prst="orthographicFront" fov="0">
                  <a:rot lat="0" lon="0" rev="0"/>
                </a:camera>
                <a:lightRig rig="glow" dir="t">
                  <a:rot lat="0" lon="0" rev="6360000"/>
                </a:lightRig>
              </a:scene3d>
              <a:sp3d prstMaterial="flat">
                <a:contourClr>
                  <a:srgbClr val="FF8C00">
                    <a:satMod val="300000"/>
                  </a:srgbClr>
                </a:contourClr>
              </a:sp3d>
            </p:spPr>
            <p:txBody>
              <a:bodyPr vert="horz" wrap="square" lIns="33616" tIns="67232" rIns="33616" bIns="67232" numCol="1" rtlCol="0" anchor="ctr" anchorCtr="0" compatLnSpc="1">
                <a:prstTxWarp prst="textNoShape">
                  <a:avLst/>
                </a:prstTxWarp>
                <a:noAutofit/>
              </a:bodyPr>
              <a:lstStyle/>
              <a:p>
                <a:pPr marL="0" marR="0" lvl="0" indent="0" algn="ctr" defTabSz="672358" eaLnBrk="1" fontAlgn="auto" latinLnBrk="0" hangingPunct="1">
                  <a:lnSpc>
                    <a:spcPct val="100000"/>
                  </a:lnSpc>
                  <a:spcBef>
                    <a:spcPts val="441"/>
                  </a:spcBef>
                  <a:spcAft>
                    <a:spcPts val="0"/>
                  </a:spcAft>
                  <a:buClr>
                    <a:srgbClr val="FFFFFF"/>
                  </a:buClr>
                  <a:buSzPct val="90000"/>
                  <a:buFontTx/>
                  <a:buNone/>
                  <a:tabLst/>
                  <a:defRPr/>
                </a:pPr>
                <a:endParaRPr kumimoji="0" lang="en-US" sz="1324" b="0" i="0" u="none" strike="noStrike" kern="0" cap="none" spc="0" normalizeH="0" baseline="0" noProof="0" dirty="0" smtClean="0">
                  <a:ln>
                    <a:noFill/>
                  </a:ln>
                  <a:gradFill>
                    <a:gsLst>
                      <a:gs pos="0">
                        <a:srgbClr val="FFFFFF"/>
                      </a:gs>
                      <a:gs pos="86000">
                        <a:srgbClr val="FFFFFF"/>
                      </a:gs>
                    </a:gsLst>
                    <a:lin ang="5400000" scaled="0"/>
                  </a:gradFill>
                  <a:effectLst/>
                  <a:uLnTx/>
                  <a:uFillTx/>
                  <a:latin typeface="微軟正黑體" pitchFamily="34" charset="-120"/>
                  <a:ea typeface="微軟正黑體" pitchFamily="34" charset="-120"/>
                  <a:cs typeface="+mn-cs"/>
                </a:endParaRPr>
              </a:p>
            </p:txBody>
          </p:sp>
        </p:grpSp>
        <p:grpSp>
          <p:nvGrpSpPr>
            <p:cNvPr id="55" name="Group 54"/>
            <p:cNvGrpSpPr/>
            <p:nvPr/>
          </p:nvGrpSpPr>
          <p:grpSpPr>
            <a:xfrm>
              <a:off x="1746961" y="3782846"/>
              <a:ext cx="7822854" cy="1187336"/>
              <a:chOff x="365360" y="3635471"/>
              <a:chExt cx="5385816" cy="1260069"/>
            </a:xfrm>
            <a:solidFill>
              <a:srgbClr val="FF8C00">
                <a:lumMod val="60000"/>
                <a:lumOff val="40000"/>
              </a:srgbClr>
            </a:solidFill>
          </p:grpSpPr>
          <p:sp>
            <p:nvSpPr>
              <p:cNvPr id="63" name="Rectangle 62"/>
              <p:cNvSpPr/>
              <p:nvPr>
                <p:custDataLst>
                  <p:tags r:id="rId9"/>
                </p:custDataLst>
              </p:nvPr>
            </p:nvSpPr>
            <p:spPr bwMode="auto">
              <a:xfrm>
                <a:off x="454978" y="3635471"/>
                <a:ext cx="2468880" cy="1190075"/>
              </a:xfrm>
              <a:prstGeom prst="rect">
                <a:avLst/>
              </a:prstGeom>
              <a:grpFill/>
              <a:ln w="12700">
                <a:noFill/>
                <a:headEnd type="none" w="med" len="med"/>
                <a:tailEnd type="none" w="med" len="med"/>
              </a:ln>
              <a:effectLst/>
              <a:scene3d>
                <a:camera prst="orthographicFront" fov="0">
                  <a:rot lat="0" lon="0" rev="0"/>
                </a:camera>
                <a:lightRig rig="glow" dir="t">
                  <a:rot lat="0" lon="0" rev="6360000"/>
                </a:lightRig>
              </a:scene3d>
              <a:sp3d prstMaterial="flat">
                <a:contourClr>
                  <a:srgbClr val="FF8C00">
                    <a:satMod val="300000"/>
                  </a:srgbClr>
                </a:contourClr>
              </a:sp3d>
            </p:spPr>
            <p:txBody>
              <a:bodyPr vert="horz" wrap="square" lIns="33616" tIns="67232" rIns="33616" bIns="67232" numCol="1" rtlCol="0" anchor="ctr" anchorCtr="0" compatLnSpc="1">
                <a:prstTxWarp prst="textNoShape">
                  <a:avLst/>
                </a:prstTxWarp>
                <a:noAutofit/>
              </a:bodyPr>
              <a:lstStyle/>
              <a:p>
                <a:pPr marL="0" marR="0" lvl="0" indent="0" algn="ctr" defTabSz="672358" eaLnBrk="1" fontAlgn="auto" latinLnBrk="0" hangingPunct="1">
                  <a:lnSpc>
                    <a:spcPct val="100000"/>
                  </a:lnSpc>
                  <a:spcBef>
                    <a:spcPts val="441"/>
                  </a:spcBef>
                  <a:spcAft>
                    <a:spcPts val="0"/>
                  </a:spcAft>
                  <a:buClr>
                    <a:srgbClr val="FFFFFF"/>
                  </a:buClr>
                  <a:buSzPct val="90000"/>
                  <a:buFontTx/>
                  <a:buNone/>
                  <a:tabLst/>
                  <a:defRPr/>
                </a:pPr>
                <a:r>
                  <a:rPr kumimoji="0" lang="en-US" sz="2059" b="1" i="0" u="none" strike="noStrike" kern="0" cap="none" spc="0" normalizeH="0" baseline="0" noProof="0" dirty="0" smtClean="0">
                    <a:ln>
                      <a:noFill/>
                    </a:ln>
                    <a:solidFill>
                      <a:srgbClr val="000000"/>
                    </a:solidFill>
                    <a:effectLst/>
                    <a:uLnTx/>
                    <a:uFillTx/>
                    <a:latin typeface="微軟正黑體" pitchFamily="34" charset="-120"/>
                    <a:ea typeface="微軟正黑體" pitchFamily="34" charset="-120"/>
                    <a:cs typeface="Arial Unicode MS" pitchFamily="34" charset="-128"/>
                  </a:rPr>
                  <a:t>BI </a:t>
                </a:r>
                <a:r>
                  <a:rPr kumimoji="0" lang="en-US" sz="2059" b="1" i="0" u="none" strike="noStrike" kern="0" cap="none" spc="0" normalizeH="0" baseline="0" noProof="0" dirty="0" err="1" smtClean="0">
                    <a:ln>
                      <a:noFill/>
                    </a:ln>
                    <a:solidFill>
                      <a:srgbClr val="000000"/>
                    </a:solidFill>
                    <a:effectLst/>
                    <a:uLnTx/>
                    <a:uFillTx/>
                    <a:latin typeface="微軟正黑體" pitchFamily="34" charset="-120"/>
                    <a:ea typeface="微軟正黑體" pitchFamily="34" charset="-120"/>
                    <a:cs typeface="Arial Unicode MS" pitchFamily="34" charset="-128"/>
                  </a:rPr>
                  <a:t>商業智慧版</a:t>
                </a:r>
                <a:endParaRPr kumimoji="0" lang="en-US" sz="2059" b="1" i="0" u="none" strike="noStrike" kern="0" cap="none" spc="0" normalizeH="0" baseline="0" noProof="0" dirty="0" smtClean="0">
                  <a:ln>
                    <a:noFill/>
                  </a:ln>
                  <a:solidFill>
                    <a:srgbClr val="000000"/>
                  </a:solidFill>
                  <a:effectLst/>
                  <a:uLnTx/>
                  <a:uFillTx/>
                  <a:latin typeface="微軟正黑體" pitchFamily="34" charset="-120"/>
                  <a:ea typeface="微軟正黑體" pitchFamily="34" charset="-120"/>
                  <a:cs typeface="Arial Unicode MS" pitchFamily="34" charset="-128"/>
                </a:endParaRPr>
              </a:p>
            </p:txBody>
          </p:sp>
          <p:sp>
            <p:nvSpPr>
              <p:cNvPr id="64" name="Rectangle 63"/>
              <p:cNvSpPr/>
              <p:nvPr/>
            </p:nvSpPr>
            <p:spPr bwMode="auto">
              <a:xfrm>
                <a:off x="4472567" y="3635471"/>
                <a:ext cx="1188720" cy="1190075"/>
              </a:xfrm>
              <a:prstGeom prst="rect">
                <a:avLst/>
              </a:prstGeom>
              <a:grpFill/>
              <a:ln w="12700">
                <a:noFill/>
                <a:headEnd type="none" w="med" len="med"/>
                <a:tailEnd type="none" w="med" len="med"/>
              </a:ln>
              <a:effectLst/>
              <a:scene3d>
                <a:camera prst="orthographicFront" fov="0">
                  <a:rot lat="0" lon="0" rev="0"/>
                </a:camera>
                <a:lightRig rig="glow" dir="t">
                  <a:rot lat="0" lon="0" rev="6360000"/>
                </a:lightRig>
              </a:scene3d>
              <a:sp3d prstMaterial="flat">
                <a:contourClr>
                  <a:srgbClr val="FF8C00">
                    <a:satMod val="300000"/>
                  </a:srgbClr>
                </a:contourClr>
              </a:sp3d>
            </p:spPr>
            <p:txBody>
              <a:bodyPr vert="horz" wrap="square" lIns="33616" tIns="67232" rIns="33616" bIns="67232" numCol="1" rtlCol="0" anchor="ctr" anchorCtr="0" compatLnSpc="1">
                <a:prstTxWarp prst="textNoShape">
                  <a:avLst/>
                </a:prstTxWarp>
                <a:noAutofit/>
              </a:bodyPr>
              <a:lstStyle/>
              <a:p>
                <a:pPr marL="0" marR="0" lvl="0" indent="0" algn="ctr" defTabSz="672358" eaLnBrk="1" fontAlgn="auto" latinLnBrk="0" hangingPunct="1">
                  <a:lnSpc>
                    <a:spcPct val="100000"/>
                  </a:lnSpc>
                  <a:spcBef>
                    <a:spcPts val="441"/>
                  </a:spcBef>
                  <a:spcAft>
                    <a:spcPts val="0"/>
                  </a:spcAft>
                  <a:buClr>
                    <a:srgbClr val="FFFFFF"/>
                  </a:buClr>
                  <a:buSzPct val="90000"/>
                  <a:buFontTx/>
                  <a:buNone/>
                  <a:tabLst/>
                  <a:defRPr/>
                </a:pPr>
                <a:endParaRPr kumimoji="0" lang="en-US" sz="1324" b="0" i="0" u="none" strike="noStrike" kern="0" cap="none" spc="0" normalizeH="0" baseline="0" noProof="0" dirty="0" smtClean="0">
                  <a:ln>
                    <a:noFill/>
                  </a:ln>
                  <a:gradFill>
                    <a:gsLst>
                      <a:gs pos="0">
                        <a:srgbClr val="FFFFFF"/>
                      </a:gs>
                      <a:gs pos="86000">
                        <a:srgbClr val="FFFFFF"/>
                      </a:gs>
                    </a:gsLst>
                    <a:lin ang="5400000" scaled="0"/>
                  </a:gradFill>
                  <a:effectLst/>
                  <a:uLnTx/>
                  <a:uFillTx/>
                  <a:latin typeface="微軟正黑體" pitchFamily="34" charset="-120"/>
                  <a:ea typeface="微軟正黑體" pitchFamily="34" charset="-120"/>
                  <a:cs typeface="+mn-cs"/>
                </a:endParaRPr>
              </a:p>
            </p:txBody>
          </p:sp>
          <p:sp>
            <p:nvSpPr>
              <p:cNvPr id="65" name="Rectangle 64"/>
              <p:cNvSpPr/>
              <p:nvPr/>
            </p:nvSpPr>
            <p:spPr bwMode="auto">
              <a:xfrm>
                <a:off x="3169119" y="3635471"/>
                <a:ext cx="1188720" cy="1190075"/>
              </a:xfrm>
              <a:prstGeom prst="rect">
                <a:avLst/>
              </a:prstGeom>
              <a:grpFill/>
              <a:ln w="12700">
                <a:noFill/>
                <a:headEnd type="none" w="med" len="med"/>
                <a:tailEnd type="none" w="med" len="med"/>
              </a:ln>
              <a:effectLst/>
              <a:scene3d>
                <a:camera prst="orthographicFront" fov="0">
                  <a:rot lat="0" lon="0" rev="0"/>
                </a:camera>
                <a:lightRig rig="glow" dir="t">
                  <a:rot lat="0" lon="0" rev="6360000"/>
                </a:lightRig>
              </a:scene3d>
              <a:sp3d prstMaterial="flat">
                <a:contourClr>
                  <a:srgbClr val="FF8C00">
                    <a:satMod val="300000"/>
                  </a:srgbClr>
                </a:contourClr>
              </a:sp3d>
            </p:spPr>
            <p:txBody>
              <a:bodyPr vert="horz" wrap="square" lIns="33616" tIns="67232" rIns="33616" bIns="67232" numCol="1" rtlCol="0" anchor="ctr" anchorCtr="0" compatLnSpc="1">
                <a:prstTxWarp prst="textNoShape">
                  <a:avLst/>
                </a:prstTxWarp>
                <a:noAutofit/>
              </a:bodyPr>
              <a:lstStyle/>
              <a:p>
                <a:pPr marL="0" marR="0" lvl="0" indent="0" algn="ctr" defTabSz="672358" eaLnBrk="1" fontAlgn="auto" latinLnBrk="0" hangingPunct="1">
                  <a:lnSpc>
                    <a:spcPct val="100000"/>
                  </a:lnSpc>
                  <a:spcBef>
                    <a:spcPts val="441"/>
                  </a:spcBef>
                  <a:spcAft>
                    <a:spcPts val="0"/>
                  </a:spcAft>
                  <a:buClr>
                    <a:srgbClr val="FFFFFF"/>
                  </a:buClr>
                  <a:buSzPct val="90000"/>
                  <a:buFontTx/>
                  <a:buNone/>
                  <a:tabLst/>
                  <a:defRPr/>
                </a:pPr>
                <a:endParaRPr kumimoji="0" lang="en-US" sz="1324" b="0" i="0" u="none" strike="noStrike" kern="0" cap="none" spc="0" normalizeH="0" baseline="0" noProof="0" dirty="0" smtClean="0">
                  <a:ln>
                    <a:noFill/>
                  </a:ln>
                  <a:gradFill>
                    <a:gsLst>
                      <a:gs pos="0">
                        <a:srgbClr val="FFFFFF"/>
                      </a:gs>
                      <a:gs pos="86000">
                        <a:srgbClr val="FFFFFF"/>
                      </a:gs>
                    </a:gsLst>
                    <a:lin ang="5400000" scaled="0"/>
                  </a:gradFill>
                  <a:effectLst/>
                  <a:uLnTx/>
                  <a:uFillTx/>
                  <a:latin typeface="微軟正黑體" pitchFamily="34" charset="-120"/>
                  <a:ea typeface="微軟正黑體" pitchFamily="34" charset="-120"/>
                  <a:cs typeface="+mn-cs"/>
                </a:endParaRPr>
              </a:p>
            </p:txBody>
          </p:sp>
          <p:cxnSp>
            <p:nvCxnSpPr>
              <p:cNvPr id="66" name="Straight Connector 10"/>
              <p:cNvCxnSpPr/>
              <p:nvPr>
                <p:custDataLst>
                  <p:tags r:id="rId10"/>
                </p:custDataLst>
              </p:nvPr>
            </p:nvCxnSpPr>
            <p:spPr>
              <a:xfrm>
                <a:off x="365360" y="4895540"/>
                <a:ext cx="5385816" cy="0"/>
              </a:xfrm>
              <a:prstGeom prst="line">
                <a:avLst/>
              </a:prstGeom>
              <a:grpFill/>
              <a:ln w="19050">
                <a:solidFill>
                  <a:srgbClr val="000000">
                    <a:alpha val="69000"/>
                  </a:srgbClr>
                </a:solidFill>
                <a:prstDash val="sysDash"/>
                <a:headEnd type="none" w="med" len="med"/>
                <a:tailEnd type="none" w="med" len="med"/>
              </a:ln>
              <a:effectLst/>
              <a:scene3d>
                <a:camera prst="orthographicFront" fov="0">
                  <a:rot lat="0" lon="0" rev="0"/>
                </a:camera>
                <a:lightRig rig="glow" dir="t">
                  <a:rot lat="0" lon="0" rev="6360000"/>
                </a:lightRig>
              </a:scene3d>
              <a:sp3d prstMaterial="flat">
                <a:contourClr>
                  <a:srgbClr val="FF8C00">
                    <a:satMod val="300000"/>
                  </a:srgbClr>
                </a:contourClr>
              </a:sp3d>
            </p:spPr>
          </p:cxnSp>
        </p:grpSp>
        <p:grpSp>
          <p:nvGrpSpPr>
            <p:cNvPr id="56" name="Group 55"/>
            <p:cNvGrpSpPr/>
            <p:nvPr/>
          </p:nvGrpSpPr>
          <p:grpSpPr>
            <a:xfrm>
              <a:off x="1835028" y="5161241"/>
              <a:ext cx="7588246" cy="965163"/>
              <a:chOff x="453427" y="4999690"/>
              <a:chExt cx="5206309" cy="1024287"/>
            </a:xfrm>
            <a:solidFill>
              <a:srgbClr val="FF8C00">
                <a:lumMod val="60000"/>
                <a:lumOff val="40000"/>
              </a:srgbClr>
            </a:solidFill>
          </p:grpSpPr>
          <p:sp>
            <p:nvSpPr>
              <p:cNvPr id="57" name="Rectangle 56"/>
              <p:cNvSpPr/>
              <p:nvPr>
                <p:custDataLst>
                  <p:tags r:id="rId8"/>
                </p:custDataLst>
              </p:nvPr>
            </p:nvSpPr>
            <p:spPr bwMode="auto">
              <a:xfrm>
                <a:off x="453427" y="4999690"/>
                <a:ext cx="2468880" cy="1024287"/>
              </a:xfrm>
              <a:prstGeom prst="rect">
                <a:avLst/>
              </a:prstGeom>
              <a:grpFill/>
              <a:ln w="12700">
                <a:noFill/>
                <a:headEnd type="none" w="med" len="med"/>
                <a:tailEnd type="none" w="med" len="med"/>
              </a:ln>
              <a:effectLst/>
              <a:scene3d>
                <a:camera prst="orthographicFront" fov="0">
                  <a:rot lat="0" lon="0" rev="0"/>
                </a:camera>
                <a:lightRig rig="glow" dir="t">
                  <a:rot lat="0" lon="0" rev="6360000"/>
                </a:lightRig>
              </a:scene3d>
              <a:sp3d prstMaterial="flat">
                <a:contourClr>
                  <a:srgbClr val="FF8C00">
                    <a:satMod val="300000"/>
                  </a:srgbClr>
                </a:contourClr>
              </a:sp3d>
            </p:spPr>
            <p:txBody>
              <a:bodyPr vert="horz" wrap="square" lIns="33616" tIns="67232" rIns="33616" bIns="67232" numCol="1" rtlCol="0" anchor="ctr" anchorCtr="0" compatLnSpc="1">
                <a:prstTxWarp prst="textNoShape">
                  <a:avLst/>
                </a:prstTxWarp>
                <a:noAutofit/>
              </a:bodyPr>
              <a:lstStyle/>
              <a:p>
                <a:pPr marL="0" marR="0" lvl="0" indent="0" algn="ctr" defTabSz="672358" eaLnBrk="1" fontAlgn="base" latinLnBrk="0" hangingPunct="1">
                  <a:lnSpc>
                    <a:spcPct val="100000"/>
                  </a:lnSpc>
                  <a:spcBef>
                    <a:spcPts val="441"/>
                  </a:spcBef>
                  <a:spcAft>
                    <a:spcPts val="0"/>
                  </a:spcAft>
                  <a:buClr>
                    <a:srgbClr val="FFFFFF"/>
                  </a:buClr>
                  <a:buSzPct val="90000"/>
                  <a:buFontTx/>
                  <a:buNone/>
                  <a:tabLst/>
                  <a:defRPr/>
                </a:pPr>
                <a:r>
                  <a:rPr kumimoji="0" lang="en-US" sz="2059" b="1" i="0" u="none" strike="noStrike" kern="0" cap="none" spc="0" normalizeH="0" baseline="0" noProof="0" dirty="0" smtClean="0">
                    <a:ln>
                      <a:noFill/>
                    </a:ln>
                    <a:solidFill>
                      <a:srgbClr val="000000"/>
                    </a:solidFill>
                    <a:effectLst/>
                    <a:uLnTx/>
                    <a:uFillTx/>
                    <a:latin typeface="微軟正黑體" pitchFamily="34" charset="-120"/>
                    <a:ea typeface="微軟正黑體" pitchFamily="34" charset="-120"/>
                    <a:cs typeface="Arial Unicode MS" pitchFamily="34" charset="-128"/>
                  </a:rPr>
                  <a:t>Standard </a:t>
                </a:r>
                <a:r>
                  <a:rPr kumimoji="0" lang="en-US" sz="2059" b="1" i="0" u="none" strike="noStrike" kern="0" cap="none" spc="0" normalizeH="0" baseline="0" noProof="0" dirty="0" err="1" smtClean="0">
                    <a:ln>
                      <a:noFill/>
                    </a:ln>
                    <a:solidFill>
                      <a:srgbClr val="000000"/>
                    </a:solidFill>
                    <a:effectLst/>
                    <a:uLnTx/>
                    <a:uFillTx/>
                    <a:latin typeface="微軟正黑體" pitchFamily="34" charset="-120"/>
                    <a:ea typeface="微軟正黑體" pitchFamily="34" charset="-120"/>
                    <a:cs typeface="Arial Unicode MS" pitchFamily="34" charset="-128"/>
                  </a:rPr>
                  <a:t>標準版</a:t>
                </a:r>
                <a:endParaRPr kumimoji="0" lang="en-US" sz="2059" b="1" i="0" u="none" strike="noStrike" kern="0" cap="none" spc="0" normalizeH="0" baseline="0" noProof="0" dirty="0" smtClean="0">
                  <a:ln>
                    <a:noFill/>
                  </a:ln>
                  <a:solidFill>
                    <a:srgbClr val="000000"/>
                  </a:solidFill>
                  <a:effectLst/>
                  <a:uLnTx/>
                  <a:uFillTx/>
                  <a:latin typeface="微軟正黑體" pitchFamily="34" charset="-120"/>
                  <a:ea typeface="微軟正黑體" pitchFamily="34" charset="-120"/>
                  <a:cs typeface="Arial Unicode MS" pitchFamily="34" charset="-128"/>
                </a:endParaRPr>
              </a:p>
            </p:txBody>
          </p:sp>
          <p:sp>
            <p:nvSpPr>
              <p:cNvPr id="58" name="Rectangle 57"/>
              <p:cNvSpPr/>
              <p:nvPr/>
            </p:nvSpPr>
            <p:spPr bwMode="auto">
              <a:xfrm>
                <a:off x="4471016" y="4999690"/>
                <a:ext cx="1188720" cy="1024287"/>
              </a:xfrm>
              <a:prstGeom prst="rect">
                <a:avLst/>
              </a:prstGeom>
              <a:grpFill/>
              <a:ln w="12700">
                <a:noFill/>
                <a:headEnd type="none" w="med" len="med"/>
                <a:tailEnd type="none" w="med" len="med"/>
              </a:ln>
              <a:effectLst/>
              <a:scene3d>
                <a:camera prst="orthographicFront" fov="0">
                  <a:rot lat="0" lon="0" rev="0"/>
                </a:camera>
                <a:lightRig rig="glow" dir="t">
                  <a:rot lat="0" lon="0" rev="6360000"/>
                </a:lightRig>
              </a:scene3d>
              <a:sp3d prstMaterial="flat">
                <a:contourClr>
                  <a:srgbClr val="FF8C00">
                    <a:satMod val="300000"/>
                  </a:srgbClr>
                </a:contourClr>
              </a:sp3d>
            </p:spPr>
            <p:txBody>
              <a:bodyPr vert="horz" wrap="square" lIns="33616" tIns="67232" rIns="33616" bIns="67232" numCol="1" rtlCol="0" anchor="ctr" anchorCtr="0" compatLnSpc="1">
                <a:prstTxWarp prst="textNoShape">
                  <a:avLst/>
                </a:prstTxWarp>
                <a:noAutofit/>
              </a:bodyPr>
              <a:lstStyle/>
              <a:p>
                <a:pPr marL="0" marR="0" lvl="0" indent="0" algn="ctr" defTabSz="672358" eaLnBrk="1" fontAlgn="auto" latinLnBrk="0" hangingPunct="1">
                  <a:lnSpc>
                    <a:spcPct val="100000"/>
                  </a:lnSpc>
                  <a:spcBef>
                    <a:spcPts val="441"/>
                  </a:spcBef>
                  <a:spcAft>
                    <a:spcPts val="0"/>
                  </a:spcAft>
                  <a:buClr>
                    <a:srgbClr val="FFFFFF"/>
                  </a:buClr>
                  <a:buSzPct val="90000"/>
                  <a:buFontTx/>
                  <a:buNone/>
                  <a:tabLst/>
                  <a:defRPr/>
                </a:pPr>
                <a:endParaRPr kumimoji="0" lang="en-US" sz="1324" b="0" i="0" u="none" strike="noStrike" kern="0" cap="none" spc="0" normalizeH="0" baseline="0" noProof="0" dirty="0" smtClean="0">
                  <a:ln>
                    <a:noFill/>
                  </a:ln>
                  <a:solidFill>
                    <a:srgbClr val="000000"/>
                  </a:solidFill>
                  <a:effectLst/>
                  <a:uLnTx/>
                  <a:uFillTx/>
                  <a:latin typeface="微軟正黑體" pitchFamily="34" charset="-120"/>
                  <a:ea typeface="微軟正黑體" pitchFamily="34" charset="-120"/>
                  <a:cs typeface="+mn-cs"/>
                </a:endParaRPr>
              </a:p>
            </p:txBody>
          </p:sp>
          <p:sp>
            <p:nvSpPr>
              <p:cNvPr id="59" name="Rectangle 58"/>
              <p:cNvSpPr/>
              <p:nvPr/>
            </p:nvSpPr>
            <p:spPr bwMode="auto">
              <a:xfrm>
                <a:off x="3167568" y="4999690"/>
                <a:ext cx="1188720" cy="1024287"/>
              </a:xfrm>
              <a:prstGeom prst="rect">
                <a:avLst/>
              </a:prstGeom>
              <a:grpFill/>
              <a:ln w="12700">
                <a:noFill/>
                <a:headEnd type="none" w="med" len="med"/>
                <a:tailEnd type="none" w="med" len="med"/>
              </a:ln>
              <a:effectLst/>
              <a:scene3d>
                <a:camera prst="orthographicFront" fov="0">
                  <a:rot lat="0" lon="0" rev="0"/>
                </a:camera>
                <a:lightRig rig="glow" dir="t">
                  <a:rot lat="0" lon="0" rev="6360000"/>
                </a:lightRig>
              </a:scene3d>
              <a:sp3d prstMaterial="flat">
                <a:contourClr>
                  <a:srgbClr val="FF8C00">
                    <a:satMod val="300000"/>
                  </a:srgbClr>
                </a:contourClr>
              </a:sp3d>
            </p:spPr>
            <p:txBody>
              <a:bodyPr vert="horz" wrap="square" lIns="33616" tIns="67232" rIns="33616" bIns="67232" numCol="1" rtlCol="0" anchor="ctr" anchorCtr="0" compatLnSpc="1">
                <a:prstTxWarp prst="textNoShape">
                  <a:avLst/>
                </a:prstTxWarp>
                <a:noAutofit/>
              </a:bodyPr>
              <a:lstStyle/>
              <a:p>
                <a:pPr marL="0" marR="0" lvl="0" indent="0" algn="ctr" defTabSz="672358" eaLnBrk="1" fontAlgn="auto" latinLnBrk="0" hangingPunct="1">
                  <a:lnSpc>
                    <a:spcPct val="100000"/>
                  </a:lnSpc>
                  <a:spcBef>
                    <a:spcPts val="441"/>
                  </a:spcBef>
                  <a:spcAft>
                    <a:spcPts val="0"/>
                  </a:spcAft>
                  <a:buClr>
                    <a:srgbClr val="FFFFFF"/>
                  </a:buClr>
                  <a:buSzPct val="90000"/>
                  <a:buFontTx/>
                  <a:buNone/>
                  <a:tabLst/>
                  <a:defRPr/>
                </a:pPr>
                <a:endParaRPr kumimoji="0" lang="en-US" sz="1324" b="0" i="0" u="none" strike="noStrike" kern="0" cap="none" spc="0" normalizeH="0" baseline="0" noProof="0" dirty="0" smtClean="0">
                  <a:ln>
                    <a:noFill/>
                  </a:ln>
                  <a:solidFill>
                    <a:srgbClr val="000000"/>
                  </a:solidFill>
                  <a:effectLst/>
                  <a:uLnTx/>
                  <a:uFillTx/>
                  <a:latin typeface="微軟正黑體" pitchFamily="34" charset="-120"/>
                  <a:ea typeface="微軟正黑體" pitchFamily="34" charset="-120"/>
                  <a:cs typeface="+mn-cs"/>
                </a:endParaRPr>
              </a:p>
            </p:txBody>
          </p:sp>
        </p:grpSp>
      </p:grpSp>
      <p:pic>
        <p:nvPicPr>
          <p:cNvPr id="74" name="Picture 4" descr="\\MAGNUM\Projects\Microsoft\Cloud Power FY12\Design\ICONS_PNG\Check_mark.png"/>
          <p:cNvPicPr>
            <a:picLocks noChangeAspect="1" noChangeArrowheads="1"/>
          </p:cNvPicPr>
          <p:nvPr/>
        </p:nvPicPr>
        <p:blipFill>
          <a:blip r:embed="rId16" cstate="email">
            <a:lum bright="100000"/>
            <a:extLst>
              <a:ext uri="{28A0092B-C50C-407E-A947-70E740481C1C}">
                <a14:useLocalDpi xmlns:a14="http://schemas.microsoft.com/office/drawing/2010/main"/>
              </a:ext>
            </a:extLst>
          </a:blip>
          <a:srcRect/>
          <a:stretch>
            <a:fillRect/>
          </a:stretch>
        </p:blipFill>
        <p:spPr bwMode="auto">
          <a:xfrm>
            <a:off x="4462637" y="3784113"/>
            <a:ext cx="864227" cy="558721"/>
          </a:xfrm>
          <a:prstGeom prst="rect">
            <a:avLst/>
          </a:prstGeom>
          <a:solidFill>
            <a:srgbClr val="FF8C00">
              <a:lumMod val="60000"/>
              <a:lumOff val="40000"/>
            </a:srgbClr>
          </a:solidFill>
        </p:spPr>
      </p:pic>
      <p:pic>
        <p:nvPicPr>
          <p:cNvPr id="75" name="Picture 4" descr="\\MAGNUM\Projects\Microsoft\Cloud Power FY12\Design\ICONS_PNG\Check_mark.png"/>
          <p:cNvPicPr>
            <a:picLocks noChangeAspect="1" noChangeArrowheads="1"/>
          </p:cNvPicPr>
          <p:nvPr/>
        </p:nvPicPr>
        <p:blipFill>
          <a:blip r:embed="rId16" cstate="email">
            <a:lum bright="100000"/>
            <a:extLst>
              <a:ext uri="{28A0092B-C50C-407E-A947-70E740481C1C}">
                <a14:useLocalDpi xmlns:a14="http://schemas.microsoft.com/office/drawing/2010/main"/>
              </a:ext>
            </a:extLst>
          </a:blip>
          <a:srcRect/>
          <a:stretch>
            <a:fillRect/>
          </a:stretch>
        </p:blipFill>
        <p:spPr bwMode="auto">
          <a:xfrm>
            <a:off x="4484325" y="4734773"/>
            <a:ext cx="864227" cy="558721"/>
          </a:xfrm>
          <a:prstGeom prst="rect">
            <a:avLst/>
          </a:prstGeom>
          <a:solidFill>
            <a:srgbClr val="FF8C00">
              <a:lumMod val="60000"/>
              <a:lumOff val="40000"/>
            </a:srgbClr>
          </a:solidFill>
        </p:spPr>
      </p:pic>
      <p:pic>
        <p:nvPicPr>
          <p:cNvPr id="76" name="Picture 4" descr="\\MAGNUM\Projects\Microsoft\Cloud Power FY12\Design\ICONS_PNG\Check_mark.png"/>
          <p:cNvPicPr>
            <a:picLocks noChangeAspect="1" noChangeArrowheads="1"/>
          </p:cNvPicPr>
          <p:nvPr/>
        </p:nvPicPr>
        <p:blipFill>
          <a:blip r:embed="rId16" cstate="email">
            <a:lum bright="100000"/>
            <a:extLst>
              <a:ext uri="{28A0092B-C50C-407E-A947-70E740481C1C}">
                <a14:useLocalDpi xmlns:a14="http://schemas.microsoft.com/office/drawing/2010/main"/>
              </a:ext>
            </a:extLst>
          </a:blip>
          <a:srcRect/>
          <a:stretch>
            <a:fillRect/>
          </a:stretch>
        </p:blipFill>
        <p:spPr bwMode="auto">
          <a:xfrm>
            <a:off x="5873410" y="4727912"/>
            <a:ext cx="864227" cy="558721"/>
          </a:xfrm>
          <a:prstGeom prst="rect">
            <a:avLst/>
          </a:prstGeom>
          <a:solidFill>
            <a:srgbClr val="FF8C00">
              <a:lumMod val="60000"/>
              <a:lumOff val="40000"/>
            </a:srgbClr>
          </a:solidFill>
        </p:spPr>
      </p:pic>
      <p:pic>
        <p:nvPicPr>
          <p:cNvPr id="77" name="Picture 4" descr="\\MAGNUM\Projects\Microsoft\Cloud Power FY12\Design\ICONS_PNG\Check_mark.png"/>
          <p:cNvPicPr>
            <a:picLocks noChangeAspect="1" noChangeArrowheads="1"/>
          </p:cNvPicPr>
          <p:nvPr/>
        </p:nvPicPr>
        <p:blipFill>
          <a:blip r:embed="rId17" cstate="email">
            <a:lum bright="100000"/>
            <a:extLst>
              <a:ext uri="{28A0092B-C50C-407E-A947-70E740481C1C}">
                <a14:useLocalDpi xmlns:a14="http://schemas.microsoft.com/office/drawing/2010/main"/>
              </a:ext>
            </a:extLst>
          </a:blip>
          <a:srcRect/>
          <a:stretch>
            <a:fillRect/>
          </a:stretch>
        </p:blipFill>
        <p:spPr bwMode="auto">
          <a:xfrm>
            <a:off x="5845311" y="2862667"/>
            <a:ext cx="892543" cy="531752"/>
          </a:xfrm>
          <a:prstGeom prst="rect">
            <a:avLst/>
          </a:prstGeom>
          <a:noFill/>
        </p:spPr>
      </p:pic>
    </p:spTree>
    <p:extLst>
      <p:ext uri="{BB962C8B-B14F-4D97-AF65-F5344CB8AC3E}">
        <p14:creationId xmlns:p14="http://schemas.microsoft.com/office/powerpoint/2010/main" val="20277839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3389" y="1067367"/>
            <a:ext cx="8740142" cy="695856"/>
          </a:xfrm>
        </p:spPr>
        <p:txBody>
          <a:bodyPr/>
          <a:lstStyle/>
          <a:p>
            <a:r>
              <a:rPr lang="zh-TW" altLang="en-US" sz="2647" b="1" spc="-75" dirty="0">
                <a:ln w="3175">
                  <a:noFill/>
                </a:ln>
                <a:solidFill>
                  <a:schemeClr val="tx1"/>
                </a:solidFill>
                <a:latin typeface="微軟正黑體" pitchFamily="34" charset="-120"/>
                <a:ea typeface="微軟正黑體" pitchFamily="34" charset="-120"/>
                <a:cs typeface="Segoe UI" pitchFamily="34" charset="0"/>
              </a:rPr>
              <a:t>有 </a:t>
            </a:r>
            <a:r>
              <a:rPr lang="en-US" sz="2647" b="1" spc="-75" dirty="0">
                <a:ln w="3175">
                  <a:noFill/>
                </a:ln>
                <a:solidFill>
                  <a:schemeClr val="tx1"/>
                </a:solidFill>
                <a:latin typeface="微軟正黑體" pitchFamily="34" charset="-120"/>
                <a:ea typeface="微軟正黑體" pitchFamily="34" charset="-120"/>
                <a:cs typeface="Segoe UI" pitchFamily="34" charset="0"/>
              </a:rPr>
              <a:t>SA </a:t>
            </a:r>
            <a:r>
              <a:rPr lang="zh-TW" altLang="en-US" sz="2647" b="1" spc="-75" dirty="0">
                <a:ln w="3175">
                  <a:noFill/>
                </a:ln>
                <a:solidFill>
                  <a:schemeClr val="tx1"/>
                </a:solidFill>
                <a:latin typeface="微軟正黑體" pitchFamily="34" charset="-120"/>
                <a:ea typeface="微軟正黑體" pitchFamily="34" charset="-120"/>
                <a:cs typeface="Segoe UI" pitchFamily="34" charset="0"/>
              </a:rPr>
              <a:t>才有 </a:t>
            </a:r>
            <a:r>
              <a:rPr lang="en-US" sz="2647" b="1" spc="-75" dirty="0">
                <a:ln w="3175">
                  <a:noFill/>
                </a:ln>
                <a:solidFill>
                  <a:schemeClr val="tx1"/>
                </a:solidFill>
                <a:latin typeface="微軟正黑體" pitchFamily="34" charset="-120"/>
                <a:ea typeface="微軟正黑體" pitchFamily="34" charset="-120"/>
                <a:cs typeface="Segoe UI" pitchFamily="34" charset="0"/>
              </a:rPr>
              <a:t>SQL ‘Fail-Over Servers’ </a:t>
            </a:r>
            <a:r>
              <a:rPr lang="zh-TW" altLang="en-US" sz="2647" b="1" spc="-75" dirty="0">
                <a:ln w="3175">
                  <a:noFill/>
                </a:ln>
                <a:solidFill>
                  <a:schemeClr val="tx1"/>
                </a:solidFill>
                <a:latin typeface="微軟正黑體" pitchFamily="34" charset="-120"/>
                <a:ea typeface="微軟正黑體" pitchFamily="34" charset="-120"/>
                <a:cs typeface="Segoe UI" pitchFamily="34" charset="0"/>
              </a:rPr>
              <a:t>權利</a:t>
            </a:r>
          </a:p>
        </p:txBody>
      </p:sp>
      <p:sp>
        <p:nvSpPr>
          <p:cNvPr id="3" name="Rectangle 2"/>
          <p:cNvSpPr/>
          <p:nvPr/>
        </p:nvSpPr>
        <p:spPr bwMode="auto">
          <a:xfrm>
            <a:off x="5475120" y="1794735"/>
            <a:ext cx="3297554" cy="131774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67232" rIns="67232" bIns="67232" numCol="1" spcCol="0" rtlCol="0" fromWordArt="0" anchor="ctr" anchorCtr="0" forceAA="0" compatLnSpc="1">
            <a:prstTxWarp prst="textNoShape">
              <a:avLst/>
            </a:prstTxWarp>
            <a:noAutofit/>
          </a:bodyPr>
          <a:lstStyle/>
          <a:p>
            <a:pPr marL="210112" indent="-210112" defTabSz="685397" fontAlgn="base">
              <a:lnSpc>
                <a:spcPct val="90000"/>
              </a:lnSpc>
              <a:spcAft>
                <a:spcPts val="441"/>
              </a:spcAft>
              <a:buFont typeface="Arial" panose="020B0604020202020204" pitchFamily="34" charset="0"/>
              <a:buChar char="•"/>
            </a:pPr>
            <a:r>
              <a:rPr lang="zh-TW" altLang="en-US"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若 </a:t>
            </a:r>
            <a:r>
              <a:rPr lang="en-US" altLang="zh-TW"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Active</a:t>
            </a:r>
            <a:r>
              <a:rPr lang="zh-TW" altLang="en-US"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 </a:t>
            </a:r>
            <a:r>
              <a:rPr lang="en-US" altLang="zh-TW"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SQL</a:t>
            </a:r>
            <a:r>
              <a:rPr lang="zh-TW" altLang="en-US"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 </a:t>
            </a:r>
            <a:r>
              <a:rPr lang="en-US" altLang="zh-TW"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server </a:t>
            </a:r>
            <a:r>
              <a:rPr lang="zh-TW" altLang="en-US"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有授權，則 </a:t>
            </a:r>
            <a:r>
              <a:rPr lang="en-US"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Passive SQL server </a:t>
            </a:r>
            <a:r>
              <a:rPr lang="zh-TW" altLang="en-US"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在 </a:t>
            </a:r>
            <a:r>
              <a:rPr lang="en-US" altLang="zh-TW"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failover </a:t>
            </a:r>
            <a:r>
              <a:rPr lang="zh-TW" altLang="en-US"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的時候不須購買授權</a:t>
            </a:r>
            <a:endParaRPr lang="en-US" altLang="zh-TW"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endParaRPr>
          </a:p>
          <a:p>
            <a:pPr marL="210112" indent="-210112" defTabSz="685397" fontAlgn="base">
              <a:lnSpc>
                <a:spcPct val="90000"/>
              </a:lnSpc>
              <a:spcAft>
                <a:spcPts val="441"/>
              </a:spcAft>
              <a:buFont typeface="Arial" panose="020B0604020202020204" pitchFamily="34" charset="0"/>
              <a:buChar char="•"/>
            </a:pPr>
            <a:r>
              <a:rPr lang="zh-TW" altLang="en-US"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若 </a:t>
            </a:r>
            <a:r>
              <a:rPr lang="en-US" altLang="zh-TW"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Active</a:t>
            </a:r>
            <a:r>
              <a:rPr lang="zh-TW" altLang="en-US"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 </a:t>
            </a:r>
            <a:r>
              <a:rPr lang="en-US" altLang="zh-TW"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SQL</a:t>
            </a:r>
            <a:r>
              <a:rPr lang="zh-TW" altLang="en-US"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 </a:t>
            </a:r>
            <a:r>
              <a:rPr lang="en-US" altLang="zh-TW"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server </a:t>
            </a:r>
            <a:r>
              <a:rPr lang="zh-TW" altLang="en-US"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沒有 </a:t>
            </a:r>
            <a:r>
              <a:rPr lang="en-US" altLang="zh-TW"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SA</a:t>
            </a:r>
            <a:r>
              <a:rPr lang="zh-TW" altLang="en-US"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a:t>
            </a:r>
            <a:r>
              <a:rPr lang="en-US" altLang="zh-TW"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failover </a:t>
            </a:r>
            <a:r>
              <a:rPr lang="zh-TW" altLang="en-US"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的授權移轉必須遵守 </a:t>
            </a:r>
            <a:r>
              <a:rPr lang="en-US" altLang="zh-TW"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90 </a:t>
            </a:r>
            <a:r>
              <a:rPr lang="zh-TW" altLang="en-US"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天內不重複移轉的規範</a:t>
            </a:r>
            <a:endParaRPr lang="en-US"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endParaRPr>
          </a:p>
        </p:txBody>
      </p:sp>
      <p:sp>
        <p:nvSpPr>
          <p:cNvPr id="4" name="Rectangle 3"/>
          <p:cNvSpPr/>
          <p:nvPr/>
        </p:nvSpPr>
        <p:spPr bwMode="auto">
          <a:xfrm>
            <a:off x="5475120" y="3397720"/>
            <a:ext cx="3166976" cy="131774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67232" rIns="67232" bIns="67232" numCol="1" spcCol="0" rtlCol="0" fromWordArt="0" anchor="ctr" anchorCtr="0" forceAA="0" compatLnSpc="1">
            <a:prstTxWarp prst="textNoShape">
              <a:avLst/>
            </a:prstTxWarp>
            <a:noAutofit/>
          </a:bodyPr>
          <a:lstStyle/>
          <a:p>
            <a:pPr marL="210112" indent="-210112" defTabSz="685397" fontAlgn="base">
              <a:lnSpc>
                <a:spcPct val="90000"/>
              </a:lnSpc>
              <a:spcAft>
                <a:spcPts val="441"/>
              </a:spcAft>
              <a:buFont typeface="Arial" panose="020B0604020202020204" pitchFamily="34" charset="0"/>
              <a:buChar char="•"/>
            </a:pPr>
            <a:r>
              <a:rPr lang="en-US" altLang="zh-TW"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Active</a:t>
            </a:r>
            <a:r>
              <a:rPr lang="zh-TW" altLang="en-US"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 </a:t>
            </a:r>
            <a:r>
              <a:rPr lang="en-US" altLang="zh-TW"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SQL</a:t>
            </a:r>
            <a:r>
              <a:rPr lang="zh-TW" altLang="en-US"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 </a:t>
            </a:r>
            <a:r>
              <a:rPr lang="en-US" altLang="zh-TW"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server </a:t>
            </a:r>
            <a:r>
              <a:rPr lang="zh-TW" altLang="en-US"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必須有 </a:t>
            </a:r>
            <a:r>
              <a:rPr lang="en-US" altLang="zh-TW"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L+SA</a:t>
            </a:r>
            <a:r>
              <a:rPr lang="zh-TW" altLang="en-US"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a:t>
            </a:r>
            <a:r>
              <a:rPr lang="en-US" altLang="zh-TW"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Passive SQL server </a:t>
            </a:r>
            <a:r>
              <a:rPr lang="zh-TW" altLang="en-US"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才能在 </a:t>
            </a:r>
            <a:r>
              <a:rPr lang="en-US" altLang="zh-TW"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fail-over </a:t>
            </a:r>
            <a:r>
              <a:rPr lang="zh-TW" altLang="en-US"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時使用</a:t>
            </a:r>
            <a:endParaRPr lang="en-US" altLang="zh-TW" sz="1324" dirty="0">
              <a:ln>
                <a:solidFill>
                  <a:srgbClr val="FFFFFF">
                    <a:alpha val="0"/>
                  </a:srgbClr>
                </a:solidFill>
              </a:ln>
              <a:gradFill>
                <a:gsLst>
                  <a:gs pos="33028">
                    <a:srgbClr val="505050"/>
                  </a:gs>
                  <a:gs pos="57000">
                    <a:srgbClr val="505050"/>
                  </a:gs>
                </a:gsLst>
              </a:gradFill>
              <a:ea typeface="Segoe UI" pitchFamily="34" charset="0"/>
              <a:cs typeface="Segoe UI" pitchFamily="34" charset="0"/>
            </a:endParaRPr>
          </a:p>
          <a:p>
            <a:pPr marL="210112" indent="-210112" defTabSz="685397" fontAlgn="base">
              <a:lnSpc>
                <a:spcPct val="90000"/>
              </a:lnSpc>
              <a:spcAft>
                <a:spcPts val="441"/>
              </a:spcAft>
              <a:buFont typeface="Arial" panose="020B0604020202020204" pitchFamily="34" charset="0"/>
              <a:buChar char="•"/>
            </a:pPr>
            <a:r>
              <a:rPr lang="zh-TW" altLang="en-US" sz="1324" dirty="0">
                <a:ln>
                  <a:solidFill>
                    <a:srgbClr val="FFFFFF">
                      <a:alpha val="0"/>
                    </a:srgbClr>
                  </a:solidFill>
                </a:ln>
                <a:gradFill>
                  <a:gsLst>
                    <a:gs pos="33028">
                      <a:srgbClr val="505050"/>
                    </a:gs>
                    <a:gs pos="57000">
                      <a:srgbClr val="505050"/>
                    </a:gs>
                  </a:gsLst>
                </a:gradFill>
                <a:ea typeface="Segoe UI" pitchFamily="34" charset="0"/>
                <a:cs typeface="Segoe UI" pitchFamily="34" charset="0"/>
              </a:rPr>
              <a:t>因為有 </a:t>
            </a:r>
            <a:r>
              <a:rPr lang="en-US" altLang="zh-TW" sz="1324" dirty="0">
                <a:ln>
                  <a:solidFill>
                    <a:srgbClr val="FFFFFF">
                      <a:alpha val="0"/>
                    </a:srgbClr>
                  </a:solidFill>
                </a:ln>
                <a:gradFill>
                  <a:gsLst>
                    <a:gs pos="33028">
                      <a:srgbClr val="505050"/>
                    </a:gs>
                    <a:gs pos="57000">
                      <a:srgbClr val="505050"/>
                    </a:gs>
                  </a:gsLst>
                </a:gradFill>
                <a:ea typeface="Segoe UI" pitchFamily="34" charset="0"/>
                <a:cs typeface="Segoe UI" pitchFamily="34" charset="0"/>
              </a:rPr>
              <a:t>license</a:t>
            </a:r>
            <a:r>
              <a:rPr lang="zh-TW" altLang="en-US" sz="1324" dirty="0">
                <a:ln>
                  <a:solidFill>
                    <a:srgbClr val="FFFFFF">
                      <a:alpha val="0"/>
                    </a:srgbClr>
                  </a:solidFill>
                </a:ln>
                <a:gradFill>
                  <a:gsLst>
                    <a:gs pos="33028">
                      <a:srgbClr val="505050"/>
                    </a:gs>
                    <a:gs pos="57000">
                      <a:srgbClr val="505050"/>
                    </a:gs>
                  </a:gsLst>
                </a:gradFill>
                <a:ea typeface="Segoe UI" pitchFamily="34" charset="0"/>
                <a:cs typeface="Segoe UI" pitchFamily="34" charset="0"/>
              </a:rPr>
              <a:t> </a:t>
            </a:r>
            <a:r>
              <a:rPr lang="en-US" altLang="zh-TW" sz="1324" dirty="0">
                <a:ln>
                  <a:solidFill>
                    <a:srgbClr val="FFFFFF">
                      <a:alpha val="0"/>
                    </a:srgbClr>
                  </a:solidFill>
                </a:ln>
                <a:gradFill>
                  <a:gsLst>
                    <a:gs pos="33028">
                      <a:srgbClr val="505050"/>
                    </a:gs>
                    <a:gs pos="57000">
                      <a:srgbClr val="505050"/>
                    </a:gs>
                  </a:gsLst>
                </a:gradFill>
                <a:ea typeface="Segoe UI" pitchFamily="34" charset="0"/>
                <a:cs typeface="Segoe UI" pitchFamily="34" charset="0"/>
              </a:rPr>
              <a:t>mobility</a:t>
            </a:r>
            <a:r>
              <a:rPr lang="zh-TW" altLang="en-US" sz="1324" dirty="0">
                <a:ln>
                  <a:solidFill>
                    <a:srgbClr val="FFFFFF">
                      <a:alpha val="0"/>
                    </a:srgbClr>
                  </a:solidFill>
                </a:ln>
                <a:gradFill>
                  <a:gsLst>
                    <a:gs pos="33028">
                      <a:srgbClr val="505050"/>
                    </a:gs>
                    <a:gs pos="57000">
                      <a:srgbClr val="505050"/>
                    </a:gs>
                  </a:gsLst>
                </a:gradFill>
                <a:ea typeface="Segoe UI" pitchFamily="34" charset="0"/>
                <a:cs typeface="Segoe UI" pitchFamily="34" charset="0"/>
              </a:rPr>
              <a:t>，授權可以在</a:t>
            </a:r>
            <a:r>
              <a:rPr lang="en-US" altLang="zh-TW" sz="1324" dirty="0">
                <a:ln>
                  <a:solidFill>
                    <a:srgbClr val="FFFFFF">
                      <a:alpha val="0"/>
                    </a:srgbClr>
                  </a:solidFill>
                </a:ln>
                <a:gradFill>
                  <a:gsLst>
                    <a:gs pos="33028">
                      <a:srgbClr val="505050"/>
                    </a:gs>
                    <a:gs pos="57000">
                      <a:srgbClr val="505050"/>
                    </a:gs>
                  </a:gsLst>
                </a:gradFill>
                <a:ea typeface="Segoe UI" pitchFamily="34" charset="0"/>
                <a:cs typeface="Segoe UI" pitchFamily="34" charset="0"/>
              </a:rPr>
              <a:t>90</a:t>
            </a:r>
            <a:r>
              <a:rPr lang="zh-TW" altLang="en-US" sz="1324" dirty="0">
                <a:ln>
                  <a:solidFill>
                    <a:srgbClr val="FFFFFF">
                      <a:alpha val="0"/>
                    </a:srgbClr>
                  </a:solidFill>
                </a:ln>
                <a:gradFill>
                  <a:gsLst>
                    <a:gs pos="33028">
                      <a:srgbClr val="505050"/>
                    </a:gs>
                    <a:gs pos="57000">
                      <a:srgbClr val="505050"/>
                    </a:gs>
                  </a:gsLst>
                </a:gradFill>
                <a:ea typeface="Segoe UI" pitchFamily="34" charset="0"/>
                <a:cs typeface="Segoe UI" pitchFamily="34" charset="0"/>
              </a:rPr>
              <a:t>天內重複移轉，沒有 </a:t>
            </a:r>
            <a:r>
              <a:rPr lang="en-US" altLang="zh-TW" sz="1324" dirty="0">
                <a:ln>
                  <a:solidFill>
                    <a:srgbClr val="FFFFFF">
                      <a:alpha val="0"/>
                    </a:srgbClr>
                  </a:solidFill>
                </a:ln>
                <a:gradFill>
                  <a:gsLst>
                    <a:gs pos="33028">
                      <a:srgbClr val="505050"/>
                    </a:gs>
                    <a:gs pos="57000">
                      <a:srgbClr val="505050"/>
                    </a:gs>
                  </a:gsLst>
                </a:gradFill>
                <a:ea typeface="Segoe UI" pitchFamily="34" charset="0"/>
                <a:cs typeface="Segoe UI" pitchFamily="34" charset="0"/>
              </a:rPr>
              <a:t>90 </a:t>
            </a:r>
            <a:r>
              <a:rPr lang="zh-TW" altLang="en-US" sz="1324" dirty="0">
                <a:ln>
                  <a:solidFill>
                    <a:srgbClr val="FFFFFF">
                      <a:alpha val="0"/>
                    </a:srgbClr>
                  </a:solidFill>
                </a:ln>
                <a:gradFill>
                  <a:gsLst>
                    <a:gs pos="33028">
                      <a:srgbClr val="505050"/>
                    </a:gs>
                    <a:gs pos="57000">
                      <a:srgbClr val="505050"/>
                    </a:gs>
                  </a:gsLst>
                </a:gradFill>
                <a:ea typeface="Segoe UI" pitchFamily="34" charset="0"/>
                <a:cs typeface="Segoe UI" pitchFamily="34" charset="0"/>
              </a:rPr>
              <a:t>天的限制</a:t>
            </a:r>
            <a:endParaRPr lang="en-US" sz="1324" dirty="0">
              <a:ln>
                <a:solidFill>
                  <a:srgbClr val="FFFFFF">
                    <a:alpha val="0"/>
                  </a:srgbClr>
                </a:solidFill>
              </a:ln>
              <a:gradFill>
                <a:gsLst>
                  <a:gs pos="33028">
                    <a:srgbClr val="505050"/>
                  </a:gs>
                  <a:gs pos="57000">
                    <a:srgbClr val="505050"/>
                  </a:gs>
                </a:gsLst>
              </a:gradFill>
              <a:ea typeface="Segoe UI" pitchFamily="34" charset="0"/>
              <a:cs typeface="Segoe UI" pitchFamily="34" charset="0"/>
            </a:endParaRPr>
          </a:p>
        </p:txBody>
      </p:sp>
      <p:sp>
        <p:nvSpPr>
          <p:cNvPr id="6" name="Rectangle 5"/>
          <p:cNvSpPr/>
          <p:nvPr/>
        </p:nvSpPr>
        <p:spPr bwMode="auto">
          <a:xfrm>
            <a:off x="373389" y="1794735"/>
            <a:ext cx="1317744" cy="1317744"/>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5" tIns="67232" rIns="67225" bIns="67232" numCol="1" spcCol="0" rtlCol="0" fromWordArt="0" anchor="t" anchorCtr="0" forceAA="0" compatLnSpc="1">
            <a:prstTxWarp prst="textNoShape">
              <a:avLst/>
            </a:prstTxWarp>
            <a:noAutofit/>
          </a:bodyPr>
          <a:lstStyle/>
          <a:p>
            <a:pPr defTabSz="685397" fontAlgn="base">
              <a:lnSpc>
                <a:spcPct val="90000"/>
              </a:lnSpc>
              <a:spcBef>
                <a:spcPct val="0"/>
              </a:spcBef>
              <a:spcAft>
                <a:spcPct val="0"/>
              </a:spcAft>
            </a:pPr>
            <a:r>
              <a:rPr lang="en-US" sz="1765" dirty="0">
                <a:ln>
                  <a:solidFill>
                    <a:srgbClr val="FFFFFF">
                      <a:alpha val="0"/>
                    </a:srgbClr>
                  </a:solidFill>
                </a:ln>
                <a:gradFill>
                  <a:gsLst>
                    <a:gs pos="30275">
                      <a:srgbClr val="FFFFFF"/>
                    </a:gs>
                    <a:gs pos="55000">
                      <a:srgbClr val="FFFFFF"/>
                    </a:gs>
                  </a:gsLst>
                  <a:lin ang="0" scaled="0"/>
                </a:gradFill>
                <a:ea typeface="Segoe UI" pitchFamily="34" charset="0"/>
                <a:cs typeface="Segoe UI" pitchFamily="34" charset="0"/>
              </a:rPr>
              <a:t>SQL 2012</a:t>
            </a:r>
          </a:p>
        </p:txBody>
      </p:sp>
      <p:sp>
        <p:nvSpPr>
          <p:cNvPr id="7" name="Rectangle 6"/>
          <p:cNvSpPr/>
          <p:nvPr/>
        </p:nvSpPr>
        <p:spPr bwMode="auto">
          <a:xfrm>
            <a:off x="373389" y="3397720"/>
            <a:ext cx="1317744" cy="131774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5" tIns="67232" rIns="67225" bIns="67232" numCol="1" spcCol="0" rtlCol="0" fromWordArt="0" anchor="t" anchorCtr="0" forceAA="0" compatLnSpc="1">
            <a:prstTxWarp prst="textNoShape">
              <a:avLst/>
            </a:prstTxWarp>
            <a:noAutofit/>
          </a:bodyPr>
          <a:lstStyle/>
          <a:p>
            <a:pPr defTabSz="685397" fontAlgn="base">
              <a:lnSpc>
                <a:spcPct val="90000"/>
              </a:lnSpc>
              <a:spcBef>
                <a:spcPct val="0"/>
              </a:spcBef>
              <a:spcAft>
                <a:spcPct val="0"/>
              </a:spcAft>
            </a:pPr>
            <a:r>
              <a:rPr lang="en-US" sz="1765" dirty="0">
                <a:ln>
                  <a:solidFill>
                    <a:srgbClr val="FFFFFF">
                      <a:alpha val="0"/>
                    </a:srgbClr>
                  </a:solidFill>
                </a:ln>
                <a:gradFill>
                  <a:gsLst>
                    <a:gs pos="30275">
                      <a:srgbClr val="FFFFFF"/>
                    </a:gs>
                    <a:gs pos="55000">
                      <a:srgbClr val="FFFFFF"/>
                    </a:gs>
                  </a:gsLst>
                  <a:lin ang="0" scaled="0"/>
                </a:gradFill>
                <a:ea typeface="Segoe UI" pitchFamily="34" charset="0"/>
                <a:cs typeface="Segoe UI" pitchFamily="34" charset="0"/>
              </a:rPr>
              <a:t>SQL 2014</a:t>
            </a:r>
          </a:p>
        </p:txBody>
      </p:sp>
      <p:sp>
        <p:nvSpPr>
          <p:cNvPr id="27" name="Down Arrow 26"/>
          <p:cNvSpPr/>
          <p:nvPr/>
        </p:nvSpPr>
        <p:spPr bwMode="auto">
          <a:xfrm rot="16200000">
            <a:off x="3438004" y="1983175"/>
            <a:ext cx="212311" cy="789757"/>
          </a:xfrm>
          <a:prstGeom prst="downArrow">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2" rIns="0" bIns="34282" numCol="1" rtlCol="0" anchor="ctr" anchorCtr="0" compatLnSpc="1">
            <a:prstTxWarp prst="textNoShape">
              <a:avLst/>
            </a:prstTxWarp>
          </a:bodyPr>
          <a:lstStyle/>
          <a:p>
            <a:pPr algn="ctr" defTabSz="685470" fontAlgn="base">
              <a:spcBef>
                <a:spcPct val="0"/>
              </a:spcBef>
              <a:spcAft>
                <a:spcPct val="0"/>
              </a:spcAft>
            </a:pPr>
            <a:endParaRPr lang="en-US" sz="1471" dirty="0">
              <a:ln>
                <a:solidFill>
                  <a:srgbClr val="FFFFFF">
                    <a:alpha val="0"/>
                  </a:srgbClr>
                </a:solidFill>
              </a:ln>
              <a:gradFill>
                <a:gsLst>
                  <a:gs pos="0">
                    <a:srgbClr val="FFFFFF"/>
                  </a:gs>
                  <a:gs pos="100000">
                    <a:srgbClr val="FFFFFF"/>
                  </a:gs>
                </a:gsLst>
                <a:lin ang="5400000" scaled="0"/>
              </a:gradFill>
            </a:endParaRPr>
          </a:p>
        </p:txBody>
      </p:sp>
      <p:sp>
        <p:nvSpPr>
          <p:cNvPr id="30" name="TextBox 29"/>
          <p:cNvSpPr txBox="1"/>
          <p:nvPr/>
        </p:nvSpPr>
        <p:spPr>
          <a:xfrm>
            <a:off x="3065714" y="2472098"/>
            <a:ext cx="919141" cy="325730"/>
          </a:xfrm>
          <a:prstGeom prst="rect">
            <a:avLst/>
          </a:prstGeom>
          <a:noFill/>
        </p:spPr>
        <p:txBody>
          <a:bodyPr wrap="square" lIns="0" tIns="0" rIns="0" bIns="0" rtlCol="0" anchor="ctr" anchorCtr="0">
            <a:spAutoFit/>
          </a:bodyPr>
          <a:lstStyle/>
          <a:p>
            <a:pPr algn="ctr" defTabSz="815874">
              <a:lnSpc>
                <a:spcPct val="90000"/>
              </a:lnSpc>
            </a:pPr>
            <a:r>
              <a:rPr lang="en-US" sz="1176" dirty="0">
                <a:ln>
                  <a:solidFill>
                    <a:srgbClr val="FFFFFF">
                      <a:alpha val="0"/>
                    </a:srgbClr>
                  </a:solidFill>
                </a:ln>
                <a:gradFill>
                  <a:gsLst>
                    <a:gs pos="33028">
                      <a:srgbClr val="505050"/>
                    </a:gs>
                    <a:gs pos="57000">
                      <a:srgbClr val="505050"/>
                    </a:gs>
                  </a:gsLst>
                </a:gradFill>
              </a:rPr>
              <a:t>data movement</a:t>
            </a:r>
          </a:p>
        </p:txBody>
      </p:sp>
      <p:sp>
        <p:nvSpPr>
          <p:cNvPr id="45" name="Rectangle 27"/>
          <p:cNvSpPr/>
          <p:nvPr/>
        </p:nvSpPr>
        <p:spPr>
          <a:xfrm>
            <a:off x="2531962" y="1974453"/>
            <a:ext cx="494289" cy="807202"/>
          </a:xfrm>
          <a:custGeom>
            <a:avLst/>
            <a:gdLst/>
            <a:ahLst/>
            <a:cxnLst/>
            <a:rect l="l" t="t" r="r" b="b"/>
            <a:pathLst>
              <a:path w="1070851" h="1501821">
                <a:moveTo>
                  <a:pt x="38205" y="906081"/>
                </a:moveTo>
                <a:lnTo>
                  <a:pt x="38205" y="1377131"/>
                </a:lnTo>
                <a:lnTo>
                  <a:pt x="501154" y="1457487"/>
                </a:lnTo>
                <a:lnTo>
                  <a:pt x="501154" y="931018"/>
                </a:lnTo>
                <a:close/>
                <a:moveTo>
                  <a:pt x="38205" y="774463"/>
                </a:moveTo>
                <a:lnTo>
                  <a:pt x="38205" y="865902"/>
                </a:lnTo>
                <a:lnTo>
                  <a:pt x="503402" y="888070"/>
                </a:lnTo>
                <a:lnTo>
                  <a:pt x="503402" y="781390"/>
                </a:lnTo>
                <a:close/>
                <a:moveTo>
                  <a:pt x="503402" y="635919"/>
                </a:moveTo>
                <a:lnTo>
                  <a:pt x="39329" y="641461"/>
                </a:lnTo>
                <a:lnTo>
                  <a:pt x="39329" y="732900"/>
                </a:lnTo>
                <a:lnTo>
                  <a:pt x="503402" y="742598"/>
                </a:lnTo>
                <a:close/>
                <a:moveTo>
                  <a:pt x="505649" y="487676"/>
                </a:moveTo>
                <a:lnTo>
                  <a:pt x="39329" y="509844"/>
                </a:lnTo>
                <a:lnTo>
                  <a:pt x="39329" y="602669"/>
                </a:lnTo>
                <a:lnTo>
                  <a:pt x="505649" y="594356"/>
                </a:lnTo>
                <a:close/>
                <a:moveTo>
                  <a:pt x="506773" y="339434"/>
                </a:moveTo>
                <a:lnTo>
                  <a:pt x="41576" y="376841"/>
                </a:lnTo>
                <a:lnTo>
                  <a:pt x="41576" y="472437"/>
                </a:lnTo>
                <a:lnTo>
                  <a:pt x="506773" y="446113"/>
                </a:lnTo>
                <a:close/>
                <a:moveTo>
                  <a:pt x="506773" y="193962"/>
                </a:moveTo>
                <a:lnTo>
                  <a:pt x="42700" y="245224"/>
                </a:lnTo>
                <a:lnTo>
                  <a:pt x="42700" y="342205"/>
                </a:lnTo>
                <a:lnTo>
                  <a:pt x="506773" y="302028"/>
                </a:lnTo>
                <a:close/>
                <a:moveTo>
                  <a:pt x="507896" y="47105"/>
                </a:moveTo>
                <a:lnTo>
                  <a:pt x="43824" y="114992"/>
                </a:lnTo>
                <a:lnTo>
                  <a:pt x="43824" y="207817"/>
                </a:lnTo>
                <a:lnTo>
                  <a:pt x="507896" y="152400"/>
                </a:lnTo>
                <a:close/>
                <a:moveTo>
                  <a:pt x="555090" y="0"/>
                </a:moveTo>
                <a:lnTo>
                  <a:pt x="1070851" y="199504"/>
                </a:lnTo>
                <a:lnTo>
                  <a:pt x="1070851" y="1277380"/>
                </a:lnTo>
                <a:lnTo>
                  <a:pt x="539358" y="1501821"/>
                </a:lnTo>
                <a:lnTo>
                  <a:pt x="0" y="1402070"/>
                </a:lnTo>
                <a:lnTo>
                  <a:pt x="0" y="85897"/>
                </a:lnTo>
                <a:close/>
              </a:path>
            </a:pathLst>
          </a:custGeom>
          <a:solidFill>
            <a:srgbClr val="C00000"/>
          </a:solidFill>
          <a:ln w="9525" cap="flat" cmpd="sng" algn="ctr">
            <a:noFill/>
            <a:prstDash val="solid"/>
          </a:ln>
          <a:effectLst/>
        </p:spPr>
        <p:txBody>
          <a:bodyPr vert="horz" wrap="square" lIns="67229" tIns="33614" rIns="67229" bIns="33614" numCol="1" rtlCol="0" anchor="ctr" anchorCtr="0" compatLnSpc="1">
            <a:prstTxWarp prst="textNoShape">
              <a:avLst/>
            </a:prstTxWarp>
          </a:bodyPr>
          <a:lstStyle/>
          <a:p>
            <a:pPr algn="ctr" defTabSz="671966" fontAlgn="base">
              <a:spcBef>
                <a:spcPct val="0"/>
              </a:spcBef>
              <a:spcAft>
                <a:spcPct val="0"/>
              </a:spcAft>
            </a:pPr>
            <a:endParaRPr lang="en-US" sz="1176" kern="0" dirty="0">
              <a:ln>
                <a:solidFill>
                  <a:srgbClr val="FFFFFF">
                    <a:alpha val="0"/>
                  </a:srgbClr>
                </a:solidFill>
              </a:ln>
              <a:gradFill>
                <a:gsLst>
                  <a:gs pos="0">
                    <a:srgbClr val="FFFFFF"/>
                  </a:gs>
                  <a:gs pos="100000">
                    <a:srgbClr val="FFFFFF"/>
                  </a:gs>
                </a:gsLst>
                <a:lin ang="5400000" scaled="0"/>
              </a:gradFill>
            </a:endParaRPr>
          </a:p>
        </p:txBody>
      </p:sp>
      <p:sp>
        <p:nvSpPr>
          <p:cNvPr id="47" name="Rectangle 27"/>
          <p:cNvSpPr/>
          <p:nvPr/>
        </p:nvSpPr>
        <p:spPr>
          <a:xfrm>
            <a:off x="4030673" y="1974453"/>
            <a:ext cx="494289" cy="807202"/>
          </a:xfrm>
          <a:custGeom>
            <a:avLst/>
            <a:gdLst/>
            <a:ahLst/>
            <a:cxnLst/>
            <a:rect l="l" t="t" r="r" b="b"/>
            <a:pathLst>
              <a:path w="1070851" h="1501821">
                <a:moveTo>
                  <a:pt x="38205" y="906081"/>
                </a:moveTo>
                <a:lnTo>
                  <a:pt x="38205" y="1377131"/>
                </a:lnTo>
                <a:lnTo>
                  <a:pt x="501154" y="1457487"/>
                </a:lnTo>
                <a:lnTo>
                  <a:pt x="501154" y="931018"/>
                </a:lnTo>
                <a:close/>
                <a:moveTo>
                  <a:pt x="38205" y="774463"/>
                </a:moveTo>
                <a:lnTo>
                  <a:pt x="38205" y="865902"/>
                </a:lnTo>
                <a:lnTo>
                  <a:pt x="503402" y="888070"/>
                </a:lnTo>
                <a:lnTo>
                  <a:pt x="503402" y="781390"/>
                </a:lnTo>
                <a:close/>
                <a:moveTo>
                  <a:pt x="503402" y="635919"/>
                </a:moveTo>
                <a:lnTo>
                  <a:pt x="39329" y="641461"/>
                </a:lnTo>
                <a:lnTo>
                  <a:pt x="39329" y="732900"/>
                </a:lnTo>
                <a:lnTo>
                  <a:pt x="503402" y="742598"/>
                </a:lnTo>
                <a:close/>
                <a:moveTo>
                  <a:pt x="505649" y="487676"/>
                </a:moveTo>
                <a:lnTo>
                  <a:pt x="39329" y="509844"/>
                </a:lnTo>
                <a:lnTo>
                  <a:pt x="39329" y="602669"/>
                </a:lnTo>
                <a:lnTo>
                  <a:pt x="505649" y="594356"/>
                </a:lnTo>
                <a:close/>
                <a:moveTo>
                  <a:pt x="506773" y="339434"/>
                </a:moveTo>
                <a:lnTo>
                  <a:pt x="41576" y="376841"/>
                </a:lnTo>
                <a:lnTo>
                  <a:pt x="41576" y="472437"/>
                </a:lnTo>
                <a:lnTo>
                  <a:pt x="506773" y="446113"/>
                </a:lnTo>
                <a:close/>
                <a:moveTo>
                  <a:pt x="506773" y="193962"/>
                </a:moveTo>
                <a:lnTo>
                  <a:pt x="42700" y="245224"/>
                </a:lnTo>
                <a:lnTo>
                  <a:pt x="42700" y="342205"/>
                </a:lnTo>
                <a:lnTo>
                  <a:pt x="506773" y="302028"/>
                </a:lnTo>
                <a:close/>
                <a:moveTo>
                  <a:pt x="507896" y="47105"/>
                </a:moveTo>
                <a:lnTo>
                  <a:pt x="43824" y="114992"/>
                </a:lnTo>
                <a:lnTo>
                  <a:pt x="43824" y="207817"/>
                </a:lnTo>
                <a:lnTo>
                  <a:pt x="507896" y="152400"/>
                </a:lnTo>
                <a:close/>
                <a:moveTo>
                  <a:pt x="555090" y="0"/>
                </a:moveTo>
                <a:lnTo>
                  <a:pt x="1070851" y="199504"/>
                </a:lnTo>
                <a:lnTo>
                  <a:pt x="1070851" y="1277380"/>
                </a:lnTo>
                <a:lnTo>
                  <a:pt x="539358" y="1501821"/>
                </a:lnTo>
                <a:lnTo>
                  <a:pt x="0" y="1402070"/>
                </a:lnTo>
                <a:lnTo>
                  <a:pt x="0" y="85897"/>
                </a:lnTo>
                <a:close/>
              </a:path>
            </a:pathLst>
          </a:custGeom>
          <a:solidFill>
            <a:srgbClr val="C00000"/>
          </a:solidFill>
          <a:ln w="9525" cap="flat" cmpd="sng" algn="ctr">
            <a:noFill/>
            <a:prstDash val="solid"/>
          </a:ln>
          <a:effectLst/>
        </p:spPr>
        <p:txBody>
          <a:bodyPr vert="horz" wrap="square" lIns="67229" tIns="33614" rIns="67229" bIns="33614" numCol="1" rtlCol="0" anchor="ctr" anchorCtr="0" compatLnSpc="1">
            <a:prstTxWarp prst="textNoShape">
              <a:avLst/>
            </a:prstTxWarp>
          </a:bodyPr>
          <a:lstStyle/>
          <a:p>
            <a:pPr algn="ctr" defTabSz="671966" fontAlgn="base">
              <a:spcBef>
                <a:spcPct val="0"/>
              </a:spcBef>
              <a:spcAft>
                <a:spcPct val="0"/>
              </a:spcAft>
            </a:pPr>
            <a:endParaRPr lang="en-US" sz="1176" kern="0" dirty="0">
              <a:ln>
                <a:solidFill>
                  <a:srgbClr val="FFFFFF">
                    <a:alpha val="0"/>
                  </a:srgbClr>
                </a:solidFill>
              </a:ln>
              <a:gradFill>
                <a:gsLst>
                  <a:gs pos="0">
                    <a:srgbClr val="FFFFFF"/>
                  </a:gs>
                  <a:gs pos="100000">
                    <a:srgbClr val="FFFFFF"/>
                  </a:gs>
                </a:gsLst>
                <a:lin ang="5400000" scaled="0"/>
              </a:gradFill>
            </a:endParaRPr>
          </a:p>
        </p:txBody>
      </p:sp>
      <p:sp>
        <p:nvSpPr>
          <p:cNvPr id="48" name="Rectangle 27"/>
          <p:cNvSpPr/>
          <p:nvPr/>
        </p:nvSpPr>
        <p:spPr>
          <a:xfrm>
            <a:off x="2531962" y="3654327"/>
            <a:ext cx="494289" cy="807202"/>
          </a:xfrm>
          <a:custGeom>
            <a:avLst/>
            <a:gdLst/>
            <a:ahLst/>
            <a:cxnLst/>
            <a:rect l="l" t="t" r="r" b="b"/>
            <a:pathLst>
              <a:path w="1070851" h="1501821">
                <a:moveTo>
                  <a:pt x="38205" y="906081"/>
                </a:moveTo>
                <a:lnTo>
                  <a:pt x="38205" y="1377131"/>
                </a:lnTo>
                <a:lnTo>
                  <a:pt x="501154" y="1457487"/>
                </a:lnTo>
                <a:lnTo>
                  <a:pt x="501154" y="931018"/>
                </a:lnTo>
                <a:close/>
                <a:moveTo>
                  <a:pt x="38205" y="774463"/>
                </a:moveTo>
                <a:lnTo>
                  <a:pt x="38205" y="865902"/>
                </a:lnTo>
                <a:lnTo>
                  <a:pt x="503402" y="888070"/>
                </a:lnTo>
                <a:lnTo>
                  <a:pt x="503402" y="781390"/>
                </a:lnTo>
                <a:close/>
                <a:moveTo>
                  <a:pt x="503402" y="635919"/>
                </a:moveTo>
                <a:lnTo>
                  <a:pt x="39329" y="641461"/>
                </a:lnTo>
                <a:lnTo>
                  <a:pt x="39329" y="732900"/>
                </a:lnTo>
                <a:lnTo>
                  <a:pt x="503402" y="742598"/>
                </a:lnTo>
                <a:close/>
                <a:moveTo>
                  <a:pt x="505649" y="487676"/>
                </a:moveTo>
                <a:lnTo>
                  <a:pt x="39329" y="509844"/>
                </a:lnTo>
                <a:lnTo>
                  <a:pt x="39329" y="602669"/>
                </a:lnTo>
                <a:lnTo>
                  <a:pt x="505649" y="594356"/>
                </a:lnTo>
                <a:close/>
                <a:moveTo>
                  <a:pt x="506773" y="339434"/>
                </a:moveTo>
                <a:lnTo>
                  <a:pt x="41576" y="376841"/>
                </a:lnTo>
                <a:lnTo>
                  <a:pt x="41576" y="472437"/>
                </a:lnTo>
                <a:lnTo>
                  <a:pt x="506773" y="446113"/>
                </a:lnTo>
                <a:close/>
                <a:moveTo>
                  <a:pt x="506773" y="193962"/>
                </a:moveTo>
                <a:lnTo>
                  <a:pt x="42700" y="245224"/>
                </a:lnTo>
                <a:lnTo>
                  <a:pt x="42700" y="342205"/>
                </a:lnTo>
                <a:lnTo>
                  <a:pt x="506773" y="302028"/>
                </a:lnTo>
                <a:close/>
                <a:moveTo>
                  <a:pt x="507896" y="47105"/>
                </a:moveTo>
                <a:lnTo>
                  <a:pt x="43824" y="114992"/>
                </a:lnTo>
                <a:lnTo>
                  <a:pt x="43824" y="207817"/>
                </a:lnTo>
                <a:lnTo>
                  <a:pt x="507896" y="152400"/>
                </a:lnTo>
                <a:close/>
                <a:moveTo>
                  <a:pt x="555090" y="0"/>
                </a:moveTo>
                <a:lnTo>
                  <a:pt x="1070851" y="199504"/>
                </a:lnTo>
                <a:lnTo>
                  <a:pt x="1070851" y="1277380"/>
                </a:lnTo>
                <a:lnTo>
                  <a:pt x="539358" y="1501821"/>
                </a:lnTo>
                <a:lnTo>
                  <a:pt x="0" y="1402070"/>
                </a:lnTo>
                <a:lnTo>
                  <a:pt x="0" y="85897"/>
                </a:lnTo>
                <a:close/>
              </a:path>
            </a:pathLst>
          </a:custGeom>
          <a:solidFill>
            <a:schemeClr val="accent5"/>
          </a:solidFill>
          <a:ln w="9525" cap="flat" cmpd="sng" algn="ctr">
            <a:noFill/>
            <a:prstDash val="solid"/>
          </a:ln>
          <a:effectLst/>
        </p:spPr>
        <p:txBody>
          <a:bodyPr vert="horz" wrap="square" lIns="67229" tIns="33614" rIns="67229" bIns="33614" numCol="1" rtlCol="0" anchor="ctr" anchorCtr="0" compatLnSpc="1">
            <a:prstTxWarp prst="textNoShape">
              <a:avLst/>
            </a:prstTxWarp>
          </a:bodyPr>
          <a:lstStyle/>
          <a:p>
            <a:pPr algn="ctr" defTabSz="671966" fontAlgn="base">
              <a:spcBef>
                <a:spcPct val="0"/>
              </a:spcBef>
              <a:spcAft>
                <a:spcPct val="0"/>
              </a:spcAft>
            </a:pPr>
            <a:endParaRPr lang="en-US" sz="1176" kern="0" dirty="0">
              <a:ln>
                <a:solidFill>
                  <a:srgbClr val="FFFFFF">
                    <a:alpha val="0"/>
                  </a:srgbClr>
                </a:solidFill>
              </a:ln>
              <a:gradFill>
                <a:gsLst>
                  <a:gs pos="0">
                    <a:srgbClr val="FFFFFF"/>
                  </a:gs>
                  <a:gs pos="100000">
                    <a:srgbClr val="FFFFFF"/>
                  </a:gs>
                </a:gsLst>
                <a:lin ang="5400000" scaled="0"/>
              </a:gradFill>
            </a:endParaRPr>
          </a:p>
        </p:txBody>
      </p:sp>
      <p:sp>
        <p:nvSpPr>
          <p:cNvPr id="49" name="Rectangle 27"/>
          <p:cNvSpPr/>
          <p:nvPr/>
        </p:nvSpPr>
        <p:spPr>
          <a:xfrm>
            <a:off x="4030673" y="3654327"/>
            <a:ext cx="494289" cy="807202"/>
          </a:xfrm>
          <a:custGeom>
            <a:avLst/>
            <a:gdLst/>
            <a:ahLst/>
            <a:cxnLst/>
            <a:rect l="l" t="t" r="r" b="b"/>
            <a:pathLst>
              <a:path w="1070851" h="1501821">
                <a:moveTo>
                  <a:pt x="38205" y="906081"/>
                </a:moveTo>
                <a:lnTo>
                  <a:pt x="38205" y="1377131"/>
                </a:lnTo>
                <a:lnTo>
                  <a:pt x="501154" y="1457487"/>
                </a:lnTo>
                <a:lnTo>
                  <a:pt x="501154" y="931018"/>
                </a:lnTo>
                <a:close/>
                <a:moveTo>
                  <a:pt x="38205" y="774463"/>
                </a:moveTo>
                <a:lnTo>
                  <a:pt x="38205" y="865902"/>
                </a:lnTo>
                <a:lnTo>
                  <a:pt x="503402" y="888070"/>
                </a:lnTo>
                <a:lnTo>
                  <a:pt x="503402" y="781390"/>
                </a:lnTo>
                <a:close/>
                <a:moveTo>
                  <a:pt x="503402" y="635919"/>
                </a:moveTo>
                <a:lnTo>
                  <a:pt x="39329" y="641461"/>
                </a:lnTo>
                <a:lnTo>
                  <a:pt x="39329" y="732900"/>
                </a:lnTo>
                <a:lnTo>
                  <a:pt x="503402" y="742598"/>
                </a:lnTo>
                <a:close/>
                <a:moveTo>
                  <a:pt x="505649" y="487676"/>
                </a:moveTo>
                <a:lnTo>
                  <a:pt x="39329" y="509844"/>
                </a:lnTo>
                <a:lnTo>
                  <a:pt x="39329" y="602669"/>
                </a:lnTo>
                <a:lnTo>
                  <a:pt x="505649" y="594356"/>
                </a:lnTo>
                <a:close/>
                <a:moveTo>
                  <a:pt x="506773" y="339434"/>
                </a:moveTo>
                <a:lnTo>
                  <a:pt x="41576" y="376841"/>
                </a:lnTo>
                <a:lnTo>
                  <a:pt x="41576" y="472437"/>
                </a:lnTo>
                <a:lnTo>
                  <a:pt x="506773" y="446113"/>
                </a:lnTo>
                <a:close/>
                <a:moveTo>
                  <a:pt x="506773" y="193962"/>
                </a:moveTo>
                <a:lnTo>
                  <a:pt x="42700" y="245224"/>
                </a:lnTo>
                <a:lnTo>
                  <a:pt x="42700" y="342205"/>
                </a:lnTo>
                <a:lnTo>
                  <a:pt x="506773" y="302028"/>
                </a:lnTo>
                <a:close/>
                <a:moveTo>
                  <a:pt x="507896" y="47105"/>
                </a:moveTo>
                <a:lnTo>
                  <a:pt x="43824" y="114992"/>
                </a:lnTo>
                <a:lnTo>
                  <a:pt x="43824" y="207817"/>
                </a:lnTo>
                <a:lnTo>
                  <a:pt x="507896" y="152400"/>
                </a:lnTo>
                <a:close/>
                <a:moveTo>
                  <a:pt x="555090" y="0"/>
                </a:moveTo>
                <a:lnTo>
                  <a:pt x="1070851" y="199504"/>
                </a:lnTo>
                <a:lnTo>
                  <a:pt x="1070851" y="1277380"/>
                </a:lnTo>
                <a:lnTo>
                  <a:pt x="539358" y="1501821"/>
                </a:lnTo>
                <a:lnTo>
                  <a:pt x="0" y="1402070"/>
                </a:lnTo>
                <a:lnTo>
                  <a:pt x="0" y="85897"/>
                </a:lnTo>
                <a:close/>
              </a:path>
            </a:pathLst>
          </a:custGeom>
          <a:solidFill>
            <a:schemeClr val="accent5"/>
          </a:solidFill>
          <a:ln w="9525" cap="flat" cmpd="sng" algn="ctr">
            <a:noFill/>
            <a:prstDash val="solid"/>
          </a:ln>
          <a:effectLst/>
        </p:spPr>
        <p:txBody>
          <a:bodyPr vert="horz" wrap="square" lIns="67229" tIns="33614" rIns="67229" bIns="33614" numCol="1" rtlCol="0" anchor="ctr" anchorCtr="0" compatLnSpc="1">
            <a:prstTxWarp prst="textNoShape">
              <a:avLst/>
            </a:prstTxWarp>
          </a:bodyPr>
          <a:lstStyle/>
          <a:p>
            <a:pPr algn="ctr" defTabSz="671966" fontAlgn="base">
              <a:spcBef>
                <a:spcPct val="0"/>
              </a:spcBef>
              <a:spcAft>
                <a:spcPct val="0"/>
              </a:spcAft>
            </a:pPr>
            <a:endParaRPr lang="en-US" sz="1176" kern="0" dirty="0">
              <a:ln>
                <a:solidFill>
                  <a:srgbClr val="FFFFFF">
                    <a:alpha val="0"/>
                  </a:srgbClr>
                </a:solidFill>
              </a:ln>
              <a:gradFill>
                <a:gsLst>
                  <a:gs pos="0">
                    <a:srgbClr val="FFFFFF"/>
                  </a:gs>
                  <a:gs pos="100000">
                    <a:srgbClr val="FFFFFF"/>
                  </a:gs>
                </a:gsLst>
                <a:lin ang="5400000" scaled="0"/>
              </a:gradFill>
            </a:endParaRPr>
          </a:p>
        </p:txBody>
      </p:sp>
      <p:sp>
        <p:nvSpPr>
          <p:cNvPr id="50" name="Down Arrow 49"/>
          <p:cNvSpPr/>
          <p:nvPr/>
        </p:nvSpPr>
        <p:spPr bwMode="auto">
          <a:xfrm rot="16200000">
            <a:off x="3438004" y="3663049"/>
            <a:ext cx="212311" cy="789757"/>
          </a:xfrm>
          <a:prstGeom prst="downArrow">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2" rIns="0" bIns="34282" numCol="1" rtlCol="0" anchor="ctr" anchorCtr="0" compatLnSpc="1">
            <a:prstTxWarp prst="textNoShape">
              <a:avLst/>
            </a:prstTxWarp>
          </a:bodyPr>
          <a:lstStyle/>
          <a:p>
            <a:pPr algn="ctr" defTabSz="685470" fontAlgn="base">
              <a:spcBef>
                <a:spcPct val="0"/>
              </a:spcBef>
              <a:spcAft>
                <a:spcPct val="0"/>
              </a:spcAft>
            </a:pPr>
            <a:endParaRPr lang="en-US" sz="1471" dirty="0">
              <a:ln>
                <a:solidFill>
                  <a:srgbClr val="FFFFFF">
                    <a:alpha val="0"/>
                  </a:srgbClr>
                </a:solidFill>
              </a:ln>
              <a:gradFill>
                <a:gsLst>
                  <a:gs pos="0">
                    <a:srgbClr val="FFFFFF"/>
                  </a:gs>
                  <a:gs pos="100000">
                    <a:srgbClr val="FFFFFF"/>
                  </a:gs>
                </a:gsLst>
                <a:lin ang="5400000" scaled="0"/>
              </a:gradFill>
            </a:endParaRPr>
          </a:p>
        </p:txBody>
      </p:sp>
      <p:sp>
        <p:nvSpPr>
          <p:cNvPr id="53" name="TextBox 52"/>
          <p:cNvSpPr txBox="1"/>
          <p:nvPr/>
        </p:nvSpPr>
        <p:spPr>
          <a:xfrm>
            <a:off x="2862069" y="2318592"/>
            <a:ext cx="195576" cy="135743"/>
          </a:xfrm>
          <a:prstGeom prst="rect">
            <a:avLst/>
          </a:prstGeom>
          <a:solidFill>
            <a:schemeClr val="accent1"/>
          </a:solidFill>
        </p:spPr>
        <p:txBody>
          <a:bodyPr wrap="square" lIns="0" tIns="0" rIns="0" bIns="0" rtlCol="0">
            <a:spAutoFit/>
          </a:bodyPr>
          <a:lstStyle/>
          <a:p>
            <a:pPr algn="ctr" defTabSz="815639" fontAlgn="base">
              <a:spcBef>
                <a:spcPct val="0"/>
              </a:spcBef>
              <a:spcAft>
                <a:spcPct val="0"/>
              </a:spcAft>
            </a:pPr>
            <a:r>
              <a:rPr lang="en-US" sz="882" b="1" kern="0" dirty="0">
                <a:ln>
                  <a:solidFill>
                    <a:srgbClr val="FFFFFF">
                      <a:alpha val="0"/>
                    </a:srgbClr>
                  </a:solidFill>
                </a:ln>
                <a:solidFill>
                  <a:srgbClr val="FFFFFF"/>
                </a:solidFill>
              </a:rPr>
              <a:t>A</a:t>
            </a:r>
          </a:p>
        </p:txBody>
      </p:sp>
      <p:sp>
        <p:nvSpPr>
          <p:cNvPr id="54" name="TextBox 53"/>
          <p:cNvSpPr txBox="1"/>
          <p:nvPr/>
        </p:nvSpPr>
        <p:spPr>
          <a:xfrm>
            <a:off x="4353776" y="2314020"/>
            <a:ext cx="217003" cy="135743"/>
          </a:xfrm>
          <a:prstGeom prst="rect">
            <a:avLst/>
          </a:prstGeom>
          <a:solidFill>
            <a:schemeClr val="accent1"/>
          </a:solidFill>
        </p:spPr>
        <p:txBody>
          <a:bodyPr wrap="square" lIns="0" tIns="0" rIns="0" bIns="0" rtlCol="0">
            <a:spAutoFit/>
          </a:bodyPr>
          <a:lstStyle/>
          <a:p>
            <a:pPr algn="ctr" defTabSz="815639" fontAlgn="base">
              <a:spcBef>
                <a:spcPct val="0"/>
              </a:spcBef>
              <a:spcAft>
                <a:spcPct val="0"/>
              </a:spcAft>
            </a:pPr>
            <a:r>
              <a:rPr lang="en-US" sz="882" b="1" kern="0" dirty="0">
                <a:ln>
                  <a:solidFill>
                    <a:srgbClr val="FFFFFF">
                      <a:alpha val="0"/>
                    </a:srgbClr>
                  </a:solidFill>
                </a:ln>
                <a:solidFill>
                  <a:srgbClr val="FFFFFF"/>
                </a:solidFill>
              </a:rPr>
              <a:t>P</a:t>
            </a:r>
          </a:p>
        </p:txBody>
      </p:sp>
      <p:sp>
        <p:nvSpPr>
          <p:cNvPr id="55" name="TextBox 54"/>
          <p:cNvSpPr txBox="1"/>
          <p:nvPr/>
        </p:nvSpPr>
        <p:spPr>
          <a:xfrm>
            <a:off x="2855883" y="3999734"/>
            <a:ext cx="223425" cy="135743"/>
          </a:xfrm>
          <a:prstGeom prst="rect">
            <a:avLst/>
          </a:prstGeom>
          <a:solidFill>
            <a:schemeClr val="accent6"/>
          </a:solidFill>
        </p:spPr>
        <p:txBody>
          <a:bodyPr wrap="square" lIns="0" tIns="0" rIns="0" bIns="0" rtlCol="0">
            <a:spAutoFit/>
          </a:bodyPr>
          <a:lstStyle/>
          <a:p>
            <a:pPr algn="ctr" defTabSz="815639" fontAlgn="base">
              <a:spcBef>
                <a:spcPct val="0"/>
              </a:spcBef>
              <a:spcAft>
                <a:spcPct val="0"/>
              </a:spcAft>
            </a:pPr>
            <a:r>
              <a:rPr lang="en-US" sz="882" b="1" kern="0" dirty="0">
                <a:ln>
                  <a:solidFill>
                    <a:srgbClr val="FFFFFF">
                      <a:alpha val="0"/>
                    </a:srgbClr>
                  </a:solidFill>
                </a:ln>
                <a:solidFill>
                  <a:srgbClr val="FFFFFF"/>
                </a:solidFill>
              </a:rPr>
              <a:t>A</a:t>
            </a:r>
          </a:p>
        </p:txBody>
      </p:sp>
      <p:sp>
        <p:nvSpPr>
          <p:cNvPr id="56" name="TextBox 55"/>
          <p:cNvSpPr txBox="1"/>
          <p:nvPr/>
        </p:nvSpPr>
        <p:spPr>
          <a:xfrm>
            <a:off x="4347590" y="3995161"/>
            <a:ext cx="223189" cy="135743"/>
          </a:xfrm>
          <a:prstGeom prst="rect">
            <a:avLst/>
          </a:prstGeom>
          <a:solidFill>
            <a:schemeClr val="accent6"/>
          </a:solidFill>
        </p:spPr>
        <p:txBody>
          <a:bodyPr wrap="square" lIns="0" tIns="0" rIns="0" bIns="0" rtlCol="0">
            <a:spAutoFit/>
          </a:bodyPr>
          <a:lstStyle/>
          <a:p>
            <a:pPr algn="ctr" defTabSz="815639" fontAlgn="base">
              <a:spcBef>
                <a:spcPct val="0"/>
              </a:spcBef>
              <a:spcAft>
                <a:spcPct val="0"/>
              </a:spcAft>
            </a:pPr>
            <a:r>
              <a:rPr lang="en-US" sz="882" b="1" kern="0" dirty="0">
                <a:ln>
                  <a:solidFill>
                    <a:srgbClr val="FFFFFF">
                      <a:alpha val="0"/>
                    </a:srgbClr>
                  </a:solidFill>
                </a:ln>
                <a:solidFill>
                  <a:srgbClr val="FFFFFF"/>
                </a:solidFill>
              </a:rPr>
              <a:t>P</a:t>
            </a:r>
          </a:p>
        </p:txBody>
      </p:sp>
      <p:sp>
        <p:nvSpPr>
          <p:cNvPr id="57" name="TextBox 56"/>
          <p:cNvSpPr txBox="1"/>
          <p:nvPr/>
        </p:nvSpPr>
        <p:spPr>
          <a:xfrm>
            <a:off x="3084589" y="4119699"/>
            <a:ext cx="919141" cy="325730"/>
          </a:xfrm>
          <a:prstGeom prst="rect">
            <a:avLst/>
          </a:prstGeom>
          <a:noFill/>
        </p:spPr>
        <p:txBody>
          <a:bodyPr wrap="square" lIns="0" tIns="0" rIns="0" bIns="0" rtlCol="0" anchor="ctr" anchorCtr="0">
            <a:spAutoFit/>
          </a:bodyPr>
          <a:lstStyle/>
          <a:p>
            <a:pPr algn="ctr" defTabSz="815874">
              <a:lnSpc>
                <a:spcPct val="90000"/>
              </a:lnSpc>
            </a:pPr>
            <a:r>
              <a:rPr lang="en-US" sz="1176" dirty="0">
                <a:ln>
                  <a:solidFill>
                    <a:srgbClr val="FFFFFF">
                      <a:alpha val="0"/>
                    </a:srgbClr>
                  </a:solidFill>
                </a:ln>
                <a:gradFill>
                  <a:gsLst>
                    <a:gs pos="33028">
                      <a:srgbClr val="505050"/>
                    </a:gs>
                    <a:gs pos="57000">
                      <a:srgbClr val="505050"/>
                    </a:gs>
                  </a:gsLst>
                </a:gradFill>
              </a:rPr>
              <a:t>data movement</a:t>
            </a:r>
          </a:p>
        </p:txBody>
      </p:sp>
      <p:sp>
        <p:nvSpPr>
          <p:cNvPr id="58" name="16-Point Star 57"/>
          <p:cNvSpPr/>
          <p:nvPr>
            <p:custDataLst>
              <p:tags r:id="rId1"/>
            </p:custDataLst>
          </p:nvPr>
        </p:nvSpPr>
        <p:spPr>
          <a:xfrm>
            <a:off x="4363426" y="4217878"/>
            <a:ext cx="841622" cy="414125"/>
          </a:xfrm>
          <a:prstGeom prst="star16">
            <a:avLst>
              <a:gd name="adj" fmla="val 4259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5" tIns="67232" rIns="67225" bIns="67232" numCol="1" spcCol="0" rtlCol="0" fromWordArt="0" anchor="ctr" anchorCtr="0" forceAA="0" compatLnSpc="1">
            <a:prstTxWarp prst="textNoShape">
              <a:avLst/>
            </a:prstTxWarp>
            <a:noAutofit/>
          </a:bodyPr>
          <a:lstStyle/>
          <a:p>
            <a:pPr algn="ctr" defTabSz="685397" fontAlgn="base">
              <a:lnSpc>
                <a:spcPct val="90000"/>
              </a:lnSpc>
              <a:spcBef>
                <a:spcPct val="0"/>
              </a:spcBef>
              <a:spcAft>
                <a:spcPct val="0"/>
              </a:spcAft>
            </a:pPr>
            <a:r>
              <a:rPr lang="en-US" sz="882" dirty="0">
                <a:ln>
                  <a:solidFill>
                    <a:srgbClr val="FFFFFF">
                      <a:alpha val="0"/>
                    </a:srgbClr>
                  </a:solidFill>
                </a:ln>
                <a:gradFill>
                  <a:gsLst>
                    <a:gs pos="30275">
                      <a:srgbClr val="FFFFFF"/>
                    </a:gs>
                    <a:gs pos="55000">
                      <a:srgbClr val="FFFFFF"/>
                    </a:gs>
                  </a:gsLst>
                  <a:lin ang="0" scaled="0"/>
                </a:gradFill>
                <a:ea typeface="Segoe UI" pitchFamily="34" charset="0"/>
                <a:cs typeface="Segoe UI" pitchFamily="34" charset="0"/>
              </a:rPr>
              <a:t>SA Benefit</a:t>
            </a:r>
          </a:p>
        </p:txBody>
      </p:sp>
      <p:pic>
        <p:nvPicPr>
          <p:cNvPr id="59" name="Picture 2"/>
          <p:cNvPicPr>
            <a:picLocks noChangeAspect="1" noChangeArrowheads="1"/>
          </p:cNvPicPr>
          <p:nvPr>
            <p:custDataLst>
              <p:tags r:id="rId2"/>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1170693" y="2671350"/>
            <a:ext cx="430036" cy="3474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3" name="Picture 2"/>
          <p:cNvPicPr>
            <a:picLocks noChangeAspect="1" noChangeArrowheads="1"/>
          </p:cNvPicPr>
          <p:nvPr>
            <p:custDataLst>
              <p:tags r:id="rId3"/>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1170693" y="4265272"/>
            <a:ext cx="430036" cy="3474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4" name="Rectangle 63"/>
          <p:cNvSpPr/>
          <p:nvPr/>
        </p:nvSpPr>
        <p:spPr bwMode="auto">
          <a:xfrm>
            <a:off x="1085041" y="4802363"/>
            <a:ext cx="7102065" cy="100740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5" tIns="67232" rIns="67225" bIns="67232" numCol="1" spcCol="0" rtlCol="0" fromWordArt="0" anchor="ctr" anchorCtr="0" forceAA="0" compatLnSpc="1">
            <a:prstTxWarp prst="textNoShape">
              <a:avLst/>
            </a:prstTxWarp>
            <a:noAutofit/>
          </a:bodyPr>
          <a:lstStyle/>
          <a:p>
            <a:pPr defTabSz="685397" fontAlgn="base">
              <a:lnSpc>
                <a:spcPct val="90000"/>
              </a:lnSpc>
              <a:spcBef>
                <a:spcPct val="0"/>
              </a:spcBef>
              <a:spcAft>
                <a:spcPct val="0"/>
              </a:spcAft>
            </a:pPr>
            <a:r>
              <a:rPr lang="zh-TW" altLang="en-US" sz="1471" dirty="0">
                <a:ln>
                  <a:solidFill>
                    <a:srgbClr val="FFFFFF">
                      <a:alpha val="0"/>
                    </a:srgbClr>
                  </a:solidFill>
                </a:ln>
                <a:gradFill>
                  <a:gsLst>
                    <a:gs pos="30275">
                      <a:srgbClr val="FFFFFF"/>
                    </a:gs>
                    <a:gs pos="55000">
                      <a:srgbClr val="FFFFFF"/>
                    </a:gs>
                  </a:gsLst>
                  <a:lin ang="0" scaled="0"/>
                </a:gradFill>
                <a:ea typeface="Segoe UI" pitchFamily="34" charset="0"/>
                <a:cs typeface="Segoe UI" pitchFamily="34" charset="0"/>
              </a:rPr>
              <a:t>重點</a:t>
            </a:r>
            <a:endParaRPr lang="en-US" altLang="zh-TW" sz="1471" dirty="0">
              <a:ln>
                <a:solidFill>
                  <a:srgbClr val="FFFFFF">
                    <a:alpha val="0"/>
                  </a:srgbClr>
                </a:solidFill>
              </a:ln>
              <a:gradFill>
                <a:gsLst>
                  <a:gs pos="30275">
                    <a:srgbClr val="FFFFFF"/>
                  </a:gs>
                  <a:gs pos="55000">
                    <a:srgbClr val="FFFFFF"/>
                  </a:gs>
                </a:gsLst>
                <a:lin ang="0" scaled="0"/>
              </a:gradFill>
              <a:ea typeface="Segoe UI" pitchFamily="34" charset="0"/>
              <a:cs typeface="Segoe UI" pitchFamily="34" charset="0"/>
            </a:endParaRPr>
          </a:p>
          <a:p>
            <a:pPr defTabSz="685397" fontAlgn="base">
              <a:lnSpc>
                <a:spcPct val="90000"/>
              </a:lnSpc>
              <a:spcBef>
                <a:spcPct val="0"/>
              </a:spcBef>
              <a:spcAft>
                <a:spcPct val="0"/>
              </a:spcAft>
            </a:pPr>
            <a:endParaRPr lang="en-US" altLang="zh-TW" sz="1471" dirty="0">
              <a:ln>
                <a:solidFill>
                  <a:srgbClr val="FFFFFF">
                    <a:alpha val="0"/>
                  </a:srgbClr>
                </a:solidFill>
              </a:ln>
              <a:gradFill>
                <a:gsLst>
                  <a:gs pos="30275">
                    <a:srgbClr val="FFFFFF"/>
                  </a:gs>
                  <a:gs pos="55000">
                    <a:srgbClr val="FFFFFF"/>
                  </a:gs>
                </a:gsLst>
                <a:lin ang="0" scaled="0"/>
              </a:gradFill>
              <a:ea typeface="Segoe UI" pitchFamily="34" charset="0"/>
              <a:cs typeface="Segoe UI" pitchFamily="34" charset="0"/>
            </a:endParaRPr>
          </a:p>
          <a:p>
            <a:pPr marL="252134" indent="-252134" defTabSz="685397" fontAlgn="base">
              <a:lnSpc>
                <a:spcPct val="90000"/>
              </a:lnSpc>
              <a:spcBef>
                <a:spcPct val="0"/>
              </a:spcBef>
              <a:spcAft>
                <a:spcPct val="0"/>
              </a:spcAft>
              <a:buFont typeface="+mj-lt"/>
              <a:buAutoNum type="arabicPeriod"/>
            </a:pPr>
            <a:r>
              <a:rPr lang="en-US" sz="1324" dirty="0">
                <a:ln>
                  <a:solidFill>
                    <a:srgbClr val="FFFFFF">
                      <a:alpha val="0"/>
                    </a:srgbClr>
                  </a:solidFill>
                </a:ln>
                <a:gradFill>
                  <a:gsLst>
                    <a:gs pos="30275">
                      <a:srgbClr val="FFFFFF"/>
                    </a:gs>
                    <a:gs pos="55000">
                      <a:srgbClr val="FFFFFF"/>
                    </a:gs>
                  </a:gsLst>
                  <a:lin ang="0" scaled="0"/>
                </a:gradFill>
                <a:ea typeface="Segoe UI" pitchFamily="34" charset="0"/>
                <a:cs typeface="Segoe UI" pitchFamily="34" charset="0"/>
              </a:rPr>
              <a:t>Fail-over servers (Warm back-up) </a:t>
            </a:r>
            <a:r>
              <a:rPr lang="zh-TW" altLang="en-US" sz="1324" dirty="0">
                <a:ln>
                  <a:solidFill>
                    <a:srgbClr val="FFFFFF">
                      <a:alpha val="0"/>
                    </a:srgbClr>
                  </a:solidFill>
                </a:ln>
                <a:gradFill>
                  <a:gsLst>
                    <a:gs pos="30275">
                      <a:srgbClr val="FFFFFF"/>
                    </a:gs>
                    <a:gs pos="55000">
                      <a:srgbClr val="FFFFFF"/>
                    </a:gs>
                  </a:gsLst>
                  <a:lin ang="0" scaled="0"/>
                </a:gradFill>
                <a:ea typeface="Segoe UI" pitchFamily="34" charset="0"/>
                <a:cs typeface="Segoe UI" pitchFamily="34" charset="0"/>
              </a:rPr>
              <a:t>成為一項 </a:t>
            </a:r>
            <a:r>
              <a:rPr lang="en-US" sz="1324" dirty="0">
                <a:ln>
                  <a:solidFill>
                    <a:srgbClr val="FFFFFF">
                      <a:alpha val="0"/>
                    </a:srgbClr>
                  </a:solidFill>
                </a:ln>
                <a:gradFill>
                  <a:gsLst>
                    <a:gs pos="30275">
                      <a:srgbClr val="FFFFFF"/>
                    </a:gs>
                    <a:gs pos="55000">
                      <a:srgbClr val="FFFFFF"/>
                    </a:gs>
                  </a:gsLst>
                  <a:lin ang="0" scaled="0"/>
                </a:gradFill>
                <a:ea typeface="Segoe UI" pitchFamily="34" charset="0"/>
                <a:cs typeface="Segoe UI" pitchFamily="34" charset="0"/>
              </a:rPr>
              <a:t>SA Benefit</a:t>
            </a:r>
          </a:p>
          <a:p>
            <a:pPr marL="168090" indent="-168090" defTabSz="685397" fontAlgn="base">
              <a:lnSpc>
                <a:spcPct val="90000"/>
              </a:lnSpc>
              <a:spcBef>
                <a:spcPct val="0"/>
              </a:spcBef>
              <a:spcAft>
                <a:spcPct val="0"/>
              </a:spcAft>
              <a:buFont typeface="+mj-lt"/>
              <a:buAutoNum type="arabicPeriod"/>
            </a:pPr>
            <a:endParaRPr lang="en-US" sz="588" dirty="0">
              <a:ln>
                <a:solidFill>
                  <a:srgbClr val="FFFFFF">
                    <a:alpha val="0"/>
                  </a:srgbClr>
                </a:solidFill>
              </a:ln>
              <a:gradFill>
                <a:gsLst>
                  <a:gs pos="30275">
                    <a:srgbClr val="FFFFFF"/>
                  </a:gs>
                  <a:gs pos="55000">
                    <a:srgbClr val="FFFFFF"/>
                  </a:gs>
                </a:gsLst>
                <a:lin ang="0" scaled="0"/>
              </a:gradFill>
              <a:ea typeface="Segoe UI" pitchFamily="34" charset="0"/>
              <a:cs typeface="Segoe UI" pitchFamily="34" charset="0"/>
            </a:endParaRPr>
          </a:p>
          <a:p>
            <a:pPr marL="252134" indent="-252134" defTabSz="685397" fontAlgn="base">
              <a:lnSpc>
                <a:spcPct val="90000"/>
              </a:lnSpc>
              <a:spcBef>
                <a:spcPct val="0"/>
              </a:spcBef>
              <a:spcAft>
                <a:spcPct val="0"/>
              </a:spcAft>
              <a:buFont typeface="+mj-lt"/>
              <a:buAutoNum type="arabicPeriod"/>
            </a:pPr>
            <a:r>
              <a:rPr lang="en-US" sz="1324" dirty="0">
                <a:ln>
                  <a:solidFill>
                    <a:srgbClr val="FFFFFF">
                      <a:alpha val="0"/>
                    </a:srgbClr>
                  </a:solidFill>
                </a:ln>
                <a:gradFill>
                  <a:gsLst>
                    <a:gs pos="30275">
                      <a:srgbClr val="FFFFFF"/>
                    </a:gs>
                    <a:gs pos="55000">
                      <a:srgbClr val="FFFFFF"/>
                    </a:gs>
                  </a:gsLst>
                  <a:lin ang="0" scaled="0"/>
                </a:gradFill>
                <a:ea typeface="Segoe UI" pitchFamily="34" charset="0"/>
                <a:cs typeface="Segoe UI" pitchFamily="34" charset="0"/>
              </a:rPr>
              <a:t>SA </a:t>
            </a:r>
            <a:r>
              <a:rPr lang="zh-TW" altLang="en-US" sz="1324" dirty="0">
                <a:ln>
                  <a:solidFill>
                    <a:srgbClr val="FFFFFF">
                      <a:alpha val="0"/>
                    </a:srgbClr>
                  </a:solidFill>
                </a:ln>
                <a:gradFill>
                  <a:gsLst>
                    <a:gs pos="30275">
                      <a:srgbClr val="FFFFFF"/>
                    </a:gs>
                    <a:gs pos="55000">
                      <a:srgbClr val="FFFFFF"/>
                    </a:gs>
                  </a:gsLst>
                  <a:lin ang="0" scaled="0"/>
                </a:gradFill>
                <a:ea typeface="Segoe UI" pitchFamily="34" charset="0"/>
                <a:cs typeface="Segoe UI" pitchFamily="34" charset="0"/>
              </a:rPr>
              <a:t>包含 </a:t>
            </a:r>
            <a:r>
              <a:rPr lang="en-US" altLang="zh-TW" sz="1324" dirty="0">
                <a:ln>
                  <a:solidFill>
                    <a:srgbClr val="FFFFFF">
                      <a:alpha val="0"/>
                    </a:srgbClr>
                  </a:solidFill>
                </a:ln>
                <a:gradFill>
                  <a:gsLst>
                    <a:gs pos="30275">
                      <a:srgbClr val="FFFFFF"/>
                    </a:gs>
                    <a:gs pos="55000">
                      <a:srgbClr val="FFFFFF"/>
                    </a:gs>
                  </a:gsLst>
                  <a:lin ang="0" scaled="0"/>
                </a:gradFill>
                <a:ea typeface="Segoe UI" pitchFamily="34" charset="0"/>
                <a:cs typeface="Segoe UI" pitchFamily="34" charset="0"/>
              </a:rPr>
              <a:t>license mobility </a:t>
            </a:r>
            <a:r>
              <a:rPr lang="zh-TW" altLang="en-US" sz="1324" dirty="0">
                <a:ln>
                  <a:solidFill>
                    <a:srgbClr val="FFFFFF">
                      <a:alpha val="0"/>
                    </a:srgbClr>
                  </a:solidFill>
                </a:ln>
                <a:gradFill>
                  <a:gsLst>
                    <a:gs pos="30275">
                      <a:srgbClr val="FFFFFF"/>
                    </a:gs>
                    <a:gs pos="55000">
                      <a:srgbClr val="FFFFFF"/>
                    </a:gs>
                  </a:gsLst>
                  <a:lin ang="0" scaled="0"/>
                </a:gradFill>
                <a:ea typeface="Segoe UI" pitchFamily="34" charset="0"/>
                <a:cs typeface="Segoe UI" pitchFamily="34" charset="0"/>
              </a:rPr>
              <a:t>提供計劃或非計畫中的</a:t>
            </a:r>
            <a:r>
              <a:rPr lang="en-US" altLang="zh-TW" sz="1324" dirty="0">
                <a:ln>
                  <a:solidFill>
                    <a:srgbClr val="FFFFFF">
                      <a:alpha val="0"/>
                    </a:srgbClr>
                  </a:solidFill>
                </a:ln>
                <a:gradFill>
                  <a:gsLst>
                    <a:gs pos="30275">
                      <a:srgbClr val="FFFFFF"/>
                    </a:gs>
                    <a:gs pos="55000">
                      <a:srgbClr val="FFFFFF"/>
                    </a:gs>
                  </a:gsLst>
                  <a:lin ang="0" scaled="0"/>
                </a:gradFill>
                <a:ea typeface="Segoe UI" pitchFamily="34" charset="0"/>
                <a:cs typeface="Segoe UI" pitchFamily="34" charset="0"/>
              </a:rPr>
              <a:t>downtime</a:t>
            </a:r>
            <a:r>
              <a:rPr lang="zh-TW" altLang="en-US" sz="1324" dirty="0">
                <a:ln>
                  <a:solidFill>
                    <a:srgbClr val="FFFFFF">
                      <a:alpha val="0"/>
                    </a:srgbClr>
                  </a:solidFill>
                </a:ln>
                <a:gradFill>
                  <a:gsLst>
                    <a:gs pos="30275">
                      <a:srgbClr val="FFFFFF"/>
                    </a:gs>
                    <a:gs pos="55000">
                      <a:srgbClr val="FFFFFF"/>
                    </a:gs>
                  </a:gsLst>
                  <a:lin ang="0" scaled="0"/>
                </a:gradFill>
                <a:ea typeface="Segoe UI" pitchFamily="34" charset="0"/>
                <a:cs typeface="Segoe UI" pitchFamily="34" charset="0"/>
              </a:rPr>
              <a:t>，讓 </a:t>
            </a:r>
            <a:r>
              <a:rPr lang="en-US" altLang="zh-TW" sz="1324" dirty="0">
                <a:ln>
                  <a:solidFill>
                    <a:srgbClr val="FFFFFF">
                      <a:alpha val="0"/>
                    </a:srgbClr>
                  </a:solidFill>
                </a:ln>
                <a:gradFill>
                  <a:gsLst>
                    <a:gs pos="30275">
                      <a:srgbClr val="FFFFFF"/>
                    </a:gs>
                    <a:gs pos="55000">
                      <a:srgbClr val="FFFFFF"/>
                    </a:gs>
                  </a:gsLst>
                  <a:lin ang="0" scaled="0"/>
                </a:gradFill>
                <a:ea typeface="Segoe UI" pitchFamily="34" charset="0"/>
                <a:cs typeface="Segoe UI" pitchFamily="34" charset="0"/>
              </a:rPr>
              <a:t>Server </a:t>
            </a:r>
            <a:r>
              <a:rPr lang="zh-TW" altLang="en-US" sz="1324" dirty="0">
                <a:ln>
                  <a:solidFill>
                    <a:srgbClr val="FFFFFF">
                      <a:alpha val="0"/>
                    </a:srgbClr>
                  </a:solidFill>
                </a:ln>
                <a:gradFill>
                  <a:gsLst>
                    <a:gs pos="30275">
                      <a:srgbClr val="FFFFFF"/>
                    </a:gs>
                    <a:gs pos="55000">
                      <a:srgbClr val="FFFFFF"/>
                    </a:gs>
                  </a:gsLst>
                  <a:lin ang="0" scaled="0"/>
                </a:gradFill>
                <a:ea typeface="Segoe UI" pitchFamily="34" charset="0"/>
                <a:cs typeface="Segoe UI" pitchFamily="34" charset="0"/>
              </a:rPr>
              <a:t>授權能彈性使用</a:t>
            </a:r>
            <a:endParaRPr lang="en-US" sz="1324" dirty="0">
              <a:ln>
                <a:solidFill>
                  <a:srgbClr val="FFFFFF">
                    <a:alpha val="0"/>
                  </a:srgbClr>
                </a:solidFill>
              </a:ln>
              <a:gradFill>
                <a:gsLst>
                  <a:gs pos="30275">
                    <a:srgbClr val="FFFFFF"/>
                  </a:gs>
                  <a:gs pos="55000">
                    <a:srgbClr val="FFFFFF"/>
                  </a:gs>
                </a:gsLst>
                <a:lin ang="0" scaled="0"/>
              </a:gradFill>
              <a:ea typeface="Segoe UI" pitchFamily="34" charset="0"/>
              <a:cs typeface="Segoe UI" pitchFamily="34" charset="0"/>
            </a:endParaRPr>
          </a:p>
        </p:txBody>
      </p:sp>
    </p:spTree>
    <p:extLst>
      <p:ext uri="{BB962C8B-B14F-4D97-AF65-F5344CB8AC3E}">
        <p14:creationId xmlns:p14="http://schemas.microsoft.com/office/powerpoint/2010/main" val="2610993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1000"/>
                                        <p:tgtEl>
                                          <p:spTgt spid="27"/>
                                        </p:tgtEl>
                                      </p:cBhvr>
                                    </p:animEffect>
                                    <p:anim calcmode="lin" valueType="num">
                                      <p:cBhvr>
                                        <p:cTn id="18" dur="1000" fill="hold"/>
                                        <p:tgtEl>
                                          <p:spTgt spid="27"/>
                                        </p:tgtEl>
                                        <p:attrNameLst>
                                          <p:attrName>ppt_x</p:attrName>
                                        </p:attrNameLst>
                                      </p:cBhvr>
                                      <p:tavLst>
                                        <p:tav tm="0">
                                          <p:val>
                                            <p:strVal val="#ppt_x"/>
                                          </p:val>
                                        </p:tav>
                                        <p:tav tm="100000">
                                          <p:val>
                                            <p:strVal val="#ppt_x"/>
                                          </p:val>
                                        </p:tav>
                                      </p:tavLst>
                                    </p:anim>
                                    <p:anim calcmode="lin" valueType="num">
                                      <p:cBhvr>
                                        <p:cTn id="19" dur="1000" fill="hold"/>
                                        <p:tgtEl>
                                          <p:spTgt spid="27"/>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30"/>
                                        </p:tgtEl>
                                        <p:attrNameLst>
                                          <p:attrName>style.visibility</p:attrName>
                                        </p:attrNameLst>
                                      </p:cBhvr>
                                      <p:to>
                                        <p:strVal val="visible"/>
                                      </p:to>
                                    </p:set>
                                    <p:animEffect transition="in" filter="fade">
                                      <p:cBhvr>
                                        <p:cTn id="22" dur="1000"/>
                                        <p:tgtEl>
                                          <p:spTgt spid="30"/>
                                        </p:tgtEl>
                                      </p:cBhvr>
                                    </p:animEffect>
                                    <p:anim calcmode="lin" valueType="num">
                                      <p:cBhvr>
                                        <p:cTn id="23" dur="1000" fill="hold"/>
                                        <p:tgtEl>
                                          <p:spTgt spid="30"/>
                                        </p:tgtEl>
                                        <p:attrNameLst>
                                          <p:attrName>ppt_x</p:attrName>
                                        </p:attrNameLst>
                                      </p:cBhvr>
                                      <p:tavLst>
                                        <p:tav tm="0">
                                          <p:val>
                                            <p:strVal val="#ppt_x"/>
                                          </p:val>
                                        </p:tav>
                                        <p:tav tm="100000">
                                          <p:val>
                                            <p:strVal val="#ppt_x"/>
                                          </p:val>
                                        </p:tav>
                                      </p:tavLst>
                                    </p:anim>
                                    <p:anim calcmode="lin" valueType="num">
                                      <p:cBhvr>
                                        <p:cTn id="24" dur="1000" fill="hold"/>
                                        <p:tgtEl>
                                          <p:spTgt spid="30"/>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45"/>
                                        </p:tgtEl>
                                        <p:attrNameLst>
                                          <p:attrName>style.visibility</p:attrName>
                                        </p:attrNameLst>
                                      </p:cBhvr>
                                      <p:to>
                                        <p:strVal val="visible"/>
                                      </p:to>
                                    </p:set>
                                    <p:animEffect transition="in" filter="fade">
                                      <p:cBhvr>
                                        <p:cTn id="27" dur="1000"/>
                                        <p:tgtEl>
                                          <p:spTgt spid="45"/>
                                        </p:tgtEl>
                                      </p:cBhvr>
                                    </p:animEffect>
                                    <p:anim calcmode="lin" valueType="num">
                                      <p:cBhvr>
                                        <p:cTn id="28" dur="1000" fill="hold"/>
                                        <p:tgtEl>
                                          <p:spTgt spid="45"/>
                                        </p:tgtEl>
                                        <p:attrNameLst>
                                          <p:attrName>ppt_x</p:attrName>
                                        </p:attrNameLst>
                                      </p:cBhvr>
                                      <p:tavLst>
                                        <p:tav tm="0">
                                          <p:val>
                                            <p:strVal val="#ppt_x"/>
                                          </p:val>
                                        </p:tav>
                                        <p:tav tm="100000">
                                          <p:val>
                                            <p:strVal val="#ppt_x"/>
                                          </p:val>
                                        </p:tav>
                                      </p:tavLst>
                                    </p:anim>
                                    <p:anim calcmode="lin" valueType="num">
                                      <p:cBhvr>
                                        <p:cTn id="29" dur="1000" fill="hold"/>
                                        <p:tgtEl>
                                          <p:spTgt spid="45"/>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47"/>
                                        </p:tgtEl>
                                        <p:attrNameLst>
                                          <p:attrName>style.visibility</p:attrName>
                                        </p:attrNameLst>
                                      </p:cBhvr>
                                      <p:to>
                                        <p:strVal val="visible"/>
                                      </p:to>
                                    </p:set>
                                    <p:animEffect transition="in" filter="fade">
                                      <p:cBhvr>
                                        <p:cTn id="32" dur="1000"/>
                                        <p:tgtEl>
                                          <p:spTgt spid="47"/>
                                        </p:tgtEl>
                                      </p:cBhvr>
                                    </p:animEffect>
                                    <p:anim calcmode="lin" valueType="num">
                                      <p:cBhvr>
                                        <p:cTn id="33" dur="1000" fill="hold"/>
                                        <p:tgtEl>
                                          <p:spTgt spid="47"/>
                                        </p:tgtEl>
                                        <p:attrNameLst>
                                          <p:attrName>ppt_x</p:attrName>
                                        </p:attrNameLst>
                                      </p:cBhvr>
                                      <p:tavLst>
                                        <p:tav tm="0">
                                          <p:val>
                                            <p:strVal val="#ppt_x"/>
                                          </p:val>
                                        </p:tav>
                                        <p:tav tm="100000">
                                          <p:val>
                                            <p:strVal val="#ppt_x"/>
                                          </p:val>
                                        </p:tav>
                                      </p:tavLst>
                                    </p:anim>
                                    <p:anim calcmode="lin" valueType="num">
                                      <p:cBhvr>
                                        <p:cTn id="34" dur="1000" fill="hold"/>
                                        <p:tgtEl>
                                          <p:spTgt spid="47"/>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53"/>
                                        </p:tgtEl>
                                        <p:attrNameLst>
                                          <p:attrName>style.visibility</p:attrName>
                                        </p:attrNameLst>
                                      </p:cBhvr>
                                      <p:to>
                                        <p:strVal val="visible"/>
                                      </p:to>
                                    </p:set>
                                    <p:animEffect transition="in" filter="fade">
                                      <p:cBhvr>
                                        <p:cTn id="37" dur="1000"/>
                                        <p:tgtEl>
                                          <p:spTgt spid="53"/>
                                        </p:tgtEl>
                                      </p:cBhvr>
                                    </p:animEffect>
                                    <p:anim calcmode="lin" valueType="num">
                                      <p:cBhvr>
                                        <p:cTn id="38" dur="1000" fill="hold"/>
                                        <p:tgtEl>
                                          <p:spTgt spid="53"/>
                                        </p:tgtEl>
                                        <p:attrNameLst>
                                          <p:attrName>ppt_x</p:attrName>
                                        </p:attrNameLst>
                                      </p:cBhvr>
                                      <p:tavLst>
                                        <p:tav tm="0">
                                          <p:val>
                                            <p:strVal val="#ppt_x"/>
                                          </p:val>
                                        </p:tav>
                                        <p:tav tm="100000">
                                          <p:val>
                                            <p:strVal val="#ppt_x"/>
                                          </p:val>
                                        </p:tav>
                                      </p:tavLst>
                                    </p:anim>
                                    <p:anim calcmode="lin" valueType="num">
                                      <p:cBhvr>
                                        <p:cTn id="39" dur="1000" fill="hold"/>
                                        <p:tgtEl>
                                          <p:spTgt spid="53"/>
                                        </p:tgtEl>
                                        <p:attrNameLst>
                                          <p:attrName>ppt_y</p:attrName>
                                        </p:attrNameLst>
                                      </p:cBhvr>
                                      <p:tavLst>
                                        <p:tav tm="0">
                                          <p:val>
                                            <p:strVal val="#ppt_y+.1"/>
                                          </p:val>
                                        </p:tav>
                                        <p:tav tm="100000">
                                          <p:val>
                                            <p:strVal val="#ppt_y"/>
                                          </p:val>
                                        </p:tav>
                                      </p:tavLst>
                                    </p:anim>
                                  </p:childTnLst>
                                </p:cTn>
                              </p:par>
                              <p:par>
                                <p:cTn id="40" presetID="42" presetClass="entr" presetSubtype="0" fill="hold" grpId="0" nodeType="withEffect">
                                  <p:stCondLst>
                                    <p:cond delay="0"/>
                                  </p:stCondLst>
                                  <p:childTnLst>
                                    <p:set>
                                      <p:cBhvr>
                                        <p:cTn id="41" dur="1" fill="hold">
                                          <p:stCondLst>
                                            <p:cond delay="0"/>
                                          </p:stCondLst>
                                        </p:cTn>
                                        <p:tgtEl>
                                          <p:spTgt spid="54"/>
                                        </p:tgtEl>
                                        <p:attrNameLst>
                                          <p:attrName>style.visibility</p:attrName>
                                        </p:attrNameLst>
                                      </p:cBhvr>
                                      <p:to>
                                        <p:strVal val="visible"/>
                                      </p:to>
                                    </p:set>
                                    <p:animEffect transition="in" filter="fade">
                                      <p:cBhvr>
                                        <p:cTn id="42" dur="1000"/>
                                        <p:tgtEl>
                                          <p:spTgt spid="54"/>
                                        </p:tgtEl>
                                      </p:cBhvr>
                                    </p:animEffect>
                                    <p:anim calcmode="lin" valueType="num">
                                      <p:cBhvr>
                                        <p:cTn id="43" dur="1000" fill="hold"/>
                                        <p:tgtEl>
                                          <p:spTgt spid="54"/>
                                        </p:tgtEl>
                                        <p:attrNameLst>
                                          <p:attrName>ppt_x</p:attrName>
                                        </p:attrNameLst>
                                      </p:cBhvr>
                                      <p:tavLst>
                                        <p:tav tm="0">
                                          <p:val>
                                            <p:strVal val="#ppt_x"/>
                                          </p:val>
                                        </p:tav>
                                        <p:tav tm="100000">
                                          <p:val>
                                            <p:strVal val="#ppt_x"/>
                                          </p:val>
                                        </p:tav>
                                      </p:tavLst>
                                    </p:anim>
                                    <p:anim calcmode="lin" valueType="num">
                                      <p:cBhvr>
                                        <p:cTn id="44" dur="1000" fill="hold"/>
                                        <p:tgtEl>
                                          <p:spTgt spid="54"/>
                                        </p:tgtEl>
                                        <p:attrNameLst>
                                          <p:attrName>ppt_y</p:attrName>
                                        </p:attrNameLst>
                                      </p:cBhvr>
                                      <p:tavLst>
                                        <p:tav tm="0">
                                          <p:val>
                                            <p:strVal val="#ppt_y+.1"/>
                                          </p:val>
                                        </p:tav>
                                        <p:tav tm="100000">
                                          <p:val>
                                            <p:strVal val="#ppt_y"/>
                                          </p:val>
                                        </p:tav>
                                      </p:tavLst>
                                    </p:anim>
                                  </p:childTnLst>
                                </p:cTn>
                              </p:par>
                              <p:par>
                                <p:cTn id="45" presetID="42" presetClass="entr" presetSubtype="0" fill="hold" nodeType="withEffect">
                                  <p:stCondLst>
                                    <p:cond delay="0"/>
                                  </p:stCondLst>
                                  <p:childTnLst>
                                    <p:set>
                                      <p:cBhvr>
                                        <p:cTn id="46" dur="1" fill="hold">
                                          <p:stCondLst>
                                            <p:cond delay="0"/>
                                          </p:stCondLst>
                                        </p:cTn>
                                        <p:tgtEl>
                                          <p:spTgt spid="59"/>
                                        </p:tgtEl>
                                        <p:attrNameLst>
                                          <p:attrName>style.visibility</p:attrName>
                                        </p:attrNameLst>
                                      </p:cBhvr>
                                      <p:to>
                                        <p:strVal val="visible"/>
                                      </p:to>
                                    </p:set>
                                    <p:animEffect transition="in" filter="fade">
                                      <p:cBhvr>
                                        <p:cTn id="47" dur="1000"/>
                                        <p:tgtEl>
                                          <p:spTgt spid="59"/>
                                        </p:tgtEl>
                                      </p:cBhvr>
                                    </p:animEffect>
                                    <p:anim calcmode="lin" valueType="num">
                                      <p:cBhvr>
                                        <p:cTn id="48" dur="1000" fill="hold"/>
                                        <p:tgtEl>
                                          <p:spTgt spid="59"/>
                                        </p:tgtEl>
                                        <p:attrNameLst>
                                          <p:attrName>ppt_x</p:attrName>
                                        </p:attrNameLst>
                                      </p:cBhvr>
                                      <p:tavLst>
                                        <p:tav tm="0">
                                          <p:val>
                                            <p:strVal val="#ppt_x"/>
                                          </p:val>
                                        </p:tav>
                                        <p:tav tm="100000">
                                          <p:val>
                                            <p:strVal val="#ppt_x"/>
                                          </p:val>
                                        </p:tav>
                                      </p:tavLst>
                                    </p:anim>
                                    <p:anim calcmode="lin" valueType="num">
                                      <p:cBhvr>
                                        <p:cTn id="49" dur="1000" fill="hold"/>
                                        <p:tgtEl>
                                          <p:spTgt spid="59"/>
                                        </p:tgtEl>
                                        <p:attrNameLst>
                                          <p:attrName>ppt_y</p:attrName>
                                        </p:attrNameLst>
                                      </p:cBhvr>
                                      <p:tavLst>
                                        <p:tav tm="0">
                                          <p:val>
                                            <p:strVal val="#ppt_y+.1"/>
                                          </p:val>
                                        </p:tav>
                                        <p:tav tm="100000">
                                          <p:val>
                                            <p:strVal val="#ppt_y"/>
                                          </p:val>
                                        </p:tav>
                                      </p:tavLst>
                                    </p:anim>
                                  </p:childTnLst>
                                </p:cTn>
                              </p:par>
                            </p:childTnLst>
                          </p:cTn>
                        </p:par>
                      </p:childTnLst>
                    </p:cTn>
                  </p:par>
                  <p:par>
                    <p:cTn id="50" fill="hold">
                      <p:stCondLst>
                        <p:cond delay="indefinite"/>
                      </p:stCondLst>
                      <p:childTnLst>
                        <p:par>
                          <p:cTn id="51" fill="hold">
                            <p:stCondLst>
                              <p:cond delay="0"/>
                            </p:stCondLst>
                            <p:childTnLst>
                              <p:par>
                                <p:cTn id="52" presetID="42" presetClass="entr" presetSubtype="0" fill="hold" grpId="0" nodeType="clickEffect">
                                  <p:stCondLst>
                                    <p:cond delay="0"/>
                                  </p:stCondLst>
                                  <p:childTnLst>
                                    <p:set>
                                      <p:cBhvr>
                                        <p:cTn id="53" dur="1" fill="hold">
                                          <p:stCondLst>
                                            <p:cond delay="0"/>
                                          </p:stCondLst>
                                        </p:cTn>
                                        <p:tgtEl>
                                          <p:spTgt spid="4"/>
                                        </p:tgtEl>
                                        <p:attrNameLst>
                                          <p:attrName>style.visibility</p:attrName>
                                        </p:attrNameLst>
                                      </p:cBhvr>
                                      <p:to>
                                        <p:strVal val="visible"/>
                                      </p:to>
                                    </p:set>
                                    <p:animEffect transition="in" filter="fade">
                                      <p:cBhvr>
                                        <p:cTn id="54" dur="1000"/>
                                        <p:tgtEl>
                                          <p:spTgt spid="4"/>
                                        </p:tgtEl>
                                      </p:cBhvr>
                                    </p:animEffect>
                                    <p:anim calcmode="lin" valueType="num">
                                      <p:cBhvr>
                                        <p:cTn id="55" dur="1000" fill="hold"/>
                                        <p:tgtEl>
                                          <p:spTgt spid="4"/>
                                        </p:tgtEl>
                                        <p:attrNameLst>
                                          <p:attrName>ppt_x</p:attrName>
                                        </p:attrNameLst>
                                      </p:cBhvr>
                                      <p:tavLst>
                                        <p:tav tm="0">
                                          <p:val>
                                            <p:strVal val="#ppt_x"/>
                                          </p:val>
                                        </p:tav>
                                        <p:tav tm="100000">
                                          <p:val>
                                            <p:strVal val="#ppt_x"/>
                                          </p:val>
                                        </p:tav>
                                      </p:tavLst>
                                    </p:anim>
                                    <p:anim calcmode="lin" valueType="num">
                                      <p:cBhvr>
                                        <p:cTn id="56" dur="1000" fill="hold"/>
                                        <p:tgtEl>
                                          <p:spTgt spid="4"/>
                                        </p:tgtEl>
                                        <p:attrNameLst>
                                          <p:attrName>ppt_y</p:attrName>
                                        </p:attrNameLst>
                                      </p:cBhvr>
                                      <p:tavLst>
                                        <p:tav tm="0">
                                          <p:val>
                                            <p:strVal val="#ppt_y+.1"/>
                                          </p:val>
                                        </p:tav>
                                        <p:tav tm="100000">
                                          <p:val>
                                            <p:strVal val="#ppt_y"/>
                                          </p:val>
                                        </p:tav>
                                      </p:tavLst>
                                    </p:anim>
                                  </p:childTnLst>
                                </p:cTn>
                              </p:par>
                              <p:par>
                                <p:cTn id="57" presetID="42" presetClass="entr" presetSubtype="0" fill="hold" grpId="0" nodeType="withEffect">
                                  <p:stCondLst>
                                    <p:cond delay="0"/>
                                  </p:stCondLst>
                                  <p:childTnLst>
                                    <p:set>
                                      <p:cBhvr>
                                        <p:cTn id="58" dur="1" fill="hold">
                                          <p:stCondLst>
                                            <p:cond delay="0"/>
                                          </p:stCondLst>
                                        </p:cTn>
                                        <p:tgtEl>
                                          <p:spTgt spid="7"/>
                                        </p:tgtEl>
                                        <p:attrNameLst>
                                          <p:attrName>style.visibility</p:attrName>
                                        </p:attrNameLst>
                                      </p:cBhvr>
                                      <p:to>
                                        <p:strVal val="visible"/>
                                      </p:to>
                                    </p:set>
                                    <p:animEffect transition="in" filter="fade">
                                      <p:cBhvr>
                                        <p:cTn id="59" dur="1000"/>
                                        <p:tgtEl>
                                          <p:spTgt spid="7"/>
                                        </p:tgtEl>
                                      </p:cBhvr>
                                    </p:animEffect>
                                    <p:anim calcmode="lin" valueType="num">
                                      <p:cBhvr>
                                        <p:cTn id="60" dur="1000" fill="hold"/>
                                        <p:tgtEl>
                                          <p:spTgt spid="7"/>
                                        </p:tgtEl>
                                        <p:attrNameLst>
                                          <p:attrName>ppt_x</p:attrName>
                                        </p:attrNameLst>
                                      </p:cBhvr>
                                      <p:tavLst>
                                        <p:tav tm="0">
                                          <p:val>
                                            <p:strVal val="#ppt_x"/>
                                          </p:val>
                                        </p:tav>
                                        <p:tav tm="100000">
                                          <p:val>
                                            <p:strVal val="#ppt_x"/>
                                          </p:val>
                                        </p:tav>
                                      </p:tavLst>
                                    </p:anim>
                                    <p:anim calcmode="lin" valueType="num">
                                      <p:cBhvr>
                                        <p:cTn id="61" dur="1000" fill="hold"/>
                                        <p:tgtEl>
                                          <p:spTgt spid="7"/>
                                        </p:tgtEl>
                                        <p:attrNameLst>
                                          <p:attrName>ppt_y</p:attrName>
                                        </p:attrNameLst>
                                      </p:cBhvr>
                                      <p:tavLst>
                                        <p:tav tm="0">
                                          <p:val>
                                            <p:strVal val="#ppt_y+.1"/>
                                          </p:val>
                                        </p:tav>
                                        <p:tav tm="100000">
                                          <p:val>
                                            <p:strVal val="#ppt_y"/>
                                          </p:val>
                                        </p:tav>
                                      </p:tavLst>
                                    </p:anim>
                                  </p:childTnLst>
                                </p:cTn>
                              </p:par>
                              <p:par>
                                <p:cTn id="62" presetID="42" presetClass="entr" presetSubtype="0" fill="hold" grpId="0" nodeType="withEffect">
                                  <p:stCondLst>
                                    <p:cond delay="0"/>
                                  </p:stCondLst>
                                  <p:childTnLst>
                                    <p:set>
                                      <p:cBhvr>
                                        <p:cTn id="63" dur="1" fill="hold">
                                          <p:stCondLst>
                                            <p:cond delay="0"/>
                                          </p:stCondLst>
                                        </p:cTn>
                                        <p:tgtEl>
                                          <p:spTgt spid="48"/>
                                        </p:tgtEl>
                                        <p:attrNameLst>
                                          <p:attrName>style.visibility</p:attrName>
                                        </p:attrNameLst>
                                      </p:cBhvr>
                                      <p:to>
                                        <p:strVal val="visible"/>
                                      </p:to>
                                    </p:set>
                                    <p:animEffect transition="in" filter="fade">
                                      <p:cBhvr>
                                        <p:cTn id="64" dur="1000"/>
                                        <p:tgtEl>
                                          <p:spTgt spid="48"/>
                                        </p:tgtEl>
                                      </p:cBhvr>
                                    </p:animEffect>
                                    <p:anim calcmode="lin" valueType="num">
                                      <p:cBhvr>
                                        <p:cTn id="65" dur="1000" fill="hold"/>
                                        <p:tgtEl>
                                          <p:spTgt spid="48"/>
                                        </p:tgtEl>
                                        <p:attrNameLst>
                                          <p:attrName>ppt_x</p:attrName>
                                        </p:attrNameLst>
                                      </p:cBhvr>
                                      <p:tavLst>
                                        <p:tav tm="0">
                                          <p:val>
                                            <p:strVal val="#ppt_x"/>
                                          </p:val>
                                        </p:tav>
                                        <p:tav tm="100000">
                                          <p:val>
                                            <p:strVal val="#ppt_x"/>
                                          </p:val>
                                        </p:tav>
                                      </p:tavLst>
                                    </p:anim>
                                    <p:anim calcmode="lin" valueType="num">
                                      <p:cBhvr>
                                        <p:cTn id="66" dur="1000" fill="hold"/>
                                        <p:tgtEl>
                                          <p:spTgt spid="48"/>
                                        </p:tgtEl>
                                        <p:attrNameLst>
                                          <p:attrName>ppt_y</p:attrName>
                                        </p:attrNameLst>
                                      </p:cBhvr>
                                      <p:tavLst>
                                        <p:tav tm="0">
                                          <p:val>
                                            <p:strVal val="#ppt_y+.1"/>
                                          </p:val>
                                        </p:tav>
                                        <p:tav tm="100000">
                                          <p:val>
                                            <p:strVal val="#ppt_y"/>
                                          </p:val>
                                        </p:tav>
                                      </p:tavLst>
                                    </p:anim>
                                  </p:childTnLst>
                                </p:cTn>
                              </p:par>
                              <p:par>
                                <p:cTn id="67" presetID="42" presetClass="entr" presetSubtype="0" fill="hold" grpId="0" nodeType="withEffect">
                                  <p:stCondLst>
                                    <p:cond delay="0"/>
                                  </p:stCondLst>
                                  <p:childTnLst>
                                    <p:set>
                                      <p:cBhvr>
                                        <p:cTn id="68" dur="1" fill="hold">
                                          <p:stCondLst>
                                            <p:cond delay="0"/>
                                          </p:stCondLst>
                                        </p:cTn>
                                        <p:tgtEl>
                                          <p:spTgt spid="49"/>
                                        </p:tgtEl>
                                        <p:attrNameLst>
                                          <p:attrName>style.visibility</p:attrName>
                                        </p:attrNameLst>
                                      </p:cBhvr>
                                      <p:to>
                                        <p:strVal val="visible"/>
                                      </p:to>
                                    </p:set>
                                    <p:animEffect transition="in" filter="fade">
                                      <p:cBhvr>
                                        <p:cTn id="69" dur="1000"/>
                                        <p:tgtEl>
                                          <p:spTgt spid="49"/>
                                        </p:tgtEl>
                                      </p:cBhvr>
                                    </p:animEffect>
                                    <p:anim calcmode="lin" valueType="num">
                                      <p:cBhvr>
                                        <p:cTn id="70" dur="1000" fill="hold"/>
                                        <p:tgtEl>
                                          <p:spTgt spid="49"/>
                                        </p:tgtEl>
                                        <p:attrNameLst>
                                          <p:attrName>ppt_x</p:attrName>
                                        </p:attrNameLst>
                                      </p:cBhvr>
                                      <p:tavLst>
                                        <p:tav tm="0">
                                          <p:val>
                                            <p:strVal val="#ppt_x"/>
                                          </p:val>
                                        </p:tav>
                                        <p:tav tm="100000">
                                          <p:val>
                                            <p:strVal val="#ppt_x"/>
                                          </p:val>
                                        </p:tav>
                                      </p:tavLst>
                                    </p:anim>
                                    <p:anim calcmode="lin" valueType="num">
                                      <p:cBhvr>
                                        <p:cTn id="71" dur="1000" fill="hold"/>
                                        <p:tgtEl>
                                          <p:spTgt spid="49"/>
                                        </p:tgtEl>
                                        <p:attrNameLst>
                                          <p:attrName>ppt_y</p:attrName>
                                        </p:attrNameLst>
                                      </p:cBhvr>
                                      <p:tavLst>
                                        <p:tav tm="0">
                                          <p:val>
                                            <p:strVal val="#ppt_y+.1"/>
                                          </p:val>
                                        </p:tav>
                                        <p:tav tm="100000">
                                          <p:val>
                                            <p:strVal val="#ppt_y"/>
                                          </p:val>
                                        </p:tav>
                                      </p:tavLst>
                                    </p:anim>
                                  </p:childTnLst>
                                </p:cTn>
                              </p:par>
                              <p:par>
                                <p:cTn id="72" presetID="42" presetClass="entr" presetSubtype="0" fill="hold" grpId="0" nodeType="withEffect">
                                  <p:stCondLst>
                                    <p:cond delay="0"/>
                                  </p:stCondLst>
                                  <p:childTnLst>
                                    <p:set>
                                      <p:cBhvr>
                                        <p:cTn id="73" dur="1" fill="hold">
                                          <p:stCondLst>
                                            <p:cond delay="0"/>
                                          </p:stCondLst>
                                        </p:cTn>
                                        <p:tgtEl>
                                          <p:spTgt spid="50"/>
                                        </p:tgtEl>
                                        <p:attrNameLst>
                                          <p:attrName>style.visibility</p:attrName>
                                        </p:attrNameLst>
                                      </p:cBhvr>
                                      <p:to>
                                        <p:strVal val="visible"/>
                                      </p:to>
                                    </p:set>
                                    <p:animEffect transition="in" filter="fade">
                                      <p:cBhvr>
                                        <p:cTn id="74" dur="1000"/>
                                        <p:tgtEl>
                                          <p:spTgt spid="50"/>
                                        </p:tgtEl>
                                      </p:cBhvr>
                                    </p:animEffect>
                                    <p:anim calcmode="lin" valueType="num">
                                      <p:cBhvr>
                                        <p:cTn id="75" dur="1000" fill="hold"/>
                                        <p:tgtEl>
                                          <p:spTgt spid="50"/>
                                        </p:tgtEl>
                                        <p:attrNameLst>
                                          <p:attrName>ppt_x</p:attrName>
                                        </p:attrNameLst>
                                      </p:cBhvr>
                                      <p:tavLst>
                                        <p:tav tm="0">
                                          <p:val>
                                            <p:strVal val="#ppt_x"/>
                                          </p:val>
                                        </p:tav>
                                        <p:tav tm="100000">
                                          <p:val>
                                            <p:strVal val="#ppt_x"/>
                                          </p:val>
                                        </p:tav>
                                      </p:tavLst>
                                    </p:anim>
                                    <p:anim calcmode="lin" valueType="num">
                                      <p:cBhvr>
                                        <p:cTn id="76" dur="1000" fill="hold"/>
                                        <p:tgtEl>
                                          <p:spTgt spid="50"/>
                                        </p:tgtEl>
                                        <p:attrNameLst>
                                          <p:attrName>ppt_y</p:attrName>
                                        </p:attrNameLst>
                                      </p:cBhvr>
                                      <p:tavLst>
                                        <p:tav tm="0">
                                          <p:val>
                                            <p:strVal val="#ppt_y+.1"/>
                                          </p:val>
                                        </p:tav>
                                        <p:tav tm="100000">
                                          <p:val>
                                            <p:strVal val="#ppt_y"/>
                                          </p:val>
                                        </p:tav>
                                      </p:tavLst>
                                    </p:anim>
                                  </p:childTnLst>
                                </p:cTn>
                              </p:par>
                              <p:par>
                                <p:cTn id="77" presetID="42" presetClass="entr" presetSubtype="0" fill="hold" grpId="0" nodeType="withEffect">
                                  <p:stCondLst>
                                    <p:cond delay="0"/>
                                  </p:stCondLst>
                                  <p:childTnLst>
                                    <p:set>
                                      <p:cBhvr>
                                        <p:cTn id="78" dur="1" fill="hold">
                                          <p:stCondLst>
                                            <p:cond delay="0"/>
                                          </p:stCondLst>
                                        </p:cTn>
                                        <p:tgtEl>
                                          <p:spTgt spid="55"/>
                                        </p:tgtEl>
                                        <p:attrNameLst>
                                          <p:attrName>style.visibility</p:attrName>
                                        </p:attrNameLst>
                                      </p:cBhvr>
                                      <p:to>
                                        <p:strVal val="visible"/>
                                      </p:to>
                                    </p:set>
                                    <p:animEffect transition="in" filter="fade">
                                      <p:cBhvr>
                                        <p:cTn id="79" dur="1000"/>
                                        <p:tgtEl>
                                          <p:spTgt spid="55"/>
                                        </p:tgtEl>
                                      </p:cBhvr>
                                    </p:animEffect>
                                    <p:anim calcmode="lin" valueType="num">
                                      <p:cBhvr>
                                        <p:cTn id="80" dur="1000" fill="hold"/>
                                        <p:tgtEl>
                                          <p:spTgt spid="55"/>
                                        </p:tgtEl>
                                        <p:attrNameLst>
                                          <p:attrName>ppt_x</p:attrName>
                                        </p:attrNameLst>
                                      </p:cBhvr>
                                      <p:tavLst>
                                        <p:tav tm="0">
                                          <p:val>
                                            <p:strVal val="#ppt_x"/>
                                          </p:val>
                                        </p:tav>
                                        <p:tav tm="100000">
                                          <p:val>
                                            <p:strVal val="#ppt_x"/>
                                          </p:val>
                                        </p:tav>
                                      </p:tavLst>
                                    </p:anim>
                                    <p:anim calcmode="lin" valueType="num">
                                      <p:cBhvr>
                                        <p:cTn id="81" dur="1000" fill="hold"/>
                                        <p:tgtEl>
                                          <p:spTgt spid="55"/>
                                        </p:tgtEl>
                                        <p:attrNameLst>
                                          <p:attrName>ppt_y</p:attrName>
                                        </p:attrNameLst>
                                      </p:cBhvr>
                                      <p:tavLst>
                                        <p:tav tm="0">
                                          <p:val>
                                            <p:strVal val="#ppt_y+.1"/>
                                          </p:val>
                                        </p:tav>
                                        <p:tav tm="100000">
                                          <p:val>
                                            <p:strVal val="#ppt_y"/>
                                          </p:val>
                                        </p:tav>
                                      </p:tavLst>
                                    </p:anim>
                                  </p:childTnLst>
                                </p:cTn>
                              </p:par>
                              <p:par>
                                <p:cTn id="82" presetID="42" presetClass="entr" presetSubtype="0" fill="hold" grpId="0" nodeType="withEffect">
                                  <p:stCondLst>
                                    <p:cond delay="0"/>
                                  </p:stCondLst>
                                  <p:childTnLst>
                                    <p:set>
                                      <p:cBhvr>
                                        <p:cTn id="83" dur="1" fill="hold">
                                          <p:stCondLst>
                                            <p:cond delay="0"/>
                                          </p:stCondLst>
                                        </p:cTn>
                                        <p:tgtEl>
                                          <p:spTgt spid="56"/>
                                        </p:tgtEl>
                                        <p:attrNameLst>
                                          <p:attrName>style.visibility</p:attrName>
                                        </p:attrNameLst>
                                      </p:cBhvr>
                                      <p:to>
                                        <p:strVal val="visible"/>
                                      </p:to>
                                    </p:set>
                                    <p:animEffect transition="in" filter="fade">
                                      <p:cBhvr>
                                        <p:cTn id="84" dur="1000"/>
                                        <p:tgtEl>
                                          <p:spTgt spid="56"/>
                                        </p:tgtEl>
                                      </p:cBhvr>
                                    </p:animEffect>
                                    <p:anim calcmode="lin" valueType="num">
                                      <p:cBhvr>
                                        <p:cTn id="85" dur="1000" fill="hold"/>
                                        <p:tgtEl>
                                          <p:spTgt spid="56"/>
                                        </p:tgtEl>
                                        <p:attrNameLst>
                                          <p:attrName>ppt_x</p:attrName>
                                        </p:attrNameLst>
                                      </p:cBhvr>
                                      <p:tavLst>
                                        <p:tav tm="0">
                                          <p:val>
                                            <p:strVal val="#ppt_x"/>
                                          </p:val>
                                        </p:tav>
                                        <p:tav tm="100000">
                                          <p:val>
                                            <p:strVal val="#ppt_x"/>
                                          </p:val>
                                        </p:tav>
                                      </p:tavLst>
                                    </p:anim>
                                    <p:anim calcmode="lin" valueType="num">
                                      <p:cBhvr>
                                        <p:cTn id="86" dur="1000" fill="hold"/>
                                        <p:tgtEl>
                                          <p:spTgt spid="56"/>
                                        </p:tgtEl>
                                        <p:attrNameLst>
                                          <p:attrName>ppt_y</p:attrName>
                                        </p:attrNameLst>
                                      </p:cBhvr>
                                      <p:tavLst>
                                        <p:tav tm="0">
                                          <p:val>
                                            <p:strVal val="#ppt_y+.1"/>
                                          </p:val>
                                        </p:tav>
                                        <p:tav tm="100000">
                                          <p:val>
                                            <p:strVal val="#ppt_y"/>
                                          </p:val>
                                        </p:tav>
                                      </p:tavLst>
                                    </p:anim>
                                  </p:childTnLst>
                                </p:cTn>
                              </p:par>
                              <p:par>
                                <p:cTn id="87" presetID="42" presetClass="entr" presetSubtype="0" fill="hold" grpId="0" nodeType="withEffect">
                                  <p:stCondLst>
                                    <p:cond delay="0"/>
                                  </p:stCondLst>
                                  <p:childTnLst>
                                    <p:set>
                                      <p:cBhvr>
                                        <p:cTn id="88" dur="1" fill="hold">
                                          <p:stCondLst>
                                            <p:cond delay="0"/>
                                          </p:stCondLst>
                                        </p:cTn>
                                        <p:tgtEl>
                                          <p:spTgt spid="57"/>
                                        </p:tgtEl>
                                        <p:attrNameLst>
                                          <p:attrName>style.visibility</p:attrName>
                                        </p:attrNameLst>
                                      </p:cBhvr>
                                      <p:to>
                                        <p:strVal val="visible"/>
                                      </p:to>
                                    </p:set>
                                    <p:animEffect transition="in" filter="fade">
                                      <p:cBhvr>
                                        <p:cTn id="89" dur="1000"/>
                                        <p:tgtEl>
                                          <p:spTgt spid="57"/>
                                        </p:tgtEl>
                                      </p:cBhvr>
                                    </p:animEffect>
                                    <p:anim calcmode="lin" valueType="num">
                                      <p:cBhvr>
                                        <p:cTn id="90" dur="1000" fill="hold"/>
                                        <p:tgtEl>
                                          <p:spTgt spid="57"/>
                                        </p:tgtEl>
                                        <p:attrNameLst>
                                          <p:attrName>ppt_x</p:attrName>
                                        </p:attrNameLst>
                                      </p:cBhvr>
                                      <p:tavLst>
                                        <p:tav tm="0">
                                          <p:val>
                                            <p:strVal val="#ppt_x"/>
                                          </p:val>
                                        </p:tav>
                                        <p:tav tm="100000">
                                          <p:val>
                                            <p:strVal val="#ppt_x"/>
                                          </p:val>
                                        </p:tav>
                                      </p:tavLst>
                                    </p:anim>
                                    <p:anim calcmode="lin" valueType="num">
                                      <p:cBhvr>
                                        <p:cTn id="91" dur="1000" fill="hold"/>
                                        <p:tgtEl>
                                          <p:spTgt spid="57"/>
                                        </p:tgtEl>
                                        <p:attrNameLst>
                                          <p:attrName>ppt_y</p:attrName>
                                        </p:attrNameLst>
                                      </p:cBhvr>
                                      <p:tavLst>
                                        <p:tav tm="0">
                                          <p:val>
                                            <p:strVal val="#ppt_y+.1"/>
                                          </p:val>
                                        </p:tav>
                                        <p:tav tm="100000">
                                          <p:val>
                                            <p:strVal val="#ppt_y"/>
                                          </p:val>
                                        </p:tav>
                                      </p:tavLst>
                                    </p:anim>
                                  </p:childTnLst>
                                </p:cTn>
                              </p:par>
                              <p:par>
                                <p:cTn id="92" presetID="42" presetClass="entr" presetSubtype="0" fill="hold" nodeType="withEffect">
                                  <p:stCondLst>
                                    <p:cond delay="0"/>
                                  </p:stCondLst>
                                  <p:childTnLst>
                                    <p:set>
                                      <p:cBhvr>
                                        <p:cTn id="93" dur="1" fill="hold">
                                          <p:stCondLst>
                                            <p:cond delay="0"/>
                                          </p:stCondLst>
                                        </p:cTn>
                                        <p:tgtEl>
                                          <p:spTgt spid="63"/>
                                        </p:tgtEl>
                                        <p:attrNameLst>
                                          <p:attrName>style.visibility</p:attrName>
                                        </p:attrNameLst>
                                      </p:cBhvr>
                                      <p:to>
                                        <p:strVal val="visible"/>
                                      </p:to>
                                    </p:set>
                                    <p:animEffect transition="in" filter="fade">
                                      <p:cBhvr>
                                        <p:cTn id="94" dur="1000"/>
                                        <p:tgtEl>
                                          <p:spTgt spid="63"/>
                                        </p:tgtEl>
                                      </p:cBhvr>
                                    </p:animEffect>
                                    <p:anim calcmode="lin" valueType="num">
                                      <p:cBhvr>
                                        <p:cTn id="95" dur="1000" fill="hold"/>
                                        <p:tgtEl>
                                          <p:spTgt spid="63"/>
                                        </p:tgtEl>
                                        <p:attrNameLst>
                                          <p:attrName>ppt_x</p:attrName>
                                        </p:attrNameLst>
                                      </p:cBhvr>
                                      <p:tavLst>
                                        <p:tav tm="0">
                                          <p:val>
                                            <p:strVal val="#ppt_x"/>
                                          </p:val>
                                        </p:tav>
                                        <p:tav tm="100000">
                                          <p:val>
                                            <p:strVal val="#ppt_x"/>
                                          </p:val>
                                        </p:tav>
                                      </p:tavLst>
                                    </p:anim>
                                    <p:anim calcmode="lin" valueType="num">
                                      <p:cBhvr>
                                        <p:cTn id="96" dur="1000" fill="hold"/>
                                        <p:tgtEl>
                                          <p:spTgt spid="63"/>
                                        </p:tgtEl>
                                        <p:attrNameLst>
                                          <p:attrName>ppt_y</p:attrName>
                                        </p:attrNameLst>
                                      </p:cBhvr>
                                      <p:tavLst>
                                        <p:tav tm="0">
                                          <p:val>
                                            <p:strVal val="#ppt_y+.1"/>
                                          </p:val>
                                        </p:tav>
                                        <p:tav tm="100000">
                                          <p:val>
                                            <p:strVal val="#ppt_y"/>
                                          </p:val>
                                        </p:tav>
                                      </p:tavLst>
                                    </p:anim>
                                  </p:childTnLst>
                                </p:cTn>
                              </p:par>
                            </p:childTnLst>
                          </p:cTn>
                        </p:par>
                        <p:par>
                          <p:cTn id="97" fill="hold">
                            <p:stCondLst>
                              <p:cond delay="1000"/>
                            </p:stCondLst>
                            <p:childTnLst>
                              <p:par>
                                <p:cTn id="98" presetID="42" presetClass="entr" presetSubtype="0" fill="hold" grpId="0" nodeType="afterEffect">
                                  <p:stCondLst>
                                    <p:cond delay="0"/>
                                  </p:stCondLst>
                                  <p:childTnLst>
                                    <p:set>
                                      <p:cBhvr>
                                        <p:cTn id="99" dur="1" fill="hold">
                                          <p:stCondLst>
                                            <p:cond delay="0"/>
                                          </p:stCondLst>
                                        </p:cTn>
                                        <p:tgtEl>
                                          <p:spTgt spid="58"/>
                                        </p:tgtEl>
                                        <p:attrNameLst>
                                          <p:attrName>style.visibility</p:attrName>
                                        </p:attrNameLst>
                                      </p:cBhvr>
                                      <p:to>
                                        <p:strVal val="visible"/>
                                      </p:to>
                                    </p:set>
                                    <p:animEffect transition="in" filter="fade">
                                      <p:cBhvr>
                                        <p:cTn id="100" dur="1000"/>
                                        <p:tgtEl>
                                          <p:spTgt spid="58"/>
                                        </p:tgtEl>
                                      </p:cBhvr>
                                    </p:animEffect>
                                    <p:anim calcmode="lin" valueType="num">
                                      <p:cBhvr>
                                        <p:cTn id="101" dur="1000" fill="hold"/>
                                        <p:tgtEl>
                                          <p:spTgt spid="58"/>
                                        </p:tgtEl>
                                        <p:attrNameLst>
                                          <p:attrName>ppt_x</p:attrName>
                                        </p:attrNameLst>
                                      </p:cBhvr>
                                      <p:tavLst>
                                        <p:tav tm="0">
                                          <p:val>
                                            <p:strVal val="#ppt_x"/>
                                          </p:val>
                                        </p:tav>
                                        <p:tav tm="100000">
                                          <p:val>
                                            <p:strVal val="#ppt_x"/>
                                          </p:val>
                                        </p:tav>
                                      </p:tavLst>
                                    </p:anim>
                                    <p:anim calcmode="lin" valueType="num">
                                      <p:cBhvr>
                                        <p:cTn id="102" dur="1000" fill="hold"/>
                                        <p:tgtEl>
                                          <p:spTgt spid="58"/>
                                        </p:tgtEl>
                                        <p:attrNameLst>
                                          <p:attrName>ppt_y</p:attrName>
                                        </p:attrNameLst>
                                      </p:cBhvr>
                                      <p:tavLst>
                                        <p:tav tm="0">
                                          <p:val>
                                            <p:strVal val="#ppt_y+.1"/>
                                          </p:val>
                                        </p:tav>
                                        <p:tav tm="100000">
                                          <p:val>
                                            <p:strVal val="#ppt_y"/>
                                          </p:val>
                                        </p:tav>
                                      </p:tavLst>
                                    </p:anim>
                                  </p:childTnLst>
                                </p:cTn>
                              </p:par>
                            </p:childTnLst>
                          </p:cTn>
                        </p:par>
                      </p:childTnLst>
                    </p:cTn>
                  </p:par>
                  <p:par>
                    <p:cTn id="103" fill="hold">
                      <p:stCondLst>
                        <p:cond delay="indefinite"/>
                      </p:stCondLst>
                      <p:childTnLst>
                        <p:par>
                          <p:cTn id="104" fill="hold">
                            <p:stCondLst>
                              <p:cond delay="0"/>
                            </p:stCondLst>
                            <p:childTnLst>
                              <p:par>
                                <p:cTn id="105" presetID="42" presetClass="entr" presetSubtype="0" fill="hold" grpId="0" nodeType="clickEffect">
                                  <p:stCondLst>
                                    <p:cond delay="0"/>
                                  </p:stCondLst>
                                  <p:childTnLst>
                                    <p:set>
                                      <p:cBhvr>
                                        <p:cTn id="106" dur="1" fill="hold">
                                          <p:stCondLst>
                                            <p:cond delay="0"/>
                                          </p:stCondLst>
                                        </p:cTn>
                                        <p:tgtEl>
                                          <p:spTgt spid="64"/>
                                        </p:tgtEl>
                                        <p:attrNameLst>
                                          <p:attrName>style.visibility</p:attrName>
                                        </p:attrNameLst>
                                      </p:cBhvr>
                                      <p:to>
                                        <p:strVal val="visible"/>
                                      </p:to>
                                    </p:set>
                                    <p:animEffect transition="in" filter="fade">
                                      <p:cBhvr>
                                        <p:cTn id="107" dur="1000"/>
                                        <p:tgtEl>
                                          <p:spTgt spid="64"/>
                                        </p:tgtEl>
                                      </p:cBhvr>
                                    </p:animEffect>
                                    <p:anim calcmode="lin" valueType="num">
                                      <p:cBhvr>
                                        <p:cTn id="108" dur="1000" fill="hold"/>
                                        <p:tgtEl>
                                          <p:spTgt spid="64"/>
                                        </p:tgtEl>
                                        <p:attrNameLst>
                                          <p:attrName>ppt_x</p:attrName>
                                        </p:attrNameLst>
                                      </p:cBhvr>
                                      <p:tavLst>
                                        <p:tav tm="0">
                                          <p:val>
                                            <p:strVal val="#ppt_x"/>
                                          </p:val>
                                        </p:tav>
                                        <p:tav tm="100000">
                                          <p:val>
                                            <p:strVal val="#ppt_x"/>
                                          </p:val>
                                        </p:tav>
                                      </p:tavLst>
                                    </p:anim>
                                    <p:anim calcmode="lin" valueType="num">
                                      <p:cBhvr>
                                        <p:cTn id="109" dur="1000" fill="hold"/>
                                        <p:tgtEl>
                                          <p:spTgt spid="6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6" grpId="0" animBg="1"/>
      <p:bldP spid="7" grpId="0" animBg="1"/>
      <p:bldP spid="27" grpId="0" animBg="1"/>
      <p:bldP spid="30" grpId="0"/>
      <p:bldP spid="45" grpId="0" animBg="1"/>
      <p:bldP spid="47" grpId="0" animBg="1"/>
      <p:bldP spid="48" grpId="0" animBg="1"/>
      <p:bldP spid="49" grpId="0" animBg="1"/>
      <p:bldP spid="50" grpId="0" animBg="1"/>
      <p:bldP spid="53" grpId="0" animBg="1"/>
      <p:bldP spid="54" grpId="0" animBg="1"/>
      <p:bldP spid="55" grpId="0" animBg="1"/>
      <p:bldP spid="56" grpId="0" animBg="1"/>
      <p:bldP spid="57" grpId="0"/>
      <p:bldP spid="58" grpId="0" animBg="1"/>
      <p:bldP spid="64"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sz="2647" b="1" spc="-75" dirty="0">
                <a:ln w="3175">
                  <a:noFill/>
                </a:ln>
                <a:solidFill>
                  <a:schemeClr val="tx1"/>
                </a:solidFill>
                <a:latin typeface="微軟正黑體" pitchFamily="34" charset="-120"/>
                <a:ea typeface="微軟正黑體" pitchFamily="34" charset="-120"/>
                <a:cs typeface="Segoe UI" pitchFamily="34" charset="0"/>
              </a:rPr>
              <a:t>SQL BI Edition </a:t>
            </a:r>
            <a:r>
              <a:rPr lang="zh-TW" altLang="en-US" sz="2647" b="1" spc="-75" dirty="0">
                <a:ln w="3175">
                  <a:noFill/>
                </a:ln>
                <a:solidFill>
                  <a:schemeClr val="tx1"/>
                </a:solidFill>
                <a:latin typeface="微軟正黑體" pitchFamily="34" charset="-120"/>
                <a:ea typeface="微軟正黑體" pitchFamily="34" charset="-120"/>
                <a:cs typeface="Segoe UI" pitchFamily="34" charset="0"/>
              </a:rPr>
              <a:t>在多工環境 </a:t>
            </a:r>
            <a:r>
              <a:rPr lang="en-US" altLang="zh-TW" sz="2647" b="1" spc="-75" dirty="0">
                <a:ln w="3175">
                  <a:noFill/>
                </a:ln>
                <a:solidFill>
                  <a:schemeClr val="tx1"/>
                </a:solidFill>
                <a:latin typeface="微軟正黑體" pitchFamily="34" charset="-120"/>
                <a:ea typeface="微軟正黑體" pitchFamily="34" charset="-120"/>
                <a:cs typeface="Segoe UI" pitchFamily="34" charset="0"/>
              </a:rPr>
              <a:t>(Multiplexing) </a:t>
            </a:r>
            <a:r>
              <a:rPr lang="zh-TW" altLang="en-US" sz="2647" b="1" spc="-75" dirty="0">
                <a:ln w="3175">
                  <a:noFill/>
                </a:ln>
                <a:solidFill>
                  <a:schemeClr val="tx1"/>
                </a:solidFill>
                <a:latin typeface="微軟正黑體" pitchFamily="34" charset="-120"/>
                <a:ea typeface="微軟正黑體" pitchFamily="34" charset="-120"/>
                <a:cs typeface="Segoe UI" pitchFamily="34" charset="0"/>
              </a:rPr>
              <a:t>裡的規範</a:t>
            </a:r>
            <a:endParaRPr lang="en-US" altLang="zh-TW" sz="2647" b="1" spc="-75" dirty="0">
              <a:ln w="3175">
                <a:noFill/>
              </a:ln>
              <a:solidFill>
                <a:schemeClr val="tx1"/>
              </a:solidFill>
              <a:latin typeface="微軟正黑體" pitchFamily="34" charset="-120"/>
              <a:ea typeface="微軟正黑體" pitchFamily="34" charset="-120"/>
              <a:cs typeface="Segoe UI" pitchFamily="34" charset="0"/>
            </a:endParaRPr>
          </a:p>
        </p:txBody>
      </p:sp>
      <p:sp>
        <p:nvSpPr>
          <p:cNvPr id="3" name="Rectangle 2"/>
          <p:cNvSpPr/>
          <p:nvPr/>
        </p:nvSpPr>
        <p:spPr bwMode="auto">
          <a:xfrm>
            <a:off x="5832289" y="1809511"/>
            <a:ext cx="3026910" cy="131774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67232" rIns="67232" bIns="67232" numCol="1" spcCol="0" rtlCol="0" fromWordArt="0" anchor="ctr" anchorCtr="0" forceAA="0" compatLnSpc="1">
            <a:prstTxWarp prst="textNoShape">
              <a:avLst/>
            </a:prstTxWarp>
            <a:noAutofit/>
          </a:bodyPr>
          <a:lstStyle/>
          <a:p>
            <a:pPr marL="210112" indent="-210112" defTabSz="685397" fontAlgn="base">
              <a:lnSpc>
                <a:spcPct val="90000"/>
              </a:lnSpc>
              <a:spcAft>
                <a:spcPts val="441"/>
              </a:spcAft>
              <a:buFont typeface="Arial" panose="020B0604020202020204" pitchFamily="34" charset="0"/>
              <a:buChar char="•"/>
            </a:pPr>
            <a:r>
              <a:rPr lang="zh-TW" altLang="en-US"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只要是存取 </a:t>
            </a:r>
            <a:r>
              <a:rPr lang="en-US" altLang="zh-TW"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BI</a:t>
            </a:r>
            <a:r>
              <a:rPr lang="zh-TW" altLang="en-US"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 </a:t>
            </a:r>
            <a:r>
              <a:rPr lang="en-US" altLang="zh-TW"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Server </a:t>
            </a:r>
            <a:r>
              <a:rPr lang="zh-TW" altLang="en-US"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的使用者或裝置，都需要 </a:t>
            </a:r>
            <a:r>
              <a:rPr lang="en-US" altLang="zh-TW"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CAL</a:t>
            </a:r>
            <a:endParaRPr lang="en-US"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endParaRPr>
          </a:p>
          <a:p>
            <a:pPr marL="210112" indent="-210112" defTabSz="685397" fontAlgn="base">
              <a:lnSpc>
                <a:spcPct val="90000"/>
              </a:lnSpc>
              <a:spcAft>
                <a:spcPts val="441"/>
              </a:spcAft>
              <a:buFont typeface="Arial" panose="020B0604020202020204" pitchFamily="34" charset="0"/>
              <a:buChar char="•"/>
            </a:pPr>
            <a:r>
              <a:rPr lang="zh-TW" altLang="en-US"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不管是 </a:t>
            </a:r>
            <a:r>
              <a:rPr lang="en-US" altLang="zh-TW"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batch </a:t>
            </a:r>
            <a:r>
              <a:rPr lang="zh-TW" altLang="en-US"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或是即時，所有倒資料進 </a:t>
            </a:r>
            <a:r>
              <a:rPr lang="en-US" altLang="zh-TW"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BI Server </a:t>
            </a:r>
            <a:r>
              <a:rPr lang="zh-TW" altLang="en-US"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的資料來源，都需要 </a:t>
            </a:r>
            <a:r>
              <a:rPr lang="en-US" altLang="zh-TW"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CAL</a:t>
            </a:r>
            <a:endParaRPr lang="en-US"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endParaRPr>
          </a:p>
        </p:txBody>
      </p:sp>
      <p:sp>
        <p:nvSpPr>
          <p:cNvPr id="4" name="Rectangle 3"/>
          <p:cNvSpPr/>
          <p:nvPr/>
        </p:nvSpPr>
        <p:spPr bwMode="auto">
          <a:xfrm>
            <a:off x="5832289" y="3375554"/>
            <a:ext cx="3026910" cy="131774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67232" rIns="67232" bIns="67232" numCol="1" spcCol="0" rtlCol="0" fromWordArt="0" anchor="ctr" anchorCtr="0" forceAA="0" compatLnSpc="1">
            <a:prstTxWarp prst="textNoShape">
              <a:avLst/>
            </a:prstTxWarp>
            <a:noAutofit/>
          </a:bodyPr>
          <a:lstStyle/>
          <a:p>
            <a:pPr marL="210112" indent="-210112" defTabSz="685397" fontAlgn="base">
              <a:lnSpc>
                <a:spcPct val="90000"/>
              </a:lnSpc>
              <a:spcAft>
                <a:spcPts val="441"/>
              </a:spcAft>
              <a:buFont typeface="Arial" panose="020B0604020202020204" pitchFamily="34" charset="0"/>
              <a:buChar char="•"/>
            </a:pPr>
            <a:r>
              <a:rPr lang="en-US" altLang="zh-TW"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Pool </a:t>
            </a:r>
            <a:r>
              <a:rPr lang="zh-TW" altLang="en-US"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或 </a:t>
            </a:r>
            <a:r>
              <a:rPr lang="en-US" altLang="zh-TW"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Batch </a:t>
            </a:r>
            <a:r>
              <a:rPr lang="zh-TW" altLang="en-US"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倒資料進 </a:t>
            </a:r>
            <a:r>
              <a:rPr lang="en-US" altLang="zh-TW"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BI Server </a:t>
            </a:r>
            <a:r>
              <a:rPr lang="zh-TW" altLang="en-US"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的資料來源，不需要 </a:t>
            </a:r>
            <a:r>
              <a:rPr lang="en-US" altLang="zh-TW" sz="1324" dirty="0">
                <a:ln>
                  <a:solidFill>
                    <a:srgbClr val="FFFFFF">
                      <a:alpha val="0"/>
                    </a:srgbClr>
                  </a:solidFill>
                </a:ln>
                <a:gradFill>
                  <a:gsLst>
                    <a:gs pos="33028">
                      <a:srgbClr val="505050"/>
                    </a:gs>
                    <a:gs pos="57000">
                      <a:srgbClr val="505050"/>
                    </a:gs>
                  </a:gsLst>
                  <a:lin ang="0" scaled="0"/>
                </a:gradFill>
                <a:ea typeface="Segoe UI" pitchFamily="34" charset="0"/>
                <a:cs typeface="Segoe UI" pitchFamily="34" charset="0"/>
              </a:rPr>
              <a:t>CAL</a:t>
            </a:r>
            <a:endParaRPr lang="en-US" sz="1324" dirty="0">
              <a:ln>
                <a:solidFill>
                  <a:srgbClr val="FFFFFF">
                    <a:alpha val="0"/>
                  </a:srgbClr>
                </a:solidFill>
              </a:ln>
              <a:gradFill>
                <a:gsLst>
                  <a:gs pos="33028">
                    <a:srgbClr val="505050"/>
                  </a:gs>
                  <a:gs pos="57000">
                    <a:srgbClr val="505050"/>
                  </a:gs>
                </a:gsLst>
              </a:gradFill>
              <a:ea typeface="Segoe UI" pitchFamily="34" charset="0"/>
              <a:cs typeface="Segoe UI" pitchFamily="34" charset="0"/>
            </a:endParaRPr>
          </a:p>
        </p:txBody>
      </p:sp>
      <p:sp>
        <p:nvSpPr>
          <p:cNvPr id="6" name="Rectangle 5"/>
          <p:cNvSpPr/>
          <p:nvPr/>
        </p:nvSpPr>
        <p:spPr bwMode="auto">
          <a:xfrm>
            <a:off x="373389" y="1809511"/>
            <a:ext cx="1317744" cy="1317744"/>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5" tIns="67232" rIns="67225" bIns="67232" numCol="1" spcCol="0" rtlCol="0" fromWordArt="0" anchor="t" anchorCtr="0" forceAA="0" compatLnSpc="1">
            <a:prstTxWarp prst="textNoShape">
              <a:avLst/>
            </a:prstTxWarp>
            <a:noAutofit/>
          </a:bodyPr>
          <a:lstStyle/>
          <a:p>
            <a:pPr defTabSz="685397" fontAlgn="base">
              <a:lnSpc>
                <a:spcPct val="90000"/>
              </a:lnSpc>
              <a:spcBef>
                <a:spcPct val="0"/>
              </a:spcBef>
              <a:spcAft>
                <a:spcPct val="0"/>
              </a:spcAft>
            </a:pPr>
            <a:r>
              <a:rPr lang="en-US" sz="1471" dirty="0">
                <a:ln>
                  <a:solidFill>
                    <a:srgbClr val="FFFFFF">
                      <a:alpha val="0"/>
                    </a:srgbClr>
                  </a:solidFill>
                </a:ln>
                <a:gradFill>
                  <a:gsLst>
                    <a:gs pos="30275">
                      <a:srgbClr val="FFFFFF"/>
                    </a:gs>
                    <a:gs pos="55000">
                      <a:srgbClr val="FFFFFF"/>
                    </a:gs>
                  </a:gsLst>
                  <a:lin ang="0" scaled="0"/>
                </a:gradFill>
                <a:ea typeface="Segoe UI" pitchFamily="34" charset="0"/>
                <a:cs typeface="Segoe UI" pitchFamily="34" charset="0"/>
              </a:rPr>
              <a:t>SQL BI 2012</a:t>
            </a:r>
          </a:p>
        </p:txBody>
      </p:sp>
      <p:sp>
        <p:nvSpPr>
          <p:cNvPr id="7" name="Rectangle 6"/>
          <p:cNvSpPr/>
          <p:nvPr/>
        </p:nvSpPr>
        <p:spPr bwMode="auto">
          <a:xfrm>
            <a:off x="373389" y="3375554"/>
            <a:ext cx="1317744" cy="131774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5" tIns="67232" rIns="67225" bIns="67232" numCol="1" spcCol="0" rtlCol="0" fromWordArt="0" anchor="t" anchorCtr="0" forceAA="0" compatLnSpc="1">
            <a:prstTxWarp prst="textNoShape">
              <a:avLst/>
            </a:prstTxWarp>
            <a:noAutofit/>
          </a:bodyPr>
          <a:lstStyle/>
          <a:p>
            <a:pPr defTabSz="685397" fontAlgn="base">
              <a:lnSpc>
                <a:spcPct val="90000"/>
              </a:lnSpc>
              <a:spcBef>
                <a:spcPct val="0"/>
              </a:spcBef>
              <a:spcAft>
                <a:spcPct val="0"/>
              </a:spcAft>
            </a:pPr>
            <a:r>
              <a:rPr lang="en-US" sz="1471" dirty="0">
                <a:ln>
                  <a:solidFill>
                    <a:srgbClr val="FFFFFF">
                      <a:alpha val="0"/>
                    </a:srgbClr>
                  </a:solidFill>
                </a:ln>
                <a:gradFill>
                  <a:gsLst>
                    <a:gs pos="30275">
                      <a:srgbClr val="FFFFFF"/>
                    </a:gs>
                    <a:gs pos="55000">
                      <a:srgbClr val="FFFFFF"/>
                    </a:gs>
                  </a:gsLst>
                  <a:lin ang="0" scaled="0"/>
                </a:gradFill>
                <a:ea typeface="Segoe UI" pitchFamily="34" charset="0"/>
                <a:cs typeface="Segoe UI" pitchFamily="34" charset="0"/>
              </a:rPr>
              <a:t>SQL BI 2014</a:t>
            </a:r>
          </a:p>
        </p:txBody>
      </p:sp>
      <p:pic>
        <p:nvPicPr>
          <p:cNvPr id="36" name="Picture 3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47560" y="5373796"/>
            <a:ext cx="419389" cy="334595"/>
          </a:xfrm>
          <a:prstGeom prst="rect">
            <a:avLst/>
          </a:prstGeom>
        </p:spPr>
      </p:pic>
      <p:sp>
        <p:nvSpPr>
          <p:cNvPr id="45" name="Rectangle 27"/>
          <p:cNvSpPr/>
          <p:nvPr/>
        </p:nvSpPr>
        <p:spPr>
          <a:xfrm>
            <a:off x="2735059" y="1989229"/>
            <a:ext cx="494289" cy="807202"/>
          </a:xfrm>
          <a:custGeom>
            <a:avLst/>
            <a:gdLst/>
            <a:ahLst/>
            <a:cxnLst/>
            <a:rect l="l" t="t" r="r" b="b"/>
            <a:pathLst>
              <a:path w="1070851" h="1501821">
                <a:moveTo>
                  <a:pt x="38205" y="906081"/>
                </a:moveTo>
                <a:lnTo>
                  <a:pt x="38205" y="1377131"/>
                </a:lnTo>
                <a:lnTo>
                  <a:pt x="501154" y="1457487"/>
                </a:lnTo>
                <a:lnTo>
                  <a:pt x="501154" y="931018"/>
                </a:lnTo>
                <a:close/>
                <a:moveTo>
                  <a:pt x="38205" y="774463"/>
                </a:moveTo>
                <a:lnTo>
                  <a:pt x="38205" y="865902"/>
                </a:lnTo>
                <a:lnTo>
                  <a:pt x="503402" y="888070"/>
                </a:lnTo>
                <a:lnTo>
                  <a:pt x="503402" y="781390"/>
                </a:lnTo>
                <a:close/>
                <a:moveTo>
                  <a:pt x="503402" y="635919"/>
                </a:moveTo>
                <a:lnTo>
                  <a:pt x="39329" y="641461"/>
                </a:lnTo>
                <a:lnTo>
                  <a:pt x="39329" y="732900"/>
                </a:lnTo>
                <a:lnTo>
                  <a:pt x="503402" y="742598"/>
                </a:lnTo>
                <a:close/>
                <a:moveTo>
                  <a:pt x="505649" y="487676"/>
                </a:moveTo>
                <a:lnTo>
                  <a:pt x="39329" y="509844"/>
                </a:lnTo>
                <a:lnTo>
                  <a:pt x="39329" y="602669"/>
                </a:lnTo>
                <a:lnTo>
                  <a:pt x="505649" y="594356"/>
                </a:lnTo>
                <a:close/>
                <a:moveTo>
                  <a:pt x="506773" y="339434"/>
                </a:moveTo>
                <a:lnTo>
                  <a:pt x="41576" y="376841"/>
                </a:lnTo>
                <a:lnTo>
                  <a:pt x="41576" y="472437"/>
                </a:lnTo>
                <a:lnTo>
                  <a:pt x="506773" y="446113"/>
                </a:lnTo>
                <a:close/>
                <a:moveTo>
                  <a:pt x="506773" y="193962"/>
                </a:moveTo>
                <a:lnTo>
                  <a:pt x="42700" y="245224"/>
                </a:lnTo>
                <a:lnTo>
                  <a:pt x="42700" y="342205"/>
                </a:lnTo>
                <a:lnTo>
                  <a:pt x="506773" y="302028"/>
                </a:lnTo>
                <a:close/>
                <a:moveTo>
                  <a:pt x="507896" y="47105"/>
                </a:moveTo>
                <a:lnTo>
                  <a:pt x="43824" y="114992"/>
                </a:lnTo>
                <a:lnTo>
                  <a:pt x="43824" y="207817"/>
                </a:lnTo>
                <a:lnTo>
                  <a:pt x="507896" y="152400"/>
                </a:lnTo>
                <a:close/>
                <a:moveTo>
                  <a:pt x="555090" y="0"/>
                </a:moveTo>
                <a:lnTo>
                  <a:pt x="1070851" y="199504"/>
                </a:lnTo>
                <a:lnTo>
                  <a:pt x="1070851" y="1277380"/>
                </a:lnTo>
                <a:lnTo>
                  <a:pt x="539358" y="1501821"/>
                </a:lnTo>
                <a:lnTo>
                  <a:pt x="0" y="1402070"/>
                </a:lnTo>
                <a:lnTo>
                  <a:pt x="0" y="85897"/>
                </a:lnTo>
                <a:close/>
              </a:path>
            </a:pathLst>
          </a:custGeom>
          <a:solidFill>
            <a:srgbClr val="C00000"/>
          </a:solidFill>
          <a:ln w="9525" cap="flat" cmpd="sng" algn="ctr">
            <a:noFill/>
            <a:prstDash val="solid"/>
          </a:ln>
          <a:effectLst/>
        </p:spPr>
        <p:txBody>
          <a:bodyPr vert="horz" wrap="square" lIns="67229" tIns="33614" rIns="67229" bIns="33614" numCol="1" rtlCol="0" anchor="ctr" anchorCtr="0" compatLnSpc="1">
            <a:prstTxWarp prst="textNoShape">
              <a:avLst/>
            </a:prstTxWarp>
          </a:bodyPr>
          <a:lstStyle/>
          <a:p>
            <a:pPr algn="ctr" defTabSz="671966" fontAlgn="base">
              <a:spcBef>
                <a:spcPct val="0"/>
              </a:spcBef>
              <a:spcAft>
                <a:spcPct val="0"/>
              </a:spcAft>
            </a:pPr>
            <a:endParaRPr lang="en-US" sz="1176" kern="0" dirty="0">
              <a:ln>
                <a:solidFill>
                  <a:srgbClr val="FFFFFF">
                    <a:alpha val="0"/>
                  </a:srgbClr>
                </a:solidFill>
              </a:ln>
              <a:gradFill>
                <a:gsLst>
                  <a:gs pos="0">
                    <a:srgbClr val="FFFFFF"/>
                  </a:gs>
                  <a:gs pos="100000">
                    <a:srgbClr val="FFFFFF"/>
                  </a:gs>
                </a:gsLst>
                <a:lin ang="5400000" scaled="0"/>
              </a:gradFill>
            </a:endParaRPr>
          </a:p>
        </p:txBody>
      </p:sp>
      <p:sp>
        <p:nvSpPr>
          <p:cNvPr id="47" name="Rectangle 27"/>
          <p:cNvSpPr/>
          <p:nvPr/>
        </p:nvSpPr>
        <p:spPr>
          <a:xfrm>
            <a:off x="4086008" y="1989229"/>
            <a:ext cx="494289" cy="807202"/>
          </a:xfrm>
          <a:custGeom>
            <a:avLst/>
            <a:gdLst/>
            <a:ahLst/>
            <a:cxnLst/>
            <a:rect l="l" t="t" r="r" b="b"/>
            <a:pathLst>
              <a:path w="1070851" h="1501821">
                <a:moveTo>
                  <a:pt x="38205" y="906081"/>
                </a:moveTo>
                <a:lnTo>
                  <a:pt x="38205" y="1377131"/>
                </a:lnTo>
                <a:lnTo>
                  <a:pt x="501154" y="1457487"/>
                </a:lnTo>
                <a:lnTo>
                  <a:pt x="501154" y="931018"/>
                </a:lnTo>
                <a:close/>
                <a:moveTo>
                  <a:pt x="38205" y="774463"/>
                </a:moveTo>
                <a:lnTo>
                  <a:pt x="38205" y="865902"/>
                </a:lnTo>
                <a:lnTo>
                  <a:pt x="503402" y="888070"/>
                </a:lnTo>
                <a:lnTo>
                  <a:pt x="503402" y="781390"/>
                </a:lnTo>
                <a:close/>
                <a:moveTo>
                  <a:pt x="503402" y="635919"/>
                </a:moveTo>
                <a:lnTo>
                  <a:pt x="39329" y="641461"/>
                </a:lnTo>
                <a:lnTo>
                  <a:pt x="39329" y="732900"/>
                </a:lnTo>
                <a:lnTo>
                  <a:pt x="503402" y="742598"/>
                </a:lnTo>
                <a:close/>
                <a:moveTo>
                  <a:pt x="505649" y="487676"/>
                </a:moveTo>
                <a:lnTo>
                  <a:pt x="39329" y="509844"/>
                </a:lnTo>
                <a:lnTo>
                  <a:pt x="39329" y="602669"/>
                </a:lnTo>
                <a:lnTo>
                  <a:pt x="505649" y="594356"/>
                </a:lnTo>
                <a:close/>
                <a:moveTo>
                  <a:pt x="506773" y="339434"/>
                </a:moveTo>
                <a:lnTo>
                  <a:pt x="41576" y="376841"/>
                </a:lnTo>
                <a:lnTo>
                  <a:pt x="41576" y="472437"/>
                </a:lnTo>
                <a:lnTo>
                  <a:pt x="506773" y="446113"/>
                </a:lnTo>
                <a:close/>
                <a:moveTo>
                  <a:pt x="506773" y="193962"/>
                </a:moveTo>
                <a:lnTo>
                  <a:pt x="42700" y="245224"/>
                </a:lnTo>
                <a:lnTo>
                  <a:pt x="42700" y="342205"/>
                </a:lnTo>
                <a:lnTo>
                  <a:pt x="506773" y="302028"/>
                </a:lnTo>
                <a:close/>
                <a:moveTo>
                  <a:pt x="507896" y="47105"/>
                </a:moveTo>
                <a:lnTo>
                  <a:pt x="43824" y="114992"/>
                </a:lnTo>
                <a:lnTo>
                  <a:pt x="43824" y="207817"/>
                </a:lnTo>
                <a:lnTo>
                  <a:pt x="507896" y="152400"/>
                </a:lnTo>
                <a:close/>
                <a:moveTo>
                  <a:pt x="555090" y="0"/>
                </a:moveTo>
                <a:lnTo>
                  <a:pt x="1070851" y="199504"/>
                </a:lnTo>
                <a:lnTo>
                  <a:pt x="1070851" y="1277380"/>
                </a:lnTo>
                <a:lnTo>
                  <a:pt x="539358" y="1501821"/>
                </a:lnTo>
                <a:lnTo>
                  <a:pt x="0" y="1402070"/>
                </a:lnTo>
                <a:lnTo>
                  <a:pt x="0" y="85897"/>
                </a:lnTo>
                <a:close/>
              </a:path>
            </a:pathLst>
          </a:custGeom>
          <a:solidFill>
            <a:srgbClr val="C00000"/>
          </a:solidFill>
          <a:ln w="9525" cap="flat" cmpd="sng" algn="ctr">
            <a:noFill/>
            <a:prstDash val="solid"/>
          </a:ln>
          <a:effectLst/>
        </p:spPr>
        <p:txBody>
          <a:bodyPr vert="horz" wrap="square" lIns="67229" tIns="33614" rIns="67229" bIns="33614" numCol="1" rtlCol="0" anchor="ctr" anchorCtr="0" compatLnSpc="1">
            <a:prstTxWarp prst="textNoShape">
              <a:avLst/>
            </a:prstTxWarp>
          </a:bodyPr>
          <a:lstStyle/>
          <a:p>
            <a:pPr algn="ctr" defTabSz="671966" fontAlgn="base">
              <a:spcBef>
                <a:spcPct val="0"/>
              </a:spcBef>
              <a:spcAft>
                <a:spcPct val="0"/>
              </a:spcAft>
            </a:pPr>
            <a:endParaRPr lang="en-US" sz="1176" kern="0" dirty="0">
              <a:ln>
                <a:solidFill>
                  <a:srgbClr val="FFFFFF">
                    <a:alpha val="0"/>
                  </a:srgbClr>
                </a:solidFill>
              </a:ln>
              <a:gradFill>
                <a:gsLst>
                  <a:gs pos="0">
                    <a:srgbClr val="FFFFFF"/>
                  </a:gs>
                  <a:gs pos="100000">
                    <a:srgbClr val="FFFFFF"/>
                  </a:gs>
                </a:gsLst>
                <a:lin ang="5400000" scaled="0"/>
              </a:gradFill>
            </a:endParaRPr>
          </a:p>
        </p:txBody>
      </p:sp>
      <p:sp>
        <p:nvSpPr>
          <p:cNvPr id="48" name="Rectangle 27"/>
          <p:cNvSpPr/>
          <p:nvPr/>
        </p:nvSpPr>
        <p:spPr>
          <a:xfrm>
            <a:off x="2735059" y="3632161"/>
            <a:ext cx="494289" cy="807202"/>
          </a:xfrm>
          <a:custGeom>
            <a:avLst/>
            <a:gdLst/>
            <a:ahLst/>
            <a:cxnLst/>
            <a:rect l="l" t="t" r="r" b="b"/>
            <a:pathLst>
              <a:path w="1070851" h="1501821">
                <a:moveTo>
                  <a:pt x="38205" y="906081"/>
                </a:moveTo>
                <a:lnTo>
                  <a:pt x="38205" y="1377131"/>
                </a:lnTo>
                <a:lnTo>
                  <a:pt x="501154" y="1457487"/>
                </a:lnTo>
                <a:lnTo>
                  <a:pt x="501154" y="931018"/>
                </a:lnTo>
                <a:close/>
                <a:moveTo>
                  <a:pt x="38205" y="774463"/>
                </a:moveTo>
                <a:lnTo>
                  <a:pt x="38205" y="865902"/>
                </a:lnTo>
                <a:lnTo>
                  <a:pt x="503402" y="888070"/>
                </a:lnTo>
                <a:lnTo>
                  <a:pt x="503402" y="781390"/>
                </a:lnTo>
                <a:close/>
                <a:moveTo>
                  <a:pt x="503402" y="635919"/>
                </a:moveTo>
                <a:lnTo>
                  <a:pt x="39329" y="641461"/>
                </a:lnTo>
                <a:lnTo>
                  <a:pt x="39329" y="732900"/>
                </a:lnTo>
                <a:lnTo>
                  <a:pt x="503402" y="742598"/>
                </a:lnTo>
                <a:close/>
                <a:moveTo>
                  <a:pt x="505649" y="487676"/>
                </a:moveTo>
                <a:lnTo>
                  <a:pt x="39329" y="509844"/>
                </a:lnTo>
                <a:lnTo>
                  <a:pt x="39329" y="602669"/>
                </a:lnTo>
                <a:lnTo>
                  <a:pt x="505649" y="594356"/>
                </a:lnTo>
                <a:close/>
                <a:moveTo>
                  <a:pt x="506773" y="339434"/>
                </a:moveTo>
                <a:lnTo>
                  <a:pt x="41576" y="376841"/>
                </a:lnTo>
                <a:lnTo>
                  <a:pt x="41576" y="472437"/>
                </a:lnTo>
                <a:lnTo>
                  <a:pt x="506773" y="446113"/>
                </a:lnTo>
                <a:close/>
                <a:moveTo>
                  <a:pt x="506773" y="193962"/>
                </a:moveTo>
                <a:lnTo>
                  <a:pt x="42700" y="245224"/>
                </a:lnTo>
                <a:lnTo>
                  <a:pt x="42700" y="342205"/>
                </a:lnTo>
                <a:lnTo>
                  <a:pt x="506773" y="302028"/>
                </a:lnTo>
                <a:close/>
                <a:moveTo>
                  <a:pt x="507896" y="47105"/>
                </a:moveTo>
                <a:lnTo>
                  <a:pt x="43824" y="114992"/>
                </a:lnTo>
                <a:lnTo>
                  <a:pt x="43824" y="207817"/>
                </a:lnTo>
                <a:lnTo>
                  <a:pt x="507896" y="152400"/>
                </a:lnTo>
                <a:close/>
                <a:moveTo>
                  <a:pt x="555090" y="0"/>
                </a:moveTo>
                <a:lnTo>
                  <a:pt x="1070851" y="199504"/>
                </a:lnTo>
                <a:lnTo>
                  <a:pt x="1070851" y="1277380"/>
                </a:lnTo>
                <a:lnTo>
                  <a:pt x="539358" y="1501821"/>
                </a:lnTo>
                <a:lnTo>
                  <a:pt x="0" y="1402070"/>
                </a:lnTo>
                <a:lnTo>
                  <a:pt x="0" y="85897"/>
                </a:lnTo>
                <a:close/>
              </a:path>
            </a:pathLst>
          </a:custGeom>
          <a:solidFill>
            <a:schemeClr val="accent5"/>
          </a:solidFill>
          <a:ln w="9525" cap="flat" cmpd="sng" algn="ctr">
            <a:noFill/>
            <a:prstDash val="solid"/>
          </a:ln>
          <a:effectLst/>
        </p:spPr>
        <p:txBody>
          <a:bodyPr vert="horz" wrap="square" lIns="67229" tIns="33614" rIns="67229" bIns="33614" numCol="1" rtlCol="0" anchor="ctr" anchorCtr="0" compatLnSpc="1">
            <a:prstTxWarp prst="textNoShape">
              <a:avLst/>
            </a:prstTxWarp>
          </a:bodyPr>
          <a:lstStyle/>
          <a:p>
            <a:pPr algn="ctr" defTabSz="671966" fontAlgn="base">
              <a:spcBef>
                <a:spcPct val="0"/>
              </a:spcBef>
              <a:spcAft>
                <a:spcPct val="0"/>
              </a:spcAft>
            </a:pPr>
            <a:endParaRPr lang="en-US" sz="1176" kern="0" dirty="0">
              <a:ln>
                <a:solidFill>
                  <a:srgbClr val="FFFFFF">
                    <a:alpha val="0"/>
                  </a:srgbClr>
                </a:solidFill>
              </a:ln>
              <a:gradFill>
                <a:gsLst>
                  <a:gs pos="0">
                    <a:srgbClr val="FFFFFF"/>
                  </a:gs>
                  <a:gs pos="100000">
                    <a:srgbClr val="FFFFFF"/>
                  </a:gs>
                </a:gsLst>
                <a:lin ang="5400000" scaled="0"/>
              </a:gradFill>
            </a:endParaRPr>
          </a:p>
        </p:txBody>
      </p:sp>
      <p:sp>
        <p:nvSpPr>
          <p:cNvPr id="49" name="Rectangle 27"/>
          <p:cNvSpPr/>
          <p:nvPr/>
        </p:nvSpPr>
        <p:spPr>
          <a:xfrm>
            <a:off x="4086008" y="3588786"/>
            <a:ext cx="494289" cy="807202"/>
          </a:xfrm>
          <a:custGeom>
            <a:avLst/>
            <a:gdLst/>
            <a:ahLst/>
            <a:cxnLst/>
            <a:rect l="l" t="t" r="r" b="b"/>
            <a:pathLst>
              <a:path w="1070851" h="1501821">
                <a:moveTo>
                  <a:pt x="38205" y="906081"/>
                </a:moveTo>
                <a:lnTo>
                  <a:pt x="38205" y="1377131"/>
                </a:lnTo>
                <a:lnTo>
                  <a:pt x="501154" y="1457487"/>
                </a:lnTo>
                <a:lnTo>
                  <a:pt x="501154" y="931018"/>
                </a:lnTo>
                <a:close/>
                <a:moveTo>
                  <a:pt x="38205" y="774463"/>
                </a:moveTo>
                <a:lnTo>
                  <a:pt x="38205" y="865902"/>
                </a:lnTo>
                <a:lnTo>
                  <a:pt x="503402" y="888070"/>
                </a:lnTo>
                <a:lnTo>
                  <a:pt x="503402" y="781390"/>
                </a:lnTo>
                <a:close/>
                <a:moveTo>
                  <a:pt x="503402" y="635919"/>
                </a:moveTo>
                <a:lnTo>
                  <a:pt x="39329" y="641461"/>
                </a:lnTo>
                <a:lnTo>
                  <a:pt x="39329" y="732900"/>
                </a:lnTo>
                <a:lnTo>
                  <a:pt x="503402" y="742598"/>
                </a:lnTo>
                <a:close/>
                <a:moveTo>
                  <a:pt x="505649" y="487676"/>
                </a:moveTo>
                <a:lnTo>
                  <a:pt x="39329" y="509844"/>
                </a:lnTo>
                <a:lnTo>
                  <a:pt x="39329" y="602669"/>
                </a:lnTo>
                <a:lnTo>
                  <a:pt x="505649" y="594356"/>
                </a:lnTo>
                <a:close/>
                <a:moveTo>
                  <a:pt x="506773" y="339434"/>
                </a:moveTo>
                <a:lnTo>
                  <a:pt x="41576" y="376841"/>
                </a:lnTo>
                <a:lnTo>
                  <a:pt x="41576" y="472437"/>
                </a:lnTo>
                <a:lnTo>
                  <a:pt x="506773" y="446113"/>
                </a:lnTo>
                <a:close/>
                <a:moveTo>
                  <a:pt x="506773" y="193962"/>
                </a:moveTo>
                <a:lnTo>
                  <a:pt x="42700" y="245224"/>
                </a:lnTo>
                <a:lnTo>
                  <a:pt x="42700" y="342205"/>
                </a:lnTo>
                <a:lnTo>
                  <a:pt x="506773" y="302028"/>
                </a:lnTo>
                <a:close/>
                <a:moveTo>
                  <a:pt x="507896" y="47105"/>
                </a:moveTo>
                <a:lnTo>
                  <a:pt x="43824" y="114992"/>
                </a:lnTo>
                <a:lnTo>
                  <a:pt x="43824" y="207817"/>
                </a:lnTo>
                <a:lnTo>
                  <a:pt x="507896" y="152400"/>
                </a:lnTo>
                <a:close/>
                <a:moveTo>
                  <a:pt x="555090" y="0"/>
                </a:moveTo>
                <a:lnTo>
                  <a:pt x="1070851" y="199504"/>
                </a:lnTo>
                <a:lnTo>
                  <a:pt x="1070851" y="1277380"/>
                </a:lnTo>
                <a:lnTo>
                  <a:pt x="539358" y="1501821"/>
                </a:lnTo>
                <a:lnTo>
                  <a:pt x="0" y="1402070"/>
                </a:lnTo>
                <a:lnTo>
                  <a:pt x="0" y="85897"/>
                </a:lnTo>
                <a:close/>
              </a:path>
            </a:pathLst>
          </a:custGeom>
          <a:solidFill>
            <a:schemeClr val="accent5"/>
          </a:solidFill>
          <a:ln w="9525" cap="flat" cmpd="sng" algn="ctr">
            <a:noFill/>
            <a:prstDash val="solid"/>
          </a:ln>
          <a:effectLst/>
        </p:spPr>
        <p:txBody>
          <a:bodyPr vert="horz" wrap="square" lIns="67229" tIns="33614" rIns="67229" bIns="33614" numCol="1" rtlCol="0" anchor="ctr" anchorCtr="0" compatLnSpc="1">
            <a:prstTxWarp prst="textNoShape">
              <a:avLst/>
            </a:prstTxWarp>
          </a:bodyPr>
          <a:lstStyle/>
          <a:p>
            <a:pPr algn="ctr" defTabSz="671966" fontAlgn="base">
              <a:spcBef>
                <a:spcPct val="0"/>
              </a:spcBef>
              <a:spcAft>
                <a:spcPct val="0"/>
              </a:spcAft>
            </a:pPr>
            <a:endParaRPr lang="en-US" sz="1176" kern="0" dirty="0">
              <a:ln>
                <a:solidFill>
                  <a:srgbClr val="FFFFFF">
                    <a:alpha val="0"/>
                  </a:srgbClr>
                </a:solidFill>
              </a:ln>
              <a:gradFill>
                <a:gsLst>
                  <a:gs pos="0">
                    <a:srgbClr val="FFFFFF"/>
                  </a:gs>
                  <a:gs pos="100000">
                    <a:srgbClr val="FFFFFF"/>
                  </a:gs>
                </a:gsLst>
                <a:lin ang="5400000" scaled="0"/>
              </a:gradFill>
            </a:endParaRPr>
          </a:p>
        </p:txBody>
      </p:sp>
      <p:pic>
        <p:nvPicPr>
          <p:cNvPr id="59" name="Picture 2"/>
          <p:cNvPicPr>
            <a:picLocks noChangeAspect="1" noChangeArrowheads="1"/>
          </p:cNvPicPr>
          <p:nvPr>
            <p:custDataLst>
              <p:tags r:id="rId1"/>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1170693" y="2686126"/>
            <a:ext cx="430036" cy="3474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3" name="Picture 2"/>
          <p:cNvPicPr>
            <a:picLocks noChangeAspect="1" noChangeArrowheads="1"/>
          </p:cNvPicPr>
          <p:nvPr>
            <p:custDataLst>
              <p:tags r:id="rId2"/>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1170693" y="4243106"/>
            <a:ext cx="430036" cy="3474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Down Arrow 22"/>
          <p:cNvSpPr/>
          <p:nvPr/>
        </p:nvSpPr>
        <p:spPr bwMode="auto">
          <a:xfrm rot="5400000">
            <a:off x="3572810" y="2064498"/>
            <a:ext cx="212311" cy="665565"/>
          </a:xfrm>
          <a:prstGeom prst="downArrow">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2" rIns="0" bIns="34282" numCol="1" rtlCol="0" anchor="ctr" anchorCtr="0" compatLnSpc="1">
            <a:prstTxWarp prst="textNoShape">
              <a:avLst/>
            </a:prstTxWarp>
          </a:bodyPr>
          <a:lstStyle/>
          <a:p>
            <a:pPr algn="ctr" defTabSz="685470" fontAlgn="base">
              <a:spcBef>
                <a:spcPct val="0"/>
              </a:spcBef>
              <a:spcAft>
                <a:spcPct val="0"/>
              </a:spcAft>
            </a:pPr>
            <a:endParaRPr lang="en-US" sz="1471" dirty="0">
              <a:ln>
                <a:solidFill>
                  <a:srgbClr val="FFFFFF">
                    <a:alpha val="0"/>
                  </a:srgbClr>
                </a:solidFill>
              </a:ln>
              <a:gradFill>
                <a:gsLst>
                  <a:gs pos="0">
                    <a:srgbClr val="FFFFFF"/>
                  </a:gs>
                  <a:gs pos="100000">
                    <a:srgbClr val="FFFFFF"/>
                  </a:gs>
                </a:gsLst>
                <a:lin ang="5400000" scaled="0"/>
              </a:gradFill>
            </a:endParaRPr>
          </a:p>
        </p:txBody>
      </p:sp>
      <p:grpSp>
        <p:nvGrpSpPr>
          <p:cNvPr id="5" name="Group 4"/>
          <p:cNvGrpSpPr/>
          <p:nvPr/>
        </p:nvGrpSpPr>
        <p:grpSpPr>
          <a:xfrm>
            <a:off x="1837916" y="2174919"/>
            <a:ext cx="562937" cy="336244"/>
            <a:chOff x="2614881" y="1808095"/>
            <a:chExt cx="1074271" cy="625870"/>
          </a:xfrm>
        </p:grpSpPr>
        <p:sp>
          <p:nvSpPr>
            <p:cNvPr id="25" name="Man's Body"/>
            <p:cNvSpPr>
              <a:spLocks/>
            </p:cNvSpPr>
            <p:nvPr/>
          </p:nvSpPr>
          <p:spPr bwMode="auto">
            <a:xfrm>
              <a:off x="2614881" y="1809522"/>
              <a:ext cx="437989" cy="595449"/>
            </a:xfrm>
            <a:custGeom>
              <a:avLst/>
              <a:gdLst/>
              <a:ahLst/>
              <a:cxnLst/>
              <a:rect l="l" t="t" r="r" b="b"/>
              <a:pathLst>
                <a:path w="633506" h="861255">
                  <a:moveTo>
                    <a:pt x="256453" y="499120"/>
                  </a:moveTo>
                  <a:cubicBezTo>
                    <a:pt x="264130" y="497298"/>
                    <a:pt x="328774" y="557407"/>
                    <a:pt x="356248" y="556496"/>
                  </a:cubicBezTo>
                  <a:cubicBezTo>
                    <a:pt x="430185" y="553308"/>
                    <a:pt x="464124" y="497754"/>
                    <a:pt x="471396" y="500486"/>
                  </a:cubicBezTo>
                  <a:cubicBezTo>
                    <a:pt x="479073" y="502763"/>
                    <a:pt x="493618" y="566058"/>
                    <a:pt x="510183" y="570612"/>
                  </a:cubicBezTo>
                  <a:cubicBezTo>
                    <a:pt x="536065" y="577458"/>
                    <a:pt x="592849" y="597925"/>
                    <a:pt x="633506" y="619705"/>
                  </a:cubicBezTo>
                  <a:lnTo>
                    <a:pt x="550184" y="652623"/>
                  </a:lnTo>
                  <a:cubicBezTo>
                    <a:pt x="519221" y="665299"/>
                    <a:pt x="483687" y="676104"/>
                    <a:pt x="465400" y="688780"/>
                  </a:cubicBezTo>
                  <a:cubicBezTo>
                    <a:pt x="447113" y="701456"/>
                    <a:pt x="443581" y="714132"/>
                    <a:pt x="440464" y="728678"/>
                  </a:cubicBezTo>
                  <a:cubicBezTo>
                    <a:pt x="437347" y="743225"/>
                    <a:pt x="442334" y="758187"/>
                    <a:pt x="446698" y="776058"/>
                  </a:cubicBezTo>
                  <a:cubicBezTo>
                    <a:pt x="451062" y="793928"/>
                    <a:pt x="460621" y="816995"/>
                    <a:pt x="466647" y="835905"/>
                  </a:cubicBezTo>
                  <a:cubicBezTo>
                    <a:pt x="469140" y="843728"/>
                    <a:pt x="476257" y="851480"/>
                    <a:pt x="482013" y="859117"/>
                  </a:cubicBezTo>
                  <a:cubicBezTo>
                    <a:pt x="426772" y="861357"/>
                    <a:pt x="383089" y="861398"/>
                    <a:pt x="360693" y="861135"/>
                  </a:cubicBezTo>
                  <a:cubicBezTo>
                    <a:pt x="343764" y="861357"/>
                    <a:pt x="314272" y="861362"/>
                    <a:pt x="276708" y="860129"/>
                  </a:cubicBezTo>
                  <a:lnTo>
                    <a:pt x="188866" y="861175"/>
                  </a:lnTo>
                  <a:cubicBezTo>
                    <a:pt x="188860" y="861202"/>
                    <a:pt x="188850" y="861228"/>
                    <a:pt x="188840" y="861255"/>
                  </a:cubicBezTo>
                  <a:lnTo>
                    <a:pt x="187817" y="861195"/>
                  </a:lnTo>
                  <a:lnTo>
                    <a:pt x="184667" y="861255"/>
                  </a:lnTo>
                  <a:cubicBezTo>
                    <a:pt x="184542" y="861199"/>
                    <a:pt x="184417" y="861141"/>
                    <a:pt x="184346" y="860989"/>
                  </a:cubicBezTo>
                  <a:cubicBezTo>
                    <a:pt x="158819" y="859923"/>
                    <a:pt x="131391" y="858325"/>
                    <a:pt x="102874" y="856167"/>
                  </a:cubicBezTo>
                  <a:cubicBezTo>
                    <a:pt x="103285" y="827813"/>
                    <a:pt x="98437" y="820353"/>
                    <a:pt x="110792" y="795487"/>
                  </a:cubicBezTo>
                  <a:cubicBezTo>
                    <a:pt x="101321" y="801159"/>
                    <a:pt x="76929" y="802075"/>
                    <a:pt x="69103" y="853550"/>
                  </a:cubicBezTo>
                  <a:cubicBezTo>
                    <a:pt x="-5028" y="764123"/>
                    <a:pt x="-8734" y="692582"/>
                    <a:pt x="8563" y="664664"/>
                  </a:cubicBezTo>
                  <a:cubicBezTo>
                    <a:pt x="20163" y="645783"/>
                    <a:pt x="80944" y="618255"/>
                    <a:pt x="121197" y="603911"/>
                  </a:cubicBezTo>
                  <a:lnTo>
                    <a:pt x="125773" y="602177"/>
                  </a:lnTo>
                  <a:cubicBezTo>
                    <a:pt x="125566" y="601954"/>
                    <a:pt x="125310" y="601813"/>
                    <a:pt x="125052" y="601673"/>
                  </a:cubicBezTo>
                  <a:cubicBezTo>
                    <a:pt x="155803" y="587721"/>
                    <a:pt x="184426" y="577739"/>
                    <a:pt x="188981" y="578809"/>
                  </a:cubicBezTo>
                  <a:cubicBezTo>
                    <a:pt x="198677" y="580630"/>
                    <a:pt x="258473" y="648935"/>
                    <a:pt x="347764" y="647569"/>
                  </a:cubicBezTo>
                  <a:cubicBezTo>
                    <a:pt x="435010" y="646203"/>
                    <a:pt x="453609" y="597050"/>
                    <a:pt x="453619" y="597023"/>
                  </a:cubicBezTo>
                  <a:cubicBezTo>
                    <a:pt x="453602" y="597053"/>
                    <a:pt x="437815" y="624344"/>
                    <a:pt x="352612" y="622524"/>
                  </a:cubicBezTo>
                  <a:cubicBezTo>
                    <a:pt x="292412" y="621613"/>
                    <a:pt x="229384" y="568791"/>
                    <a:pt x="228171" y="558317"/>
                  </a:cubicBezTo>
                  <a:cubicBezTo>
                    <a:pt x="226959" y="547388"/>
                    <a:pt x="248373" y="500486"/>
                    <a:pt x="256453" y="499120"/>
                  </a:cubicBezTo>
                  <a:close/>
                  <a:moveTo>
                    <a:pt x="348425" y="167"/>
                  </a:moveTo>
                  <a:cubicBezTo>
                    <a:pt x="388302" y="2218"/>
                    <a:pt x="446273" y="21312"/>
                    <a:pt x="475280" y="42250"/>
                  </a:cubicBezTo>
                  <a:cubicBezTo>
                    <a:pt x="504286" y="63189"/>
                    <a:pt x="523678" y="113952"/>
                    <a:pt x="522466" y="125796"/>
                  </a:cubicBezTo>
                  <a:cubicBezTo>
                    <a:pt x="521254" y="137186"/>
                    <a:pt x="520089" y="171360"/>
                    <a:pt x="517028" y="186030"/>
                  </a:cubicBezTo>
                  <a:cubicBezTo>
                    <a:pt x="513968" y="200701"/>
                    <a:pt x="506256" y="202430"/>
                    <a:pt x="504101" y="213819"/>
                  </a:cubicBezTo>
                  <a:cubicBezTo>
                    <a:pt x="508544" y="224750"/>
                    <a:pt x="504103" y="254352"/>
                    <a:pt x="504101" y="254364"/>
                  </a:cubicBezTo>
                  <a:cubicBezTo>
                    <a:pt x="504124" y="254366"/>
                    <a:pt x="522684" y="255739"/>
                    <a:pt x="522684" y="269398"/>
                  </a:cubicBezTo>
                  <a:cubicBezTo>
                    <a:pt x="522684" y="283062"/>
                    <a:pt x="502897" y="358204"/>
                    <a:pt x="502889" y="358232"/>
                  </a:cubicBezTo>
                  <a:cubicBezTo>
                    <a:pt x="502878" y="358251"/>
                    <a:pt x="497631" y="367342"/>
                    <a:pt x="491577" y="365977"/>
                  </a:cubicBezTo>
                  <a:cubicBezTo>
                    <a:pt x="485114" y="421555"/>
                    <a:pt x="462894" y="456178"/>
                    <a:pt x="443907" y="473034"/>
                  </a:cubicBezTo>
                  <a:cubicBezTo>
                    <a:pt x="425324" y="489434"/>
                    <a:pt x="382097" y="522690"/>
                    <a:pt x="356242" y="522690"/>
                  </a:cubicBezTo>
                  <a:cubicBezTo>
                    <a:pt x="330387" y="522690"/>
                    <a:pt x="266961" y="469845"/>
                    <a:pt x="262114" y="460734"/>
                  </a:cubicBezTo>
                  <a:cubicBezTo>
                    <a:pt x="256862" y="451623"/>
                    <a:pt x="222119" y="411077"/>
                    <a:pt x="220907" y="361421"/>
                  </a:cubicBezTo>
                  <a:cubicBezTo>
                    <a:pt x="203940" y="360054"/>
                    <a:pt x="194244" y="309943"/>
                    <a:pt x="187780" y="283520"/>
                  </a:cubicBezTo>
                  <a:cubicBezTo>
                    <a:pt x="182530" y="261207"/>
                    <a:pt x="200694" y="261653"/>
                    <a:pt x="200708" y="261653"/>
                  </a:cubicBezTo>
                  <a:cubicBezTo>
                    <a:pt x="200692" y="261612"/>
                    <a:pt x="175256" y="191494"/>
                    <a:pt x="173237" y="181930"/>
                  </a:cubicBezTo>
                  <a:cubicBezTo>
                    <a:pt x="171621" y="172819"/>
                    <a:pt x="154653" y="11550"/>
                    <a:pt x="283121" y="17472"/>
                  </a:cubicBezTo>
                  <a:cubicBezTo>
                    <a:pt x="301906" y="4488"/>
                    <a:pt x="324498" y="-1064"/>
                    <a:pt x="348425" y="167"/>
                  </a:cubicBezTo>
                  <a:close/>
                </a:path>
              </a:pathLst>
            </a:custGeom>
            <a:solidFill>
              <a:schemeClr val="bg2"/>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80678" tIns="40339" rIns="80678" bIns="40339" numCol="1" rtlCol="0" anchor="ctr" anchorCtr="0" compatLnSpc="1">
              <a:prstTxWarp prst="textNoShape">
                <a:avLst/>
              </a:prstTxWarp>
            </a:bodyPr>
            <a:lstStyle/>
            <a:p>
              <a:pPr algn="ctr" defTabSz="806565" fontAlgn="base">
                <a:lnSpc>
                  <a:spcPct val="70000"/>
                </a:lnSpc>
                <a:spcBef>
                  <a:spcPct val="0"/>
                </a:spcBef>
                <a:spcAft>
                  <a:spcPct val="0"/>
                </a:spcAft>
              </a:pPr>
              <a:endParaRPr lang="en-US" sz="2059">
                <a:solidFill>
                  <a:srgbClr val="FFFFFF"/>
                </a:solidFill>
                <a:effectLst>
                  <a:outerShdw blurRad="38100" dist="38100" dir="2700000" algn="tl">
                    <a:srgbClr val="000000">
                      <a:alpha val="43137"/>
                    </a:srgbClr>
                  </a:outerShdw>
                </a:effectLst>
              </a:endParaRPr>
            </a:p>
          </p:txBody>
        </p:sp>
        <p:sp>
          <p:nvSpPr>
            <p:cNvPr id="29" name="Man's Body"/>
            <p:cNvSpPr>
              <a:spLocks/>
            </p:cNvSpPr>
            <p:nvPr/>
          </p:nvSpPr>
          <p:spPr bwMode="auto">
            <a:xfrm flipH="1">
              <a:off x="3267735" y="1808095"/>
              <a:ext cx="421417" cy="593220"/>
            </a:xfrm>
            <a:custGeom>
              <a:avLst/>
              <a:gdLst>
                <a:gd name="connsiteX0" fmla="*/ 452684 w 609536"/>
                <a:gd name="connsiteY0" fmla="*/ 499119 h 858034"/>
                <a:gd name="connsiteX1" fmla="*/ 364244 w 609536"/>
                <a:gd name="connsiteY1" fmla="*/ 552651 h 858034"/>
                <a:gd name="connsiteX2" fmla="*/ 303255 w 609536"/>
                <a:gd name="connsiteY2" fmla="*/ 763544 h 858034"/>
                <a:gd name="connsiteX3" fmla="*/ 343737 w 609536"/>
                <a:gd name="connsiteY3" fmla="*/ 794501 h 858034"/>
                <a:gd name="connsiteX4" fmla="*/ 367549 w 609536"/>
                <a:gd name="connsiteY4" fmla="*/ 777832 h 858034"/>
                <a:gd name="connsiteX5" fmla="*/ 362787 w 609536"/>
                <a:gd name="connsiteY5" fmla="*/ 754019 h 858034"/>
                <a:gd name="connsiteX6" fmla="*/ 386599 w 609536"/>
                <a:gd name="connsiteY6" fmla="*/ 746876 h 858034"/>
                <a:gd name="connsiteX7" fmla="*/ 398506 w 609536"/>
                <a:gd name="connsiteY7" fmla="*/ 777832 h 858034"/>
                <a:gd name="connsiteX8" fmla="*/ 343737 w 609536"/>
                <a:gd name="connsiteY8" fmla="*/ 815932 h 858034"/>
                <a:gd name="connsiteX9" fmla="*/ 279443 w 609536"/>
                <a:gd name="connsiteY9" fmla="*/ 773069 h 858034"/>
                <a:gd name="connsiteX10" fmla="*/ 331831 w 609536"/>
                <a:gd name="connsiteY10" fmla="*/ 577807 h 858034"/>
                <a:gd name="connsiteX11" fmla="*/ 305637 w 609536"/>
                <a:gd name="connsiteY11" fmla="*/ 563519 h 858034"/>
                <a:gd name="connsiteX12" fmla="*/ 311779 w 609536"/>
                <a:gd name="connsiteY12" fmla="*/ 547549 h 858034"/>
                <a:gd name="connsiteX13" fmla="*/ 237741 w 609536"/>
                <a:gd name="connsiteY13" fmla="*/ 500485 h 858034"/>
                <a:gd name="connsiteX14" fmla="*/ 224038 w 609536"/>
                <a:gd name="connsiteY14" fmla="*/ 528452 h 858034"/>
                <a:gd name="connsiteX15" fmla="*/ 153447 w 609536"/>
                <a:gd name="connsiteY15" fmla="*/ 578809 h 858034"/>
                <a:gd name="connsiteX16" fmla="*/ 8401 w 609536"/>
                <a:gd name="connsiteY16" fmla="*/ 653033 h 858034"/>
                <a:gd name="connsiteX17" fmla="*/ 67793 w 609536"/>
                <a:gd name="connsiteY17" fmla="*/ 850206 h 858034"/>
                <a:gd name="connsiteX18" fmla="*/ 124357 w 609536"/>
                <a:gd name="connsiteY18" fmla="*/ 749115 h 858034"/>
                <a:gd name="connsiteX19" fmla="*/ 100924 w 609536"/>
                <a:gd name="connsiteY19" fmla="*/ 852938 h 858034"/>
                <a:gd name="connsiteX20" fmla="*/ 480551 w 609536"/>
                <a:gd name="connsiteY20" fmla="*/ 858034 h 858034"/>
                <a:gd name="connsiteX21" fmla="*/ 451681 w 609536"/>
                <a:gd name="connsiteY21" fmla="*/ 791472 h 858034"/>
                <a:gd name="connsiteX22" fmla="*/ 442156 w 609536"/>
                <a:gd name="connsiteY22" fmla="*/ 731940 h 858034"/>
                <a:gd name="connsiteX23" fmla="*/ 449300 w 609536"/>
                <a:gd name="connsiteY23" fmla="*/ 691459 h 858034"/>
                <a:gd name="connsiteX24" fmla="*/ 527881 w 609536"/>
                <a:gd name="connsiteY24" fmla="*/ 643834 h 858034"/>
                <a:gd name="connsiteX25" fmla="*/ 609536 w 609536"/>
                <a:gd name="connsiteY25" fmla="*/ 614300 h 858034"/>
                <a:gd name="connsiteX26" fmla="*/ 520157 w 609536"/>
                <a:gd name="connsiteY26" fmla="*/ 578809 h 858034"/>
                <a:gd name="connsiteX27" fmla="*/ 416545 w 609536"/>
                <a:gd name="connsiteY27" fmla="*/ 619374 h 858034"/>
                <a:gd name="connsiteX28" fmla="*/ 402735 w 609536"/>
                <a:gd name="connsiteY28" fmla="*/ 611762 h 858034"/>
                <a:gd name="connsiteX29" fmla="*/ 480966 w 609536"/>
                <a:gd name="connsiteY29" fmla="*/ 558317 h 858034"/>
                <a:gd name="connsiteX30" fmla="*/ 452684 w 609536"/>
                <a:gd name="connsiteY30" fmla="*/ 499119 h 858034"/>
                <a:gd name="connsiteX31" fmla="*/ 360713 w 609536"/>
                <a:gd name="connsiteY31" fmla="*/ 167 h 858034"/>
                <a:gd name="connsiteX32" fmla="*/ 241395 w 609536"/>
                <a:gd name="connsiteY32" fmla="*/ 59839 h 858034"/>
                <a:gd name="connsiteX33" fmla="*/ 169081 w 609536"/>
                <a:gd name="connsiteY33" fmla="*/ 160974 h 858034"/>
                <a:gd name="connsiteX34" fmla="*/ 192109 w 609536"/>
                <a:gd name="connsiteY34" fmla="*/ 186030 h 858034"/>
                <a:gd name="connsiteX35" fmla="*/ 209480 w 609536"/>
                <a:gd name="connsiteY35" fmla="*/ 168263 h 858034"/>
                <a:gd name="connsiteX36" fmla="*/ 352895 w 609536"/>
                <a:gd name="connsiteY36" fmla="*/ 122251 h 858034"/>
                <a:gd name="connsiteX37" fmla="*/ 205036 w 609536"/>
                <a:gd name="connsiteY37" fmla="*/ 213819 h 858034"/>
                <a:gd name="connsiteX38" fmla="*/ 205036 w 609536"/>
                <a:gd name="connsiteY38" fmla="*/ 254364 h 858034"/>
                <a:gd name="connsiteX39" fmla="*/ 186453 w 609536"/>
                <a:gd name="connsiteY39" fmla="*/ 269397 h 858034"/>
                <a:gd name="connsiteX40" fmla="*/ 206248 w 609536"/>
                <a:gd name="connsiteY40" fmla="*/ 358232 h 858034"/>
                <a:gd name="connsiteX41" fmla="*/ 217560 w 609536"/>
                <a:gd name="connsiteY41" fmla="*/ 365976 h 858034"/>
                <a:gd name="connsiteX42" fmla="*/ 265230 w 609536"/>
                <a:gd name="connsiteY42" fmla="*/ 473033 h 858034"/>
                <a:gd name="connsiteX43" fmla="*/ 352895 w 609536"/>
                <a:gd name="connsiteY43" fmla="*/ 522690 h 858034"/>
                <a:gd name="connsiteX44" fmla="*/ 447024 w 609536"/>
                <a:gd name="connsiteY44" fmla="*/ 460733 h 858034"/>
                <a:gd name="connsiteX45" fmla="*/ 488231 w 609536"/>
                <a:gd name="connsiteY45" fmla="*/ 361421 h 858034"/>
                <a:gd name="connsiteX46" fmla="*/ 521357 w 609536"/>
                <a:gd name="connsiteY46" fmla="*/ 283520 h 858034"/>
                <a:gd name="connsiteX47" fmla="*/ 508430 w 609536"/>
                <a:gd name="connsiteY47" fmla="*/ 261653 h 858034"/>
                <a:gd name="connsiteX48" fmla="*/ 535901 w 609536"/>
                <a:gd name="connsiteY48" fmla="*/ 181930 h 858034"/>
                <a:gd name="connsiteX49" fmla="*/ 426016 w 609536"/>
                <a:gd name="connsiteY49" fmla="*/ 17472 h 858034"/>
                <a:gd name="connsiteX50" fmla="*/ 360713 w 609536"/>
                <a:gd name="connsiteY50" fmla="*/ 167 h 85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09536" h="858034">
                  <a:moveTo>
                    <a:pt x="452684" y="499119"/>
                  </a:moveTo>
                  <a:cubicBezTo>
                    <a:pt x="445971" y="497526"/>
                    <a:pt x="395679" y="543306"/>
                    <a:pt x="364244" y="552651"/>
                  </a:cubicBezTo>
                  <a:lnTo>
                    <a:pt x="303255" y="763544"/>
                  </a:lnTo>
                  <a:lnTo>
                    <a:pt x="343737" y="794501"/>
                  </a:lnTo>
                  <a:lnTo>
                    <a:pt x="367549" y="777832"/>
                  </a:lnTo>
                  <a:lnTo>
                    <a:pt x="362787" y="754019"/>
                  </a:lnTo>
                  <a:lnTo>
                    <a:pt x="386599" y="746876"/>
                  </a:lnTo>
                  <a:lnTo>
                    <a:pt x="398506" y="777832"/>
                  </a:lnTo>
                  <a:lnTo>
                    <a:pt x="343737" y="815932"/>
                  </a:lnTo>
                  <a:lnTo>
                    <a:pt x="279443" y="773069"/>
                  </a:lnTo>
                  <a:lnTo>
                    <a:pt x="331831" y="577807"/>
                  </a:lnTo>
                  <a:lnTo>
                    <a:pt x="305637" y="563519"/>
                  </a:lnTo>
                  <a:lnTo>
                    <a:pt x="311779" y="547549"/>
                  </a:lnTo>
                  <a:cubicBezTo>
                    <a:pt x="265856" y="532518"/>
                    <a:pt x="243484" y="498328"/>
                    <a:pt x="237741" y="500485"/>
                  </a:cubicBezTo>
                  <a:cubicBezTo>
                    <a:pt x="234382" y="501482"/>
                    <a:pt x="229709" y="514159"/>
                    <a:pt x="224038" y="528452"/>
                  </a:cubicBezTo>
                  <a:cubicBezTo>
                    <a:pt x="205457" y="548836"/>
                    <a:pt x="184781" y="572298"/>
                    <a:pt x="153447" y="578809"/>
                  </a:cubicBezTo>
                  <a:cubicBezTo>
                    <a:pt x="143751" y="576532"/>
                    <a:pt x="24966" y="624345"/>
                    <a:pt x="8401" y="653033"/>
                  </a:cubicBezTo>
                  <a:cubicBezTo>
                    <a:pt x="-8568" y="682176"/>
                    <a:pt x="-4932" y="756856"/>
                    <a:pt x="67793" y="850206"/>
                  </a:cubicBezTo>
                  <a:cubicBezTo>
                    <a:pt x="75470" y="796473"/>
                    <a:pt x="115065" y="755035"/>
                    <a:pt x="124357" y="749115"/>
                  </a:cubicBezTo>
                  <a:cubicBezTo>
                    <a:pt x="112236" y="775071"/>
                    <a:pt x="101328" y="823340"/>
                    <a:pt x="100924" y="852938"/>
                  </a:cubicBezTo>
                  <a:cubicBezTo>
                    <a:pt x="128188" y="855133"/>
                    <a:pt x="414548" y="856773"/>
                    <a:pt x="480551" y="858034"/>
                  </a:cubicBezTo>
                  <a:cubicBezTo>
                    <a:pt x="466924" y="834305"/>
                    <a:pt x="458117" y="810194"/>
                    <a:pt x="451681" y="791472"/>
                  </a:cubicBezTo>
                  <a:cubicBezTo>
                    <a:pt x="442950" y="766072"/>
                    <a:pt x="442553" y="748609"/>
                    <a:pt x="442156" y="731940"/>
                  </a:cubicBezTo>
                  <a:cubicBezTo>
                    <a:pt x="441759" y="715271"/>
                    <a:pt x="435012" y="706143"/>
                    <a:pt x="449300" y="691459"/>
                  </a:cubicBezTo>
                  <a:cubicBezTo>
                    <a:pt x="463587" y="676775"/>
                    <a:pt x="501175" y="656694"/>
                    <a:pt x="527881" y="643834"/>
                  </a:cubicBezTo>
                  <a:cubicBezTo>
                    <a:pt x="554587" y="630974"/>
                    <a:pt x="583785" y="620160"/>
                    <a:pt x="609536" y="614300"/>
                  </a:cubicBezTo>
                  <a:cubicBezTo>
                    <a:pt x="573506" y="596277"/>
                    <a:pt x="525501" y="577554"/>
                    <a:pt x="520157" y="578809"/>
                  </a:cubicBezTo>
                  <a:cubicBezTo>
                    <a:pt x="513668" y="580027"/>
                    <a:pt x="471919" y="609413"/>
                    <a:pt x="416545" y="619374"/>
                  </a:cubicBezTo>
                  <a:cubicBezTo>
                    <a:pt x="412236" y="616547"/>
                    <a:pt x="407719" y="613840"/>
                    <a:pt x="402735" y="611762"/>
                  </a:cubicBezTo>
                  <a:cubicBezTo>
                    <a:pt x="445434" y="596908"/>
                    <a:pt x="480070" y="566055"/>
                    <a:pt x="480966" y="558317"/>
                  </a:cubicBezTo>
                  <a:cubicBezTo>
                    <a:pt x="482178" y="547388"/>
                    <a:pt x="460765" y="500485"/>
                    <a:pt x="452684" y="499119"/>
                  </a:cubicBezTo>
                  <a:close/>
                  <a:moveTo>
                    <a:pt x="360713" y="167"/>
                  </a:moveTo>
                  <a:cubicBezTo>
                    <a:pt x="320835" y="2218"/>
                    <a:pt x="277249" y="23109"/>
                    <a:pt x="241395" y="59839"/>
                  </a:cubicBezTo>
                  <a:cubicBezTo>
                    <a:pt x="184029" y="118607"/>
                    <a:pt x="167869" y="149129"/>
                    <a:pt x="169081" y="160974"/>
                  </a:cubicBezTo>
                  <a:cubicBezTo>
                    <a:pt x="170294" y="172363"/>
                    <a:pt x="182009" y="188307"/>
                    <a:pt x="192109" y="186030"/>
                  </a:cubicBezTo>
                  <a:cubicBezTo>
                    <a:pt x="202612" y="183752"/>
                    <a:pt x="203824" y="173729"/>
                    <a:pt x="209480" y="168263"/>
                  </a:cubicBezTo>
                  <a:cubicBezTo>
                    <a:pt x="276542" y="104484"/>
                    <a:pt x="330676" y="114506"/>
                    <a:pt x="352895" y="122251"/>
                  </a:cubicBezTo>
                  <a:cubicBezTo>
                    <a:pt x="266442" y="130451"/>
                    <a:pt x="209480" y="202430"/>
                    <a:pt x="205036" y="213819"/>
                  </a:cubicBezTo>
                  <a:cubicBezTo>
                    <a:pt x="200593" y="224750"/>
                    <a:pt x="205034" y="254351"/>
                    <a:pt x="205036" y="254364"/>
                  </a:cubicBezTo>
                  <a:cubicBezTo>
                    <a:pt x="204990" y="254368"/>
                    <a:pt x="186453" y="255747"/>
                    <a:pt x="186453" y="269397"/>
                  </a:cubicBezTo>
                  <a:cubicBezTo>
                    <a:pt x="186453" y="283062"/>
                    <a:pt x="206241" y="358204"/>
                    <a:pt x="206248" y="358232"/>
                  </a:cubicBezTo>
                  <a:cubicBezTo>
                    <a:pt x="206265" y="358260"/>
                    <a:pt x="211510" y="367342"/>
                    <a:pt x="217560" y="365976"/>
                  </a:cubicBezTo>
                  <a:cubicBezTo>
                    <a:pt x="224023" y="421555"/>
                    <a:pt x="246243" y="456178"/>
                    <a:pt x="265230" y="473033"/>
                  </a:cubicBezTo>
                  <a:cubicBezTo>
                    <a:pt x="283813" y="489434"/>
                    <a:pt x="327040" y="522690"/>
                    <a:pt x="352895" y="522690"/>
                  </a:cubicBezTo>
                  <a:cubicBezTo>
                    <a:pt x="378750" y="522690"/>
                    <a:pt x="442176" y="469844"/>
                    <a:pt x="447024" y="460733"/>
                  </a:cubicBezTo>
                  <a:cubicBezTo>
                    <a:pt x="452275" y="451622"/>
                    <a:pt x="487018" y="411077"/>
                    <a:pt x="488231" y="361421"/>
                  </a:cubicBezTo>
                  <a:cubicBezTo>
                    <a:pt x="505198" y="360054"/>
                    <a:pt x="514894" y="309942"/>
                    <a:pt x="521357" y="283520"/>
                  </a:cubicBezTo>
                  <a:cubicBezTo>
                    <a:pt x="526607" y="261206"/>
                    <a:pt x="508444" y="261652"/>
                    <a:pt x="508430" y="261653"/>
                  </a:cubicBezTo>
                  <a:cubicBezTo>
                    <a:pt x="508451" y="261595"/>
                    <a:pt x="533882" y="191493"/>
                    <a:pt x="535901" y="181930"/>
                  </a:cubicBezTo>
                  <a:cubicBezTo>
                    <a:pt x="537517" y="172818"/>
                    <a:pt x="554484" y="11549"/>
                    <a:pt x="426016" y="17472"/>
                  </a:cubicBezTo>
                  <a:cubicBezTo>
                    <a:pt x="407231" y="4488"/>
                    <a:pt x="384639" y="-1064"/>
                    <a:pt x="360713" y="167"/>
                  </a:cubicBezTo>
                  <a:close/>
                </a:path>
              </a:pathLst>
            </a:custGeom>
            <a:solidFill>
              <a:schemeClr val="bg2"/>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80678" tIns="40339" rIns="80678" bIns="40339" numCol="1" rtlCol="0" anchor="ctr" anchorCtr="0" compatLnSpc="1">
              <a:prstTxWarp prst="textNoShape">
                <a:avLst/>
              </a:prstTxWarp>
            </a:bodyPr>
            <a:lstStyle/>
            <a:p>
              <a:pPr algn="ctr" defTabSz="806565" fontAlgn="base">
                <a:lnSpc>
                  <a:spcPct val="70000"/>
                </a:lnSpc>
                <a:spcBef>
                  <a:spcPct val="0"/>
                </a:spcBef>
                <a:spcAft>
                  <a:spcPct val="0"/>
                </a:spcAft>
              </a:pPr>
              <a:endParaRPr lang="en-US" sz="2059">
                <a:solidFill>
                  <a:srgbClr val="FFFFFF"/>
                </a:solidFill>
                <a:effectLst>
                  <a:outerShdw blurRad="38100" dist="38100" dir="2700000" algn="tl">
                    <a:srgbClr val="000000">
                      <a:alpha val="43137"/>
                    </a:srgbClr>
                  </a:outerShdw>
                </a:effectLst>
              </a:endParaRPr>
            </a:p>
          </p:txBody>
        </p:sp>
        <p:sp>
          <p:nvSpPr>
            <p:cNvPr id="31" name="Freeform 30"/>
            <p:cNvSpPr/>
            <p:nvPr/>
          </p:nvSpPr>
          <p:spPr>
            <a:xfrm>
              <a:off x="2917369" y="1843202"/>
              <a:ext cx="475682" cy="590763"/>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7"/>
              <a:endParaRPr lang="en-US" sz="1324" dirty="0">
                <a:solidFill>
                  <a:srgbClr val="FFFFFF"/>
                </a:solidFill>
              </a:endParaRPr>
            </a:p>
          </p:txBody>
        </p:sp>
      </p:grpSp>
      <p:grpSp>
        <p:nvGrpSpPr>
          <p:cNvPr id="32" name="Group 31"/>
          <p:cNvGrpSpPr/>
          <p:nvPr/>
        </p:nvGrpSpPr>
        <p:grpSpPr>
          <a:xfrm>
            <a:off x="1830326" y="3782931"/>
            <a:ext cx="566782" cy="359346"/>
            <a:chOff x="2614881" y="1808095"/>
            <a:chExt cx="1074271" cy="625870"/>
          </a:xfrm>
        </p:grpSpPr>
        <p:sp>
          <p:nvSpPr>
            <p:cNvPr id="33" name="Man's Body"/>
            <p:cNvSpPr>
              <a:spLocks/>
            </p:cNvSpPr>
            <p:nvPr/>
          </p:nvSpPr>
          <p:spPr bwMode="auto">
            <a:xfrm>
              <a:off x="2614881" y="1809522"/>
              <a:ext cx="437989" cy="595449"/>
            </a:xfrm>
            <a:custGeom>
              <a:avLst/>
              <a:gdLst/>
              <a:ahLst/>
              <a:cxnLst/>
              <a:rect l="l" t="t" r="r" b="b"/>
              <a:pathLst>
                <a:path w="633506" h="861255">
                  <a:moveTo>
                    <a:pt x="256453" y="499120"/>
                  </a:moveTo>
                  <a:cubicBezTo>
                    <a:pt x="264130" y="497298"/>
                    <a:pt x="328774" y="557407"/>
                    <a:pt x="356248" y="556496"/>
                  </a:cubicBezTo>
                  <a:cubicBezTo>
                    <a:pt x="430185" y="553308"/>
                    <a:pt x="464124" y="497754"/>
                    <a:pt x="471396" y="500486"/>
                  </a:cubicBezTo>
                  <a:cubicBezTo>
                    <a:pt x="479073" y="502763"/>
                    <a:pt x="493618" y="566058"/>
                    <a:pt x="510183" y="570612"/>
                  </a:cubicBezTo>
                  <a:cubicBezTo>
                    <a:pt x="536065" y="577458"/>
                    <a:pt x="592849" y="597925"/>
                    <a:pt x="633506" y="619705"/>
                  </a:cubicBezTo>
                  <a:lnTo>
                    <a:pt x="550184" y="652623"/>
                  </a:lnTo>
                  <a:cubicBezTo>
                    <a:pt x="519221" y="665299"/>
                    <a:pt x="483687" y="676104"/>
                    <a:pt x="465400" y="688780"/>
                  </a:cubicBezTo>
                  <a:cubicBezTo>
                    <a:pt x="447113" y="701456"/>
                    <a:pt x="443581" y="714132"/>
                    <a:pt x="440464" y="728678"/>
                  </a:cubicBezTo>
                  <a:cubicBezTo>
                    <a:pt x="437347" y="743225"/>
                    <a:pt x="442334" y="758187"/>
                    <a:pt x="446698" y="776058"/>
                  </a:cubicBezTo>
                  <a:cubicBezTo>
                    <a:pt x="451062" y="793928"/>
                    <a:pt x="460621" y="816995"/>
                    <a:pt x="466647" y="835905"/>
                  </a:cubicBezTo>
                  <a:cubicBezTo>
                    <a:pt x="469140" y="843728"/>
                    <a:pt x="476257" y="851480"/>
                    <a:pt x="482013" y="859117"/>
                  </a:cubicBezTo>
                  <a:cubicBezTo>
                    <a:pt x="426772" y="861357"/>
                    <a:pt x="383089" y="861398"/>
                    <a:pt x="360693" y="861135"/>
                  </a:cubicBezTo>
                  <a:cubicBezTo>
                    <a:pt x="343764" y="861357"/>
                    <a:pt x="314272" y="861362"/>
                    <a:pt x="276708" y="860129"/>
                  </a:cubicBezTo>
                  <a:lnTo>
                    <a:pt x="188866" y="861175"/>
                  </a:lnTo>
                  <a:cubicBezTo>
                    <a:pt x="188860" y="861202"/>
                    <a:pt x="188850" y="861228"/>
                    <a:pt x="188840" y="861255"/>
                  </a:cubicBezTo>
                  <a:lnTo>
                    <a:pt x="187817" y="861195"/>
                  </a:lnTo>
                  <a:lnTo>
                    <a:pt x="184667" y="861255"/>
                  </a:lnTo>
                  <a:cubicBezTo>
                    <a:pt x="184542" y="861199"/>
                    <a:pt x="184417" y="861141"/>
                    <a:pt x="184346" y="860989"/>
                  </a:cubicBezTo>
                  <a:cubicBezTo>
                    <a:pt x="158819" y="859923"/>
                    <a:pt x="131391" y="858325"/>
                    <a:pt x="102874" y="856167"/>
                  </a:cubicBezTo>
                  <a:cubicBezTo>
                    <a:pt x="103285" y="827813"/>
                    <a:pt x="98437" y="820353"/>
                    <a:pt x="110792" y="795487"/>
                  </a:cubicBezTo>
                  <a:cubicBezTo>
                    <a:pt x="101321" y="801159"/>
                    <a:pt x="76929" y="802075"/>
                    <a:pt x="69103" y="853550"/>
                  </a:cubicBezTo>
                  <a:cubicBezTo>
                    <a:pt x="-5028" y="764123"/>
                    <a:pt x="-8734" y="692582"/>
                    <a:pt x="8563" y="664664"/>
                  </a:cubicBezTo>
                  <a:cubicBezTo>
                    <a:pt x="20163" y="645783"/>
                    <a:pt x="80944" y="618255"/>
                    <a:pt x="121197" y="603911"/>
                  </a:cubicBezTo>
                  <a:lnTo>
                    <a:pt x="125773" y="602177"/>
                  </a:lnTo>
                  <a:cubicBezTo>
                    <a:pt x="125566" y="601954"/>
                    <a:pt x="125310" y="601813"/>
                    <a:pt x="125052" y="601673"/>
                  </a:cubicBezTo>
                  <a:cubicBezTo>
                    <a:pt x="155803" y="587721"/>
                    <a:pt x="184426" y="577739"/>
                    <a:pt x="188981" y="578809"/>
                  </a:cubicBezTo>
                  <a:cubicBezTo>
                    <a:pt x="198677" y="580630"/>
                    <a:pt x="258473" y="648935"/>
                    <a:pt x="347764" y="647569"/>
                  </a:cubicBezTo>
                  <a:cubicBezTo>
                    <a:pt x="435010" y="646203"/>
                    <a:pt x="453609" y="597050"/>
                    <a:pt x="453619" y="597023"/>
                  </a:cubicBezTo>
                  <a:cubicBezTo>
                    <a:pt x="453602" y="597053"/>
                    <a:pt x="437815" y="624344"/>
                    <a:pt x="352612" y="622524"/>
                  </a:cubicBezTo>
                  <a:cubicBezTo>
                    <a:pt x="292412" y="621613"/>
                    <a:pt x="229384" y="568791"/>
                    <a:pt x="228171" y="558317"/>
                  </a:cubicBezTo>
                  <a:cubicBezTo>
                    <a:pt x="226959" y="547388"/>
                    <a:pt x="248373" y="500486"/>
                    <a:pt x="256453" y="499120"/>
                  </a:cubicBezTo>
                  <a:close/>
                  <a:moveTo>
                    <a:pt x="348425" y="167"/>
                  </a:moveTo>
                  <a:cubicBezTo>
                    <a:pt x="388302" y="2218"/>
                    <a:pt x="446273" y="21312"/>
                    <a:pt x="475280" y="42250"/>
                  </a:cubicBezTo>
                  <a:cubicBezTo>
                    <a:pt x="504286" y="63189"/>
                    <a:pt x="523678" y="113952"/>
                    <a:pt x="522466" y="125796"/>
                  </a:cubicBezTo>
                  <a:cubicBezTo>
                    <a:pt x="521254" y="137186"/>
                    <a:pt x="520089" y="171360"/>
                    <a:pt x="517028" y="186030"/>
                  </a:cubicBezTo>
                  <a:cubicBezTo>
                    <a:pt x="513968" y="200701"/>
                    <a:pt x="506256" y="202430"/>
                    <a:pt x="504101" y="213819"/>
                  </a:cubicBezTo>
                  <a:cubicBezTo>
                    <a:pt x="508544" y="224750"/>
                    <a:pt x="504103" y="254352"/>
                    <a:pt x="504101" y="254364"/>
                  </a:cubicBezTo>
                  <a:cubicBezTo>
                    <a:pt x="504124" y="254366"/>
                    <a:pt x="522684" y="255739"/>
                    <a:pt x="522684" y="269398"/>
                  </a:cubicBezTo>
                  <a:cubicBezTo>
                    <a:pt x="522684" y="283062"/>
                    <a:pt x="502897" y="358204"/>
                    <a:pt x="502889" y="358232"/>
                  </a:cubicBezTo>
                  <a:cubicBezTo>
                    <a:pt x="502878" y="358251"/>
                    <a:pt x="497631" y="367342"/>
                    <a:pt x="491577" y="365977"/>
                  </a:cubicBezTo>
                  <a:cubicBezTo>
                    <a:pt x="485114" y="421555"/>
                    <a:pt x="462894" y="456178"/>
                    <a:pt x="443907" y="473034"/>
                  </a:cubicBezTo>
                  <a:cubicBezTo>
                    <a:pt x="425324" y="489434"/>
                    <a:pt x="382097" y="522690"/>
                    <a:pt x="356242" y="522690"/>
                  </a:cubicBezTo>
                  <a:cubicBezTo>
                    <a:pt x="330387" y="522690"/>
                    <a:pt x="266961" y="469845"/>
                    <a:pt x="262114" y="460734"/>
                  </a:cubicBezTo>
                  <a:cubicBezTo>
                    <a:pt x="256862" y="451623"/>
                    <a:pt x="222119" y="411077"/>
                    <a:pt x="220907" y="361421"/>
                  </a:cubicBezTo>
                  <a:cubicBezTo>
                    <a:pt x="203940" y="360054"/>
                    <a:pt x="194244" y="309943"/>
                    <a:pt x="187780" y="283520"/>
                  </a:cubicBezTo>
                  <a:cubicBezTo>
                    <a:pt x="182530" y="261207"/>
                    <a:pt x="200694" y="261653"/>
                    <a:pt x="200708" y="261653"/>
                  </a:cubicBezTo>
                  <a:cubicBezTo>
                    <a:pt x="200692" y="261612"/>
                    <a:pt x="175256" y="191494"/>
                    <a:pt x="173237" y="181930"/>
                  </a:cubicBezTo>
                  <a:cubicBezTo>
                    <a:pt x="171621" y="172819"/>
                    <a:pt x="154653" y="11550"/>
                    <a:pt x="283121" y="17472"/>
                  </a:cubicBezTo>
                  <a:cubicBezTo>
                    <a:pt x="301906" y="4488"/>
                    <a:pt x="324498" y="-1064"/>
                    <a:pt x="348425" y="167"/>
                  </a:cubicBezTo>
                  <a:close/>
                </a:path>
              </a:pathLst>
            </a:custGeom>
            <a:solidFill>
              <a:schemeClr val="bg2"/>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80678" tIns="40339" rIns="80678" bIns="40339" numCol="1" rtlCol="0" anchor="ctr" anchorCtr="0" compatLnSpc="1">
              <a:prstTxWarp prst="textNoShape">
                <a:avLst/>
              </a:prstTxWarp>
            </a:bodyPr>
            <a:lstStyle/>
            <a:p>
              <a:pPr algn="ctr" defTabSz="806565" fontAlgn="base">
                <a:lnSpc>
                  <a:spcPct val="70000"/>
                </a:lnSpc>
                <a:spcBef>
                  <a:spcPct val="0"/>
                </a:spcBef>
                <a:spcAft>
                  <a:spcPct val="0"/>
                </a:spcAft>
              </a:pPr>
              <a:endParaRPr lang="en-US" sz="2059">
                <a:solidFill>
                  <a:srgbClr val="FFFFFF"/>
                </a:solidFill>
                <a:effectLst>
                  <a:outerShdw blurRad="38100" dist="38100" dir="2700000" algn="tl">
                    <a:srgbClr val="000000">
                      <a:alpha val="43137"/>
                    </a:srgbClr>
                  </a:outerShdw>
                </a:effectLst>
              </a:endParaRPr>
            </a:p>
          </p:txBody>
        </p:sp>
        <p:sp>
          <p:nvSpPr>
            <p:cNvPr id="34" name="Man's Body"/>
            <p:cNvSpPr>
              <a:spLocks/>
            </p:cNvSpPr>
            <p:nvPr/>
          </p:nvSpPr>
          <p:spPr bwMode="auto">
            <a:xfrm flipH="1">
              <a:off x="3267735" y="1808095"/>
              <a:ext cx="421417" cy="593220"/>
            </a:xfrm>
            <a:custGeom>
              <a:avLst/>
              <a:gdLst>
                <a:gd name="connsiteX0" fmla="*/ 452684 w 609536"/>
                <a:gd name="connsiteY0" fmla="*/ 499119 h 858034"/>
                <a:gd name="connsiteX1" fmla="*/ 364244 w 609536"/>
                <a:gd name="connsiteY1" fmla="*/ 552651 h 858034"/>
                <a:gd name="connsiteX2" fmla="*/ 303255 w 609536"/>
                <a:gd name="connsiteY2" fmla="*/ 763544 h 858034"/>
                <a:gd name="connsiteX3" fmla="*/ 343737 w 609536"/>
                <a:gd name="connsiteY3" fmla="*/ 794501 h 858034"/>
                <a:gd name="connsiteX4" fmla="*/ 367549 w 609536"/>
                <a:gd name="connsiteY4" fmla="*/ 777832 h 858034"/>
                <a:gd name="connsiteX5" fmla="*/ 362787 w 609536"/>
                <a:gd name="connsiteY5" fmla="*/ 754019 h 858034"/>
                <a:gd name="connsiteX6" fmla="*/ 386599 w 609536"/>
                <a:gd name="connsiteY6" fmla="*/ 746876 h 858034"/>
                <a:gd name="connsiteX7" fmla="*/ 398506 w 609536"/>
                <a:gd name="connsiteY7" fmla="*/ 777832 h 858034"/>
                <a:gd name="connsiteX8" fmla="*/ 343737 w 609536"/>
                <a:gd name="connsiteY8" fmla="*/ 815932 h 858034"/>
                <a:gd name="connsiteX9" fmla="*/ 279443 w 609536"/>
                <a:gd name="connsiteY9" fmla="*/ 773069 h 858034"/>
                <a:gd name="connsiteX10" fmla="*/ 331831 w 609536"/>
                <a:gd name="connsiteY10" fmla="*/ 577807 h 858034"/>
                <a:gd name="connsiteX11" fmla="*/ 305637 w 609536"/>
                <a:gd name="connsiteY11" fmla="*/ 563519 h 858034"/>
                <a:gd name="connsiteX12" fmla="*/ 311779 w 609536"/>
                <a:gd name="connsiteY12" fmla="*/ 547549 h 858034"/>
                <a:gd name="connsiteX13" fmla="*/ 237741 w 609536"/>
                <a:gd name="connsiteY13" fmla="*/ 500485 h 858034"/>
                <a:gd name="connsiteX14" fmla="*/ 224038 w 609536"/>
                <a:gd name="connsiteY14" fmla="*/ 528452 h 858034"/>
                <a:gd name="connsiteX15" fmla="*/ 153447 w 609536"/>
                <a:gd name="connsiteY15" fmla="*/ 578809 h 858034"/>
                <a:gd name="connsiteX16" fmla="*/ 8401 w 609536"/>
                <a:gd name="connsiteY16" fmla="*/ 653033 h 858034"/>
                <a:gd name="connsiteX17" fmla="*/ 67793 w 609536"/>
                <a:gd name="connsiteY17" fmla="*/ 850206 h 858034"/>
                <a:gd name="connsiteX18" fmla="*/ 124357 w 609536"/>
                <a:gd name="connsiteY18" fmla="*/ 749115 h 858034"/>
                <a:gd name="connsiteX19" fmla="*/ 100924 w 609536"/>
                <a:gd name="connsiteY19" fmla="*/ 852938 h 858034"/>
                <a:gd name="connsiteX20" fmla="*/ 480551 w 609536"/>
                <a:gd name="connsiteY20" fmla="*/ 858034 h 858034"/>
                <a:gd name="connsiteX21" fmla="*/ 451681 w 609536"/>
                <a:gd name="connsiteY21" fmla="*/ 791472 h 858034"/>
                <a:gd name="connsiteX22" fmla="*/ 442156 w 609536"/>
                <a:gd name="connsiteY22" fmla="*/ 731940 h 858034"/>
                <a:gd name="connsiteX23" fmla="*/ 449300 w 609536"/>
                <a:gd name="connsiteY23" fmla="*/ 691459 h 858034"/>
                <a:gd name="connsiteX24" fmla="*/ 527881 w 609536"/>
                <a:gd name="connsiteY24" fmla="*/ 643834 h 858034"/>
                <a:gd name="connsiteX25" fmla="*/ 609536 w 609536"/>
                <a:gd name="connsiteY25" fmla="*/ 614300 h 858034"/>
                <a:gd name="connsiteX26" fmla="*/ 520157 w 609536"/>
                <a:gd name="connsiteY26" fmla="*/ 578809 h 858034"/>
                <a:gd name="connsiteX27" fmla="*/ 416545 w 609536"/>
                <a:gd name="connsiteY27" fmla="*/ 619374 h 858034"/>
                <a:gd name="connsiteX28" fmla="*/ 402735 w 609536"/>
                <a:gd name="connsiteY28" fmla="*/ 611762 h 858034"/>
                <a:gd name="connsiteX29" fmla="*/ 480966 w 609536"/>
                <a:gd name="connsiteY29" fmla="*/ 558317 h 858034"/>
                <a:gd name="connsiteX30" fmla="*/ 452684 w 609536"/>
                <a:gd name="connsiteY30" fmla="*/ 499119 h 858034"/>
                <a:gd name="connsiteX31" fmla="*/ 360713 w 609536"/>
                <a:gd name="connsiteY31" fmla="*/ 167 h 858034"/>
                <a:gd name="connsiteX32" fmla="*/ 241395 w 609536"/>
                <a:gd name="connsiteY32" fmla="*/ 59839 h 858034"/>
                <a:gd name="connsiteX33" fmla="*/ 169081 w 609536"/>
                <a:gd name="connsiteY33" fmla="*/ 160974 h 858034"/>
                <a:gd name="connsiteX34" fmla="*/ 192109 w 609536"/>
                <a:gd name="connsiteY34" fmla="*/ 186030 h 858034"/>
                <a:gd name="connsiteX35" fmla="*/ 209480 w 609536"/>
                <a:gd name="connsiteY35" fmla="*/ 168263 h 858034"/>
                <a:gd name="connsiteX36" fmla="*/ 352895 w 609536"/>
                <a:gd name="connsiteY36" fmla="*/ 122251 h 858034"/>
                <a:gd name="connsiteX37" fmla="*/ 205036 w 609536"/>
                <a:gd name="connsiteY37" fmla="*/ 213819 h 858034"/>
                <a:gd name="connsiteX38" fmla="*/ 205036 w 609536"/>
                <a:gd name="connsiteY38" fmla="*/ 254364 h 858034"/>
                <a:gd name="connsiteX39" fmla="*/ 186453 w 609536"/>
                <a:gd name="connsiteY39" fmla="*/ 269397 h 858034"/>
                <a:gd name="connsiteX40" fmla="*/ 206248 w 609536"/>
                <a:gd name="connsiteY40" fmla="*/ 358232 h 858034"/>
                <a:gd name="connsiteX41" fmla="*/ 217560 w 609536"/>
                <a:gd name="connsiteY41" fmla="*/ 365976 h 858034"/>
                <a:gd name="connsiteX42" fmla="*/ 265230 w 609536"/>
                <a:gd name="connsiteY42" fmla="*/ 473033 h 858034"/>
                <a:gd name="connsiteX43" fmla="*/ 352895 w 609536"/>
                <a:gd name="connsiteY43" fmla="*/ 522690 h 858034"/>
                <a:gd name="connsiteX44" fmla="*/ 447024 w 609536"/>
                <a:gd name="connsiteY44" fmla="*/ 460733 h 858034"/>
                <a:gd name="connsiteX45" fmla="*/ 488231 w 609536"/>
                <a:gd name="connsiteY45" fmla="*/ 361421 h 858034"/>
                <a:gd name="connsiteX46" fmla="*/ 521357 w 609536"/>
                <a:gd name="connsiteY46" fmla="*/ 283520 h 858034"/>
                <a:gd name="connsiteX47" fmla="*/ 508430 w 609536"/>
                <a:gd name="connsiteY47" fmla="*/ 261653 h 858034"/>
                <a:gd name="connsiteX48" fmla="*/ 535901 w 609536"/>
                <a:gd name="connsiteY48" fmla="*/ 181930 h 858034"/>
                <a:gd name="connsiteX49" fmla="*/ 426016 w 609536"/>
                <a:gd name="connsiteY49" fmla="*/ 17472 h 858034"/>
                <a:gd name="connsiteX50" fmla="*/ 360713 w 609536"/>
                <a:gd name="connsiteY50" fmla="*/ 167 h 85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09536" h="858034">
                  <a:moveTo>
                    <a:pt x="452684" y="499119"/>
                  </a:moveTo>
                  <a:cubicBezTo>
                    <a:pt x="445971" y="497526"/>
                    <a:pt x="395679" y="543306"/>
                    <a:pt x="364244" y="552651"/>
                  </a:cubicBezTo>
                  <a:lnTo>
                    <a:pt x="303255" y="763544"/>
                  </a:lnTo>
                  <a:lnTo>
                    <a:pt x="343737" y="794501"/>
                  </a:lnTo>
                  <a:lnTo>
                    <a:pt x="367549" y="777832"/>
                  </a:lnTo>
                  <a:lnTo>
                    <a:pt x="362787" y="754019"/>
                  </a:lnTo>
                  <a:lnTo>
                    <a:pt x="386599" y="746876"/>
                  </a:lnTo>
                  <a:lnTo>
                    <a:pt x="398506" y="777832"/>
                  </a:lnTo>
                  <a:lnTo>
                    <a:pt x="343737" y="815932"/>
                  </a:lnTo>
                  <a:lnTo>
                    <a:pt x="279443" y="773069"/>
                  </a:lnTo>
                  <a:lnTo>
                    <a:pt x="331831" y="577807"/>
                  </a:lnTo>
                  <a:lnTo>
                    <a:pt x="305637" y="563519"/>
                  </a:lnTo>
                  <a:lnTo>
                    <a:pt x="311779" y="547549"/>
                  </a:lnTo>
                  <a:cubicBezTo>
                    <a:pt x="265856" y="532518"/>
                    <a:pt x="243484" y="498328"/>
                    <a:pt x="237741" y="500485"/>
                  </a:cubicBezTo>
                  <a:cubicBezTo>
                    <a:pt x="234382" y="501482"/>
                    <a:pt x="229709" y="514159"/>
                    <a:pt x="224038" y="528452"/>
                  </a:cubicBezTo>
                  <a:cubicBezTo>
                    <a:pt x="205457" y="548836"/>
                    <a:pt x="184781" y="572298"/>
                    <a:pt x="153447" y="578809"/>
                  </a:cubicBezTo>
                  <a:cubicBezTo>
                    <a:pt x="143751" y="576532"/>
                    <a:pt x="24966" y="624345"/>
                    <a:pt x="8401" y="653033"/>
                  </a:cubicBezTo>
                  <a:cubicBezTo>
                    <a:pt x="-8568" y="682176"/>
                    <a:pt x="-4932" y="756856"/>
                    <a:pt x="67793" y="850206"/>
                  </a:cubicBezTo>
                  <a:cubicBezTo>
                    <a:pt x="75470" y="796473"/>
                    <a:pt x="115065" y="755035"/>
                    <a:pt x="124357" y="749115"/>
                  </a:cubicBezTo>
                  <a:cubicBezTo>
                    <a:pt x="112236" y="775071"/>
                    <a:pt x="101328" y="823340"/>
                    <a:pt x="100924" y="852938"/>
                  </a:cubicBezTo>
                  <a:cubicBezTo>
                    <a:pt x="128188" y="855133"/>
                    <a:pt x="414548" y="856773"/>
                    <a:pt x="480551" y="858034"/>
                  </a:cubicBezTo>
                  <a:cubicBezTo>
                    <a:pt x="466924" y="834305"/>
                    <a:pt x="458117" y="810194"/>
                    <a:pt x="451681" y="791472"/>
                  </a:cubicBezTo>
                  <a:cubicBezTo>
                    <a:pt x="442950" y="766072"/>
                    <a:pt x="442553" y="748609"/>
                    <a:pt x="442156" y="731940"/>
                  </a:cubicBezTo>
                  <a:cubicBezTo>
                    <a:pt x="441759" y="715271"/>
                    <a:pt x="435012" y="706143"/>
                    <a:pt x="449300" y="691459"/>
                  </a:cubicBezTo>
                  <a:cubicBezTo>
                    <a:pt x="463587" y="676775"/>
                    <a:pt x="501175" y="656694"/>
                    <a:pt x="527881" y="643834"/>
                  </a:cubicBezTo>
                  <a:cubicBezTo>
                    <a:pt x="554587" y="630974"/>
                    <a:pt x="583785" y="620160"/>
                    <a:pt x="609536" y="614300"/>
                  </a:cubicBezTo>
                  <a:cubicBezTo>
                    <a:pt x="573506" y="596277"/>
                    <a:pt x="525501" y="577554"/>
                    <a:pt x="520157" y="578809"/>
                  </a:cubicBezTo>
                  <a:cubicBezTo>
                    <a:pt x="513668" y="580027"/>
                    <a:pt x="471919" y="609413"/>
                    <a:pt x="416545" y="619374"/>
                  </a:cubicBezTo>
                  <a:cubicBezTo>
                    <a:pt x="412236" y="616547"/>
                    <a:pt x="407719" y="613840"/>
                    <a:pt x="402735" y="611762"/>
                  </a:cubicBezTo>
                  <a:cubicBezTo>
                    <a:pt x="445434" y="596908"/>
                    <a:pt x="480070" y="566055"/>
                    <a:pt x="480966" y="558317"/>
                  </a:cubicBezTo>
                  <a:cubicBezTo>
                    <a:pt x="482178" y="547388"/>
                    <a:pt x="460765" y="500485"/>
                    <a:pt x="452684" y="499119"/>
                  </a:cubicBezTo>
                  <a:close/>
                  <a:moveTo>
                    <a:pt x="360713" y="167"/>
                  </a:moveTo>
                  <a:cubicBezTo>
                    <a:pt x="320835" y="2218"/>
                    <a:pt x="277249" y="23109"/>
                    <a:pt x="241395" y="59839"/>
                  </a:cubicBezTo>
                  <a:cubicBezTo>
                    <a:pt x="184029" y="118607"/>
                    <a:pt x="167869" y="149129"/>
                    <a:pt x="169081" y="160974"/>
                  </a:cubicBezTo>
                  <a:cubicBezTo>
                    <a:pt x="170294" y="172363"/>
                    <a:pt x="182009" y="188307"/>
                    <a:pt x="192109" y="186030"/>
                  </a:cubicBezTo>
                  <a:cubicBezTo>
                    <a:pt x="202612" y="183752"/>
                    <a:pt x="203824" y="173729"/>
                    <a:pt x="209480" y="168263"/>
                  </a:cubicBezTo>
                  <a:cubicBezTo>
                    <a:pt x="276542" y="104484"/>
                    <a:pt x="330676" y="114506"/>
                    <a:pt x="352895" y="122251"/>
                  </a:cubicBezTo>
                  <a:cubicBezTo>
                    <a:pt x="266442" y="130451"/>
                    <a:pt x="209480" y="202430"/>
                    <a:pt x="205036" y="213819"/>
                  </a:cubicBezTo>
                  <a:cubicBezTo>
                    <a:pt x="200593" y="224750"/>
                    <a:pt x="205034" y="254351"/>
                    <a:pt x="205036" y="254364"/>
                  </a:cubicBezTo>
                  <a:cubicBezTo>
                    <a:pt x="204990" y="254368"/>
                    <a:pt x="186453" y="255747"/>
                    <a:pt x="186453" y="269397"/>
                  </a:cubicBezTo>
                  <a:cubicBezTo>
                    <a:pt x="186453" y="283062"/>
                    <a:pt x="206241" y="358204"/>
                    <a:pt x="206248" y="358232"/>
                  </a:cubicBezTo>
                  <a:cubicBezTo>
                    <a:pt x="206265" y="358260"/>
                    <a:pt x="211510" y="367342"/>
                    <a:pt x="217560" y="365976"/>
                  </a:cubicBezTo>
                  <a:cubicBezTo>
                    <a:pt x="224023" y="421555"/>
                    <a:pt x="246243" y="456178"/>
                    <a:pt x="265230" y="473033"/>
                  </a:cubicBezTo>
                  <a:cubicBezTo>
                    <a:pt x="283813" y="489434"/>
                    <a:pt x="327040" y="522690"/>
                    <a:pt x="352895" y="522690"/>
                  </a:cubicBezTo>
                  <a:cubicBezTo>
                    <a:pt x="378750" y="522690"/>
                    <a:pt x="442176" y="469844"/>
                    <a:pt x="447024" y="460733"/>
                  </a:cubicBezTo>
                  <a:cubicBezTo>
                    <a:pt x="452275" y="451622"/>
                    <a:pt x="487018" y="411077"/>
                    <a:pt x="488231" y="361421"/>
                  </a:cubicBezTo>
                  <a:cubicBezTo>
                    <a:pt x="505198" y="360054"/>
                    <a:pt x="514894" y="309942"/>
                    <a:pt x="521357" y="283520"/>
                  </a:cubicBezTo>
                  <a:cubicBezTo>
                    <a:pt x="526607" y="261206"/>
                    <a:pt x="508444" y="261652"/>
                    <a:pt x="508430" y="261653"/>
                  </a:cubicBezTo>
                  <a:cubicBezTo>
                    <a:pt x="508451" y="261595"/>
                    <a:pt x="533882" y="191493"/>
                    <a:pt x="535901" y="181930"/>
                  </a:cubicBezTo>
                  <a:cubicBezTo>
                    <a:pt x="537517" y="172818"/>
                    <a:pt x="554484" y="11549"/>
                    <a:pt x="426016" y="17472"/>
                  </a:cubicBezTo>
                  <a:cubicBezTo>
                    <a:pt x="407231" y="4488"/>
                    <a:pt x="384639" y="-1064"/>
                    <a:pt x="360713" y="167"/>
                  </a:cubicBezTo>
                  <a:close/>
                </a:path>
              </a:pathLst>
            </a:custGeom>
            <a:solidFill>
              <a:schemeClr val="bg2"/>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80678" tIns="40339" rIns="80678" bIns="40339" numCol="1" rtlCol="0" anchor="ctr" anchorCtr="0" compatLnSpc="1">
              <a:prstTxWarp prst="textNoShape">
                <a:avLst/>
              </a:prstTxWarp>
            </a:bodyPr>
            <a:lstStyle/>
            <a:p>
              <a:pPr algn="ctr" defTabSz="806565" fontAlgn="base">
                <a:lnSpc>
                  <a:spcPct val="70000"/>
                </a:lnSpc>
                <a:spcBef>
                  <a:spcPct val="0"/>
                </a:spcBef>
                <a:spcAft>
                  <a:spcPct val="0"/>
                </a:spcAft>
              </a:pPr>
              <a:endParaRPr lang="en-US" sz="2059">
                <a:solidFill>
                  <a:srgbClr val="FFFFFF"/>
                </a:solidFill>
                <a:effectLst>
                  <a:outerShdw blurRad="38100" dist="38100" dir="2700000" algn="tl">
                    <a:srgbClr val="000000">
                      <a:alpha val="43137"/>
                    </a:srgbClr>
                  </a:outerShdw>
                </a:effectLst>
              </a:endParaRPr>
            </a:p>
          </p:txBody>
        </p:sp>
        <p:sp>
          <p:nvSpPr>
            <p:cNvPr id="35" name="Freeform 34"/>
            <p:cNvSpPr/>
            <p:nvPr/>
          </p:nvSpPr>
          <p:spPr>
            <a:xfrm>
              <a:off x="2917369" y="1843202"/>
              <a:ext cx="475682" cy="590763"/>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7"/>
              <a:endParaRPr lang="en-US" sz="1324" dirty="0">
                <a:solidFill>
                  <a:srgbClr val="FFFFFF"/>
                </a:solidFill>
              </a:endParaRPr>
            </a:p>
          </p:txBody>
        </p:sp>
      </p:grpSp>
      <p:grpSp>
        <p:nvGrpSpPr>
          <p:cNvPr id="8" name="Group 7"/>
          <p:cNvGrpSpPr/>
          <p:nvPr/>
        </p:nvGrpSpPr>
        <p:grpSpPr>
          <a:xfrm>
            <a:off x="5003161" y="2147282"/>
            <a:ext cx="543838" cy="520647"/>
            <a:chOff x="6844988" y="2050617"/>
            <a:chExt cx="739658" cy="708116"/>
          </a:xfrm>
          <a:solidFill>
            <a:srgbClr val="C00000"/>
          </a:solidFill>
        </p:grpSpPr>
        <p:sp>
          <p:nvSpPr>
            <p:cNvPr id="37" name="Freeform 36"/>
            <p:cNvSpPr/>
            <p:nvPr/>
          </p:nvSpPr>
          <p:spPr>
            <a:xfrm>
              <a:off x="6844988" y="2050617"/>
              <a:ext cx="292519" cy="54618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noFill/>
              <a:prstDash val="solid"/>
            </a:ln>
            <a:effectLst/>
          </p:spPr>
          <p:txBody>
            <a:bodyPr vert="horz" wrap="square" lIns="65908" tIns="32953" rIns="65908" bIns="32953" numCol="1" rtlCol="0" anchor="ctr" anchorCtr="0" compatLnSpc="1">
              <a:prstTxWarp prst="textNoShape">
                <a:avLst/>
              </a:prstTxWarp>
            </a:bodyPr>
            <a:lstStyle/>
            <a:p>
              <a:pPr algn="ctr" defTabSz="658896" fontAlgn="base">
                <a:spcBef>
                  <a:spcPct val="0"/>
                </a:spcBef>
                <a:spcAft>
                  <a:spcPct val="0"/>
                </a:spcAft>
                <a:defRPr/>
              </a:pPr>
              <a:endParaRPr lang="en-US" sz="1586" kern="0" dirty="0">
                <a:gradFill>
                  <a:gsLst>
                    <a:gs pos="0">
                      <a:srgbClr val="FFFFFF"/>
                    </a:gs>
                    <a:gs pos="100000">
                      <a:srgbClr val="FFFFFF"/>
                    </a:gs>
                  </a:gsLst>
                  <a:lin ang="5400000" scaled="0"/>
                </a:gradFill>
              </a:endParaRPr>
            </a:p>
          </p:txBody>
        </p:sp>
        <p:sp>
          <p:nvSpPr>
            <p:cNvPr id="38" name="Freeform 37"/>
            <p:cNvSpPr/>
            <p:nvPr/>
          </p:nvSpPr>
          <p:spPr>
            <a:xfrm>
              <a:off x="7082407" y="2212549"/>
              <a:ext cx="292519" cy="54618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noFill/>
              <a:prstDash val="solid"/>
            </a:ln>
            <a:effectLst/>
          </p:spPr>
          <p:txBody>
            <a:bodyPr vert="horz" wrap="square" lIns="65908" tIns="32953" rIns="65908" bIns="32953" numCol="1" rtlCol="0" anchor="ctr" anchorCtr="0" compatLnSpc="1">
              <a:prstTxWarp prst="textNoShape">
                <a:avLst/>
              </a:prstTxWarp>
            </a:bodyPr>
            <a:lstStyle/>
            <a:p>
              <a:pPr algn="ctr" defTabSz="658896" fontAlgn="base">
                <a:spcBef>
                  <a:spcPct val="0"/>
                </a:spcBef>
                <a:spcAft>
                  <a:spcPct val="0"/>
                </a:spcAft>
                <a:defRPr/>
              </a:pPr>
              <a:endParaRPr lang="en-US" sz="1586" kern="0" dirty="0">
                <a:gradFill>
                  <a:gsLst>
                    <a:gs pos="0">
                      <a:srgbClr val="FFFFFF"/>
                    </a:gs>
                    <a:gs pos="100000">
                      <a:srgbClr val="FFFFFF"/>
                    </a:gs>
                  </a:gsLst>
                  <a:lin ang="5400000" scaled="0"/>
                </a:gradFill>
              </a:endParaRPr>
            </a:p>
          </p:txBody>
        </p:sp>
        <p:sp>
          <p:nvSpPr>
            <p:cNvPr id="39" name="Freeform 38"/>
            <p:cNvSpPr/>
            <p:nvPr/>
          </p:nvSpPr>
          <p:spPr>
            <a:xfrm>
              <a:off x="7292127" y="2066284"/>
              <a:ext cx="292519" cy="54618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noFill/>
              <a:prstDash val="solid"/>
            </a:ln>
            <a:effectLst/>
          </p:spPr>
          <p:txBody>
            <a:bodyPr vert="horz" wrap="square" lIns="65908" tIns="32953" rIns="65908" bIns="32953" numCol="1" rtlCol="0" anchor="ctr" anchorCtr="0" compatLnSpc="1">
              <a:prstTxWarp prst="textNoShape">
                <a:avLst/>
              </a:prstTxWarp>
            </a:bodyPr>
            <a:lstStyle/>
            <a:p>
              <a:pPr algn="ctr" defTabSz="658896" fontAlgn="base">
                <a:spcBef>
                  <a:spcPct val="0"/>
                </a:spcBef>
                <a:spcAft>
                  <a:spcPct val="0"/>
                </a:spcAft>
                <a:defRPr/>
              </a:pPr>
              <a:endParaRPr lang="en-US" sz="1586" kern="0" dirty="0">
                <a:gradFill>
                  <a:gsLst>
                    <a:gs pos="0">
                      <a:srgbClr val="FFFFFF"/>
                    </a:gs>
                    <a:gs pos="100000">
                      <a:srgbClr val="FFFFFF"/>
                    </a:gs>
                  </a:gsLst>
                  <a:lin ang="5400000" scaled="0"/>
                </a:gradFill>
              </a:endParaRPr>
            </a:p>
          </p:txBody>
        </p:sp>
      </p:grpSp>
      <p:grpSp>
        <p:nvGrpSpPr>
          <p:cNvPr id="40" name="Group 39"/>
          <p:cNvGrpSpPr/>
          <p:nvPr/>
        </p:nvGrpSpPr>
        <p:grpSpPr>
          <a:xfrm>
            <a:off x="5060003" y="3774489"/>
            <a:ext cx="543838" cy="520647"/>
            <a:chOff x="6844988" y="2050617"/>
            <a:chExt cx="739658" cy="708116"/>
          </a:xfrm>
          <a:solidFill>
            <a:schemeClr val="accent5"/>
          </a:solidFill>
        </p:grpSpPr>
        <p:sp>
          <p:nvSpPr>
            <p:cNvPr id="41" name="Freeform 40"/>
            <p:cNvSpPr/>
            <p:nvPr/>
          </p:nvSpPr>
          <p:spPr>
            <a:xfrm>
              <a:off x="6844988" y="2050617"/>
              <a:ext cx="292519" cy="54618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noFill/>
              <a:prstDash val="solid"/>
            </a:ln>
            <a:effectLst/>
          </p:spPr>
          <p:txBody>
            <a:bodyPr vert="horz" wrap="square" lIns="65908" tIns="32953" rIns="65908" bIns="32953" numCol="1" rtlCol="0" anchor="ctr" anchorCtr="0" compatLnSpc="1">
              <a:prstTxWarp prst="textNoShape">
                <a:avLst/>
              </a:prstTxWarp>
            </a:bodyPr>
            <a:lstStyle/>
            <a:p>
              <a:pPr algn="ctr" defTabSz="658896" fontAlgn="base">
                <a:spcBef>
                  <a:spcPct val="0"/>
                </a:spcBef>
                <a:spcAft>
                  <a:spcPct val="0"/>
                </a:spcAft>
                <a:defRPr/>
              </a:pPr>
              <a:endParaRPr lang="en-US" sz="1586" kern="0" dirty="0">
                <a:gradFill>
                  <a:gsLst>
                    <a:gs pos="0">
                      <a:srgbClr val="FFFFFF"/>
                    </a:gs>
                    <a:gs pos="100000">
                      <a:srgbClr val="FFFFFF"/>
                    </a:gs>
                  </a:gsLst>
                  <a:lin ang="5400000" scaled="0"/>
                </a:gradFill>
              </a:endParaRPr>
            </a:p>
          </p:txBody>
        </p:sp>
        <p:sp>
          <p:nvSpPr>
            <p:cNvPr id="42" name="Freeform 41"/>
            <p:cNvSpPr/>
            <p:nvPr/>
          </p:nvSpPr>
          <p:spPr>
            <a:xfrm>
              <a:off x="7082407" y="2212549"/>
              <a:ext cx="292519" cy="54618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noFill/>
              <a:prstDash val="solid"/>
            </a:ln>
            <a:effectLst/>
          </p:spPr>
          <p:txBody>
            <a:bodyPr vert="horz" wrap="square" lIns="65908" tIns="32953" rIns="65908" bIns="32953" numCol="1" rtlCol="0" anchor="ctr" anchorCtr="0" compatLnSpc="1">
              <a:prstTxWarp prst="textNoShape">
                <a:avLst/>
              </a:prstTxWarp>
            </a:bodyPr>
            <a:lstStyle/>
            <a:p>
              <a:pPr algn="ctr" defTabSz="658896" fontAlgn="base">
                <a:spcBef>
                  <a:spcPct val="0"/>
                </a:spcBef>
                <a:spcAft>
                  <a:spcPct val="0"/>
                </a:spcAft>
                <a:defRPr/>
              </a:pPr>
              <a:endParaRPr lang="en-US" sz="1586" kern="0" dirty="0">
                <a:gradFill>
                  <a:gsLst>
                    <a:gs pos="0">
                      <a:srgbClr val="FFFFFF"/>
                    </a:gs>
                    <a:gs pos="100000">
                      <a:srgbClr val="FFFFFF"/>
                    </a:gs>
                  </a:gsLst>
                  <a:lin ang="5400000" scaled="0"/>
                </a:gradFill>
              </a:endParaRPr>
            </a:p>
          </p:txBody>
        </p:sp>
        <p:sp>
          <p:nvSpPr>
            <p:cNvPr id="43" name="Freeform 42"/>
            <p:cNvSpPr/>
            <p:nvPr/>
          </p:nvSpPr>
          <p:spPr>
            <a:xfrm>
              <a:off x="7292127" y="2066284"/>
              <a:ext cx="292519" cy="54618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noFill/>
              <a:prstDash val="solid"/>
            </a:ln>
            <a:effectLst/>
          </p:spPr>
          <p:txBody>
            <a:bodyPr vert="horz" wrap="square" lIns="65908" tIns="32953" rIns="65908" bIns="32953" numCol="1" rtlCol="0" anchor="ctr" anchorCtr="0" compatLnSpc="1">
              <a:prstTxWarp prst="textNoShape">
                <a:avLst/>
              </a:prstTxWarp>
            </a:bodyPr>
            <a:lstStyle/>
            <a:p>
              <a:pPr algn="ctr" defTabSz="658896" fontAlgn="base">
                <a:spcBef>
                  <a:spcPct val="0"/>
                </a:spcBef>
                <a:spcAft>
                  <a:spcPct val="0"/>
                </a:spcAft>
                <a:defRPr/>
              </a:pPr>
              <a:endParaRPr lang="en-US" sz="1586" kern="0" dirty="0">
                <a:gradFill>
                  <a:gsLst>
                    <a:gs pos="0">
                      <a:srgbClr val="FFFFFF"/>
                    </a:gs>
                    <a:gs pos="100000">
                      <a:srgbClr val="FFFFFF"/>
                    </a:gs>
                  </a:gsLst>
                  <a:lin ang="5400000" scaled="0"/>
                </a:gradFill>
              </a:endParaRPr>
            </a:p>
          </p:txBody>
        </p:sp>
      </p:grpSp>
      <p:sp>
        <p:nvSpPr>
          <p:cNvPr id="44" name="Down Arrow 43"/>
          <p:cNvSpPr/>
          <p:nvPr/>
        </p:nvSpPr>
        <p:spPr bwMode="auto">
          <a:xfrm rot="5400000">
            <a:off x="4679678" y="2209218"/>
            <a:ext cx="212311" cy="375551"/>
          </a:xfrm>
          <a:prstGeom prst="downArrow">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2" rIns="0" bIns="34282" numCol="1" rtlCol="0" anchor="ctr" anchorCtr="0" compatLnSpc="1">
            <a:prstTxWarp prst="textNoShape">
              <a:avLst/>
            </a:prstTxWarp>
          </a:bodyPr>
          <a:lstStyle/>
          <a:p>
            <a:pPr algn="ctr" defTabSz="685470" fontAlgn="base">
              <a:spcBef>
                <a:spcPct val="0"/>
              </a:spcBef>
              <a:spcAft>
                <a:spcPct val="0"/>
              </a:spcAft>
            </a:pPr>
            <a:endParaRPr lang="en-US" sz="1471" dirty="0">
              <a:ln>
                <a:solidFill>
                  <a:srgbClr val="FFFFFF">
                    <a:alpha val="0"/>
                  </a:srgbClr>
                </a:solidFill>
              </a:ln>
              <a:gradFill>
                <a:gsLst>
                  <a:gs pos="0">
                    <a:srgbClr val="FFFFFF"/>
                  </a:gs>
                  <a:gs pos="100000">
                    <a:srgbClr val="FFFFFF"/>
                  </a:gs>
                </a:gsLst>
                <a:lin ang="5400000" scaled="0"/>
              </a:gradFill>
            </a:endParaRPr>
          </a:p>
        </p:txBody>
      </p:sp>
      <p:sp>
        <p:nvSpPr>
          <p:cNvPr id="51" name="Down Arrow 50"/>
          <p:cNvSpPr/>
          <p:nvPr/>
        </p:nvSpPr>
        <p:spPr bwMode="auto">
          <a:xfrm rot="5400000">
            <a:off x="2438887" y="3799553"/>
            <a:ext cx="212311" cy="257435"/>
          </a:xfrm>
          <a:prstGeom prst="downArrow">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2" rIns="0" bIns="34282" numCol="1" rtlCol="0" anchor="ctr" anchorCtr="0" compatLnSpc="1">
            <a:prstTxWarp prst="textNoShape">
              <a:avLst/>
            </a:prstTxWarp>
          </a:bodyPr>
          <a:lstStyle/>
          <a:p>
            <a:pPr algn="ctr" defTabSz="685470" fontAlgn="base">
              <a:spcBef>
                <a:spcPct val="0"/>
              </a:spcBef>
              <a:spcAft>
                <a:spcPct val="0"/>
              </a:spcAft>
            </a:pPr>
            <a:endParaRPr lang="en-US" sz="1471" dirty="0">
              <a:ln>
                <a:solidFill>
                  <a:srgbClr val="FFFFFF">
                    <a:alpha val="0"/>
                  </a:srgbClr>
                </a:solidFill>
              </a:ln>
              <a:gradFill>
                <a:gsLst>
                  <a:gs pos="0">
                    <a:srgbClr val="FFFFFF"/>
                  </a:gs>
                  <a:gs pos="100000">
                    <a:srgbClr val="FFFFFF"/>
                  </a:gs>
                </a:gsLst>
                <a:lin ang="5400000" scaled="0"/>
              </a:gradFill>
            </a:endParaRPr>
          </a:p>
        </p:txBody>
      </p:sp>
      <p:sp>
        <p:nvSpPr>
          <p:cNvPr id="52" name="Down Arrow 51"/>
          <p:cNvSpPr/>
          <p:nvPr/>
        </p:nvSpPr>
        <p:spPr bwMode="auto">
          <a:xfrm rot="16200000">
            <a:off x="2475826" y="4008232"/>
            <a:ext cx="212311" cy="257435"/>
          </a:xfrm>
          <a:prstGeom prst="downArrow">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2" rIns="0" bIns="34282" numCol="1" rtlCol="0" anchor="ctr" anchorCtr="0" compatLnSpc="1">
            <a:prstTxWarp prst="textNoShape">
              <a:avLst/>
            </a:prstTxWarp>
          </a:bodyPr>
          <a:lstStyle/>
          <a:p>
            <a:pPr algn="ctr" defTabSz="685470" fontAlgn="base">
              <a:spcBef>
                <a:spcPct val="0"/>
              </a:spcBef>
              <a:spcAft>
                <a:spcPct val="0"/>
              </a:spcAft>
            </a:pPr>
            <a:endParaRPr lang="en-US" sz="1471" dirty="0">
              <a:ln>
                <a:solidFill>
                  <a:srgbClr val="FFFFFF">
                    <a:alpha val="0"/>
                  </a:srgbClr>
                </a:solidFill>
              </a:ln>
              <a:gradFill>
                <a:gsLst>
                  <a:gs pos="0">
                    <a:srgbClr val="FFFFFF"/>
                  </a:gs>
                  <a:gs pos="100000">
                    <a:srgbClr val="FFFFFF"/>
                  </a:gs>
                </a:gsLst>
                <a:lin ang="5400000" scaled="0"/>
              </a:gradFill>
            </a:endParaRPr>
          </a:p>
        </p:txBody>
      </p:sp>
      <p:sp>
        <p:nvSpPr>
          <p:cNvPr id="60" name="Down Arrow 59"/>
          <p:cNvSpPr/>
          <p:nvPr/>
        </p:nvSpPr>
        <p:spPr bwMode="auto">
          <a:xfrm rot="5400000">
            <a:off x="2425346" y="2153236"/>
            <a:ext cx="212311" cy="257435"/>
          </a:xfrm>
          <a:prstGeom prst="downArrow">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2" rIns="0" bIns="34282" numCol="1" rtlCol="0" anchor="ctr" anchorCtr="0" compatLnSpc="1">
            <a:prstTxWarp prst="textNoShape">
              <a:avLst/>
            </a:prstTxWarp>
          </a:bodyPr>
          <a:lstStyle/>
          <a:p>
            <a:pPr algn="ctr" defTabSz="685470" fontAlgn="base">
              <a:spcBef>
                <a:spcPct val="0"/>
              </a:spcBef>
              <a:spcAft>
                <a:spcPct val="0"/>
              </a:spcAft>
            </a:pPr>
            <a:endParaRPr lang="en-US" sz="1471" dirty="0">
              <a:ln>
                <a:solidFill>
                  <a:srgbClr val="FFFFFF">
                    <a:alpha val="0"/>
                  </a:srgbClr>
                </a:solidFill>
              </a:ln>
              <a:gradFill>
                <a:gsLst>
                  <a:gs pos="0">
                    <a:srgbClr val="FFFFFF"/>
                  </a:gs>
                  <a:gs pos="100000">
                    <a:srgbClr val="FFFFFF"/>
                  </a:gs>
                </a:gsLst>
                <a:lin ang="5400000" scaled="0"/>
              </a:gradFill>
            </a:endParaRPr>
          </a:p>
        </p:txBody>
      </p:sp>
      <p:sp>
        <p:nvSpPr>
          <p:cNvPr id="61" name="Down Arrow 60"/>
          <p:cNvSpPr/>
          <p:nvPr/>
        </p:nvSpPr>
        <p:spPr bwMode="auto">
          <a:xfrm rot="16200000">
            <a:off x="2462285" y="2361916"/>
            <a:ext cx="212311" cy="257435"/>
          </a:xfrm>
          <a:prstGeom prst="downArrow">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2" rIns="0" bIns="34282" numCol="1" rtlCol="0" anchor="ctr" anchorCtr="0" compatLnSpc="1">
            <a:prstTxWarp prst="textNoShape">
              <a:avLst/>
            </a:prstTxWarp>
          </a:bodyPr>
          <a:lstStyle/>
          <a:p>
            <a:pPr algn="ctr" defTabSz="685470" fontAlgn="base">
              <a:spcBef>
                <a:spcPct val="0"/>
              </a:spcBef>
              <a:spcAft>
                <a:spcPct val="0"/>
              </a:spcAft>
            </a:pPr>
            <a:endParaRPr lang="en-US" sz="1471" dirty="0">
              <a:ln>
                <a:solidFill>
                  <a:srgbClr val="FFFFFF">
                    <a:alpha val="0"/>
                  </a:srgbClr>
                </a:solidFill>
              </a:ln>
              <a:gradFill>
                <a:gsLst>
                  <a:gs pos="0">
                    <a:srgbClr val="FFFFFF"/>
                  </a:gs>
                  <a:gs pos="100000">
                    <a:srgbClr val="FFFFFF"/>
                  </a:gs>
                </a:gsLst>
                <a:lin ang="5400000" scaled="0"/>
              </a:gradFill>
            </a:endParaRPr>
          </a:p>
        </p:txBody>
      </p:sp>
      <p:sp>
        <p:nvSpPr>
          <p:cNvPr id="62" name="TextBox 61"/>
          <p:cNvSpPr txBox="1"/>
          <p:nvPr/>
        </p:nvSpPr>
        <p:spPr>
          <a:xfrm>
            <a:off x="2994280" y="2477722"/>
            <a:ext cx="174564" cy="135743"/>
          </a:xfrm>
          <a:prstGeom prst="rect">
            <a:avLst/>
          </a:prstGeom>
          <a:solidFill>
            <a:schemeClr val="bg1"/>
          </a:solidFill>
        </p:spPr>
        <p:txBody>
          <a:bodyPr wrap="square" lIns="0" tIns="0" rIns="0" bIns="0" rtlCol="0">
            <a:spAutoFit/>
          </a:bodyPr>
          <a:lstStyle/>
          <a:p>
            <a:pPr algn="ctr" defTabSz="815639" fontAlgn="base">
              <a:spcBef>
                <a:spcPct val="0"/>
              </a:spcBef>
              <a:spcAft>
                <a:spcPct val="0"/>
              </a:spcAft>
            </a:pPr>
            <a:r>
              <a:rPr lang="en-US" sz="882" b="1" kern="0" dirty="0">
                <a:ln>
                  <a:solidFill>
                    <a:srgbClr val="FFFFFF">
                      <a:alpha val="0"/>
                    </a:srgbClr>
                  </a:solidFill>
                </a:ln>
                <a:solidFill>
                  <a:srgbClr val="000000"/>
                </a:solidFill>
              </a:rPr>
              <a:t>BI</a:t>
            </a:r>
          </a:p>
        </p:txBody>
      </p:sp>
      <p:sp>
        <p:nvSpPr>
          <p:cNvPr id="64" name="TextBox 63"/>
          <p:cNvSpPr txBox="1"/>
          <p:nvPr/>
        </p:nvSpPr>
        <p:spPr>
          <a:xfrm>
            <a:off x="3023544" y="4113112"/>
            <a:ext cx="174564" cy="135743"/>
          </a:xfrm>
          <a:prstGeom prst="rect">
            <a:avLst/>
          </a:prstGeom>
          <a:solidFill>
            <a:schemeClr val="bg1"/>
          </a:solidFill>
        </p:spPr>
        <p:txBody>
          <a:bodyPr wrap="square" lIns="0" tIns="0" rIns="0" bIns="0" rtlCol="0">
            <a:spAutoFit/>
          </a:bodyPr>
          <a:lstStyle/>
          <a:p>
            <a:pPr algn="ctr" defTabSz="815639" fontAlgn="base">
              <a:spcBef>
                <a:spcPct val="0"/>
              </a:spcBef>
              <a:spcAft>
                <a:spcPct val="0"/>
              </a:spcAft>
            </a:pPr>
            <a:r>
              <a:rPr lang="en-US" sz="882" b="1" kern="0" dirty="0">
                <a:ln>
                  <a:solidFill>
                    <a:srgbClr val="FFFFFF">
                      <a:alpha val="0"/>
                    </a:srgbClr>
                  </a:solidFill>
                </a:ln>
                <a:solidFill>
                  <a:srgbClr val="000000"/>
                </a:solidFill>
              </a:rPr>
              <a:t>BI</a:t>
            </a:r>
          </a:p>
        </p:txBody>
      </p:sp>
      <p:sp>
        <p:nvSpPr>
          <p:cNvPr id="65" name="TextBox 64"/>
          <p:cNvSpPr txBox="1"/>
          <p:nvPr/>
        </p:nvSpPr>
        <p:spPr>
          <a:xfrm>
            <a:off x="4825692" y="2821788"/>
            <a:ext cx="919141" cy="285078"/>
          </a:xfrm>
          <a:prstGeom prst="rect">
            <a:avLst/>
          </a:prstGeom>
          <a:noFill/>
        </p:spPr>
        <p:txBody>
          <a:bodyPr wrap="square" lIns="0" tIns="0" rIns="0" bIns="0" rtlCol="0" anchor="ctr" anchorCtr="0">
            <a:spAutoFit/>
          </a:bodyPr>
          <a:lstStyle/>
          <a:p>
            <a:pPr algn="ctr" defTabSz="815874">
              <a:lnSpc>
                <a:spcPct val="90000"/>
              </a:lnSpc>
            </a:pPr>
            <a:r>
              <a:rPr lang="en-US" sz="1029" dirty="0">
                <a:ln>
                  <a:solidFill>
                    <a:srgbClr val="FFFFFF">
                      <a:alpha val="0"/>
                    </a:srgbClr>
                  </a:solidFill>
                </a:ln>
                <a:gradFill>
                  <a:gsLst>
                    <a:gs pos="33028">
                      <a:srgbClr val="505050"/>
                    </a:gs>
                    <a:gs pos="57000">
                      <a:srgbClr val="505050"/>
                    </a:gs>
                  </a:gsLst>
                </a:gradFill>
              </a:rPr>
              <a:t>Data Sources</a:t>
            </a:r>
          </a:p>
          <a:p>
            <a:pPr algn="ctr" defTabSz="815874">
              <a:lnSpc>
                <a:spcPct val="90000"/>
              </a:lnSpc>
            </a:pPr>
            <a:r>
              <a:rPr lang="en-US" sz="1029" b="1" dirty="0">
                <a:ln>
                  <a:solidFill>
                    <a:srgbClr val="FFFFFF">
                      <a:alpha val="0"/>
                    </a:srgbClr>
                  </a:solidFill>
                </a:ln>
                <a:solidFill>
                  <a:srgbClr val="FF0000"/>
                </a:solidFill>
              </a:rPr>
              <a:t>CALs Required</a:t>
            </a:r>
          </a:p>
        </p:txBody>
      </p:sp>
      <p:sp>
        <p:nvSpPr>
          <p:cNvPr id="66" name="TextBox 65"/>
          <p:cNvSpPr txBox="1"/>
          <p:nvPr/>
        </p:nvSpPr>
        <p:spPr>
          <a:xfrm>
            <a:off x="4866984" y="4343578"/>
            <a:ext cx="965306" cy="427618"/>
          </a:xfrm>
          <a:prstGeom prst="rect">
            <a:avLst/>
          </a:prstGeom>
          <a:noFill/>
        </p:spPr>
        <p:txBody>
          <a:bodyPr wrap="square" lIns="0" tIns="0" rIns="0" bIns="0" rtlCol="0" anchor="ctr" anchorCtr="0">
            <a:spAutoFit/>
          </a:bodyPr>
          <a:lstStyle/>
          <a:p>
            <a:pPr algn="ctr" defTabSz="815874">
              <a:lnSpc>
                <a:spcPct val="90000"/>
              </a:lnSpc>
            </a:pPr>
            <a:r>
              <a:rPr lang="en-US" sz="1029" dirty="0">
                <a:ln>
                  <a:solidFill>
                    <a:srgbClr val="FFFFFF">
                      <a:alpha val="0"/>
                    </a:srgbClr>
                  </a:solidFill>
                </a:ln>
                <a:gradFill>
                  <a:gsLst>
                    <a:gs pos="33028">
                      <a:srgbClr val="505050"/>
                    </a:gs>
                    <a:gs pos="57000">
                      <a:srgbClr val="505050"/>
                    </a:gs>
                  </a:gsLst>
                </a:gradFill>
              </a:rPr>
              <a:t>Data Sources</a:t>
            </a:r>
          </a:p>
          <a:p>
            <a:pPr algn="ctr" defTabSz="815874">
              <a:lnSpc>
                <a:spcPct val="90000"/>
              </a:lnSpc>
            </a:pPr>
            <a:r>
              <a:rPr lang="en-US" sz="1029" b="1" dirty="0">
                <a:ln>
                  <a:solidFill>
                    <a:srgbClr val="FFFFFF">
                      <a:alpha val="0"/>
                    </a:srgbClr>
                  </a:solidFill>
                </a:ln>
                <a:solidFill>
                  <a:srgbClr val="00B050"/>
                </a:solidFill>
              </a:rPr>
              <a:t>No CAL Required</a:t>
            </a:r>
          </a:p>
        </p:txBody>
      </p:sp>
      <p:sp>
        <p:nvSpPr>
          <p:cNvPr id="67" name="TextBox 66"/>
          <p:cNvSpPr txBox="1"/>
          <p:nvPr/>
        </p:nvSpPr>
        <p:spPr>
          <a:xfrm>
            <a:off x="3851449" y="2824676"/>
            <a:ext cx="919141" cy="285078"/>
          </a:xfrm>
          <a:prstGeom prst="rect">
            <a:avLst/>
          </a:prstGeom>
          <a:noFill/>
        </p:spPr>
        <p:txBody>
          <a:bodyPr wrap="square" lIns="0" tIns="0" rIns="0" bIns="0" rtlCol="0" anchor="ctr" anchorCtr="0">
            <a:spAutoFit/>
          </a:bodyPr>
          <a:lstStyle/>
          <a:p>
            <a:pPr algn="ctr" defTabSz="815874">
              <a:lnSpc>
                <a:spcPct val="90000"/>
              </a:lnSpc>
            </a:pPr>
            <a:r>
              <a:rPr lang="en-US" sz="1029" dirty="0">
                <a:ln>
                  <a:solidFill>
                    <a:srgbClr val="FFFFFF">
                      <a:alpha val="0"/>
                    </a:srgbClr>
                  </a:solidFill>
                </a:ln>
                <a:gradFill>
                  <a:gsLst>
                    <a:gs pos="33028">
                      <a:srgbClr val="505050"/>
                    </a:gs>
                    <a:gs pos="57000">
                      <a:srgbClr val="505050"/>
                    </a:gs>
                  </a:gsLst>
                </a:gradFill>
              </a:rPr>
              <a:t>Data Collection</a:t>
            </a:r>
          </a:p>
          <a:p>
            <a:pPr algn="ctr" defTabSz="815874">
              <a:lnSpc>
                <a:spcPct val="90000"/>
              </a:lnSpc>
            </a:pPr>
            <a:r>
              <a:rPr lang="en-US" sz="1029" b="1" dirty="0">
                <a:ln>
                  <a:solidFill>
                    <a:srgbClr val="FFFFFF">
                      <a:alpha val="0"/>
                    </a:srgbClr>
                  </a:solidFill>
                </a:ln>
                <a:solidFill>
                  <a:srgbClr val="FF0000"/>
                </a:solidFill>
              </a:rPr>
              <a:t>CAL Required</a:t>
            </a:r>
          </a:p>
        </p:txBody>
      </p:sp>
      <p:sp>
        <p:nvSpPr>
          <p:cNvPr id="68" name="Down Arrow 67"/>
          <p:cNvSpPr/>
          <p:nvPr/>
        </p:nvSpPr>
        <p:spPr bwMode="auto">
          <a:xfrm rot="5400000">
            <a:off x="3502613" y="3733972"/>
            <a:ext cx="349553" cy="668715"/>
          </a:xfrm>
          <a:prstGeom prst="downArrow">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34282" rIns="0" bIns="34282" numCol="1" rtlCol="0" anchor="ctr" anchorCtr="0" compatLnSpc="1">
            <a:prstTxWarp prst="textNoShape">
              <a:avLst/>
            </a:prstTxWarp>
          </a:bodyPr>
          <a:lstStyle/>
          <a:p>
            <a:pPr algn="ctr" defTabSz="685470" fontAlgn="base">
              <a:spcBef>
                <a:spcPct val="0"/>
              </a:spcBef>
              <a:spcAft>
                <a:spcPct val="0"/>
              </a:spcAft>
            </a:pPr>
            <a:r>
              <a:rPr lang="en-US" sz="735" b="1" dirty="0">
                <a:ln>
                  <a:solidFill>
                    <a:srgbClr val="FFFFFF">
                      <a:alpha val="0"/>
                    </a:srgbClr>
                  </a:solidFill>
                </a:ln>
                <a:gradFill flip="none" rotWithShape="1">
                  <a:gsLst>
                    <a:gs pos="0">
                      <a:srgbClr val="FFFFFF"/>
                    </a:gs>
                    <a:gs pos="100000">
                      <a:srgbClr val="FFFFFF"/>
                    </a:gs>
                  </a:gsLst>
                  <a:lin ang="8100000" scaled="1"/>
                  <a:tileRect/>
                </a:gradFill>
              </a:rPr>
              <a:t>Batch</a:t>
            </a:r>
            <a:endParaRPr lang="en-US" sz="1471" b="1" dirty="0">
              <a:ln>
                <a:solidFill>
                  <a:srgbClr val="FFFFFF">
                    <a:alpha val="0"/>
                  </a:srgbClr>
                </a:solidFill>
              </a:ln>
              <a:gradFill flip="none" rotWithShape="1">
                <a:gsLst>
                  <a:gs pos="0">
                    <a:srgbClr val="FFFFFF"/>
                  </a:gs>
                  <a:gs pos="100000">
                    <a:srgbClr val="FFFFFF"/>
                  </a:gs>
                </a:gsLst>
                <a:lin ang="8100000" scaled="1"/>
                <a:tileRect/>
              </a:gradFill>
            </a:endParaRPr>
          </a:p>
        </p:txBody>
      </p:sp>
      <p:sp>
        <p:nvSpPr>
          <p:cNvPr id="69" name="Down Arrow 68"/>
          <p:cNvSpPr/>
          <p:nvPr/>
        </p:nvSpPr>
        <p:spPr bwMode="auto">
          <a:xfrm rot="5400000">
            <a:off x="4640737" y="3889436"/>
            <a:ext cx="288417" cy="375551"/>
          </a:xfrm>
          <a:prstGeom prst="downArrow">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34282" rIns="0" bIns="34282" numCol="1" rtlCol="0" anchor="ctr" anchorCtr="0" compatLnSpc="1">
            <a:prstTxWarp prst="textNoShape">
              <a:avLst/>
            </a:prstTxWarp>
          </a:bodyPr>
          <a:lstStyle/>
          <a:p>
            <a:pPr algn="ctr" defTabSz="685470" fontAlgn="base">
              <a:spcBef>
                <a:spcPct val="0"/>
              </a:spcBef>
              <a:spcAft>
                <a:spcPct val="0"/>
              </a:spcAft>
            </a:pPr>
            <a:r>
              <a:rPr lang="en-US" sz="735" b="1" dirty="0">
                <a:ln>
                  <a:solidFill>
                    <a:srgbClr val="FFFFFF">
                      <a:alpha val="0"/>
                    </a:srgbClr>
                  </a:solidFill>
                </a:ln>
                <a:gradFill flip="none" rotWithShape="1">
                  <a:gsLst>
                    <a:gs pos="0">
                      <a:srgbClr val="FFFFFF"/>
                    </a:gs>
                    <a:gs pos="100000">
                      <a:srgbClr val="FFFFFF"/>
                    </a:gs>
                  </a:gsLst>
                  <a:lin ang="8100000" scaled="1"/>
                  <a:tileRect/>
                </a:gradFill>
              </a:rPr>
              <a:t>Pool</a:t>
            </a:r>
          </a:p>
        </p:txBody>
      </p:sp>
      <p:sp>
        <p:nvSpPr>
          <p:cNvPr id="70" name="TextBox 69"/>
          <p:cNvSpPr txBox="1"/>
          <p:nvPr/>
        </p:nvSpPr>
        <p:spPr>
          <a:xfrm>
            <a:off x="3786556" y="4399873"/>
            <a:ext cx="1006166" cy="427618"/>
          </a:xfrm>
          <a:prstGeom prst="rect">
            <a:avLst/>
          </a:prstGeom>
          <a:noFill/>
        </p:spPr>
        <p:txBody>
          <a:bodyPr wrap="square" lIns="0" tIns="0" rIns="0" bIns="0" rtlCol="0" anchor="ctr" anchorCtr="0">
            <a:spAutoFit/>
          </a:bodyPr>
          <a:lstStyle/>
          <a:p>
            <a:pPr algn="ctr" defTabSz="815874">
              <a:lnSpc>
                <a:spcPct val="90000"/>
              </a:lnSpc>
            </a:pPr>
            <a:r>
              <a:rPr lang="en-US" sz="1029" dirty="0">
                <a:ln>
                  <a:solidFill>
                    <a:srgbClr val="FFFFFF">
                      <a:alpha val="0"/>
                    </a:srgbClr>
                  </a:solidFill>
                </a:ln>
                <a:gradFill>
                  <a:gsLst>
                    <a:gs pos="33028">
                      <a:srgbClr val="505050"/>
                    </a:gs>
                    <a:gs pos="57000">
                      <a:srgbClr val="505050"/>
                    </a:gs>
                  </a:gsLst>
                </a:gradFill>
              </a:rPr>
              <a:t>Data Collection</a:t>
            </a:r>
          </a:p>
          <a:p>
            <a:pPr algn="ctr" defTabSz="815874">
              <a:lnSpc>
                <a:spcPct val="90000"/>
              </a:lnSpc>
            </a:pPr>
            <a:r>
              <a:rPr lang="en-US" sz="1029" b="1" dirty="0">
                <a:ln>
                  <a:solidFill>
                    <a:srgbClr val="FFFFFF">
                      <a:alpha val="0"/>
                    </a:srgbClr>
                  </a:solidFill>
                </a:ln>
                <a:solidFill>
                  <a:srgbClr val="00B050"/>
                </a:solidFill>
              </a:rPr>
              <a:t>No CAL Required</a:t>
            </a:r>
          </a:p>
        </p:txBody>
      </p:sp>
      <p:sp>
        <p:nvSpPr>
          <p:cNvPr id="71" name="TextBox 70"/>
          <p:cNvSpPr txBox="1"/>
          <p:nvPr/>
        </p:nvSpPr>
        <p:spPr>
          <a:xfrm>
            <a:off x="1749589" y="2802988"/>
            <a:ext cx="919141" cy="285078"/>
          </a:xfrm>
          <a:prstGeom prst="rect">
            <a:avLst/>
          </a:prstGeom>
          <a:noFill/>
        </p:spPr>
        <p:txBody>
          <a:bodyPr wrap="square" lIns="0" tIns="0" rIns="0" bIns="0" rtlCol="0" anchor="ctr" anchorCtr="0">
            <a:spAutoFit/>
          </a:bodyPr>
          <a:lstStyle/>
          <a:p>
            <a:pPr algn="ctr" defTabSz="815874">
              <a:lnSpc>
                <a:spcPct val="90000"/>
              </a:lnSpc>
            </a:pPr>
            <a:r>
              <a:rPr lang="en-US" sz="1029" dirty="0">
                <a:ln>
                  <a:solidFill>
                    <a:srgbClr val="FFFFFF">
                      <a:alpha val="0"/>
                    </a:srgbClr>
                  </a:solidFill>
                </a:ln>
                <a:gradFill>
                  <a:gsLst>
                    <a:gs pos="33028">
                      <a:srgbClr val="505050"/>
                    </a:gs>
                    <a:gs pos="57000">
                      <a:srgbClr val="505050"/>
                    </a:gs>
                  </a:gsLst>
                </a:gradFill>
              </a:rPr>
              <a:t>Users</a:t>
            </a:r>
          </a:p>
          <a:p>
            <a:pPr algn="ctr" defTabSz="815874">
              <a:lnSpc>
                <a:spcPct val="90000"/>
              </a:lnSpc>
            </a:pPr>
            <a:r>
              <a:rPr lang="en-US" sz="1029" b="1" dirty="0">
                <a:ln>
                  <a:solidFill>
                    <a:srgbClr val="FFFFFF">
                      <a:alpha val="0"/>
                    </a:srgbClr>
                  </a:solidFill>
                </a:ln>
                <a:solidFill>
                  <a:srgbClr val="FF0000"/>
                </a:solidFill>
              </a:rPr>
              <a:t>CALs Required</a:t>
            </a:r>
          </a:p>
        </p:txBody>
      </p:sp>
      <p:sp>
        <p:nvSpPr>
          <p:cNvPr id="72" name="TextBox 71"/>
          <p:cNvSpPr txBox="1"/>
          <p:nvPr/>
        </p:nvSpPr>
        <p:spPr>
          <a:xfrm>
            <a:off x="1717058" y="4385296"/>
            <a:ext cx="919141" cy="285078"/>
          </a:xfrm>
          <a:prstGeom prst="rect">
            <a:avLst/>
          </a:prstGeom>
          <a:noFill/>
        </p:spPr>
        <p:txBody>
          <a:bodyPr wrap="square" lIns="0" tIns="0" rIns="0" bIns="0" rtlCol="0" anchor="ctr" anchorCtr="0">
            <a:spAutoFit/>
          </a:bodyPr>
          <a:lstStyle/>
          <a:p>
            <a:pPr algn="ctr" defTabSz="815874">
              <a:lnSpc>
                <a:spcPct val="90000"/>
              </a:lnSpc>
            </a:pPr>
            <a:r>
              <a:rPr lang="en-US" sz="1029" dirty="0">
                <a:ln>
                  <a:solidFill>
                    <a:srgbClr val="FFFFFF">
                      <a:alpha val="0"/>
                    </a:srgbClr>
                  </a:solidFill>
                </a:ln>
                <a:gradFill>
                  <a:gsLst>
                    <a:gs pos="33028">
                      <a:srgbClr val="505050"/>
                    </a:gs>
                    <a:gs pos="57000">
                      <a:srgbClr val="505050"/>
                    </a:gs>
                  </a:gsLst>
                </a:gradFill>
              </a:rPr>
              <a:t>Users</a:t>
            </a:r>
          </a:p>
          <a:p>
            <a:pPr algn="ctr" defTabSz="815874">
              <a:lnSpc>
                <a:spcPct val="90000"/>
              </a:lnSpc>
            </a:pPr>
            <a:r>
              <a:rPr lang="en-US" sz="1029" b="1" dirty="0">
                <a:ln>
                  <a:solidFill>
                    <a:srgbClr val="FFFFFF">
                      <a:alpha val="0"/>
                    </a:srgbClr>
                  </a:solidFill>
                </a:ln>
                <a:solidFill>
                  <a:srgbClr val="FF0000"/>
                </a:solidFill>
              </a:rPr>
              <a:t>CAL Required</a:t>
            </a:r>
          </a:p>
        </p:txBody>
      </p:sp>
      <p:sp>
        <p:nvSpPr>
          <p:cNvPr id="74" name="Rectangle 73"/>
          <p:cNvSpPr/>
          <p:nvPr/>
        </p:nvSpPr>
        <p:spPr bwMode="auto">
          <a:xfrm>
            <a:off x="988585" y="4843114"/>
            <a:ext cx="6644869" cy="100740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5" tIns="67232" rIns="67225" bIns="67232" numCol="1" spcCol="0" rtlCol="0" fromWordArt="0" anchor="ctr" anchorCtr="0" forceAA="0" compatLnSpc="1">
            <a:prstTxWarp prst="textNoShape">
              <a:avLst/>
            </a:prstTxWarp>
            <a:noAutofit/>
          </a:bodyPr>
          <a:lstStyle/>
          <a:p>
            <a:pPr defTabSz="685397" fontAlgn="base">
              <a:lnSpc>
                <a:spcPct val="90000"/>
              </a:lnSpc>
              <a:spcBef>
                <a:spcPct val="0"/>
              </a:spcBef>
              <a:spcAft>
                <a:spcPct val="0"/>
              </a:spcAft>
            </a:pPr>
            <a:r>
              <a:rPr lang="zh-TW" altLang="en-US" sz="1471" dirty="0">
                <a:ln>
                  <a:solidFill>
                    <a:srgbClr val="FFFFFF">
                      <a:alpha val="0"/>
                    </a:srgbClr>
                  </a:solidFill>
                </a:ln>
                <a:gradFill>
                  <a:gsLst>
                    <a:gs pos="30275">
                      <a:srgbClr val="FFFFFF"/>
                    </a:gs>
                    <a:gs pos="55000">
                      <a:srgbClr val="FFFFFF"/>
                    </a:gs>
                  </a:gsLst>
                  <a:lin ang="0" scaled="0"/>
                </a:gradFill>
                <a:ea typeface="Segoe UI" pitchFamily="34" charset="0"/>
                <a:cs typeface="Segoe UI" pitchFamily="34" charset="0"/>
              </a:rPr>
              <a:t>重點</a:t>
            </a:r>
            <a:endParaRPr lang="en-US" altLang="zh-TW" sz="1471" dirty="0">
              <a:ln>
                <a:solidFill>
                  <a:srgbClr val="FFFFFF">
                    <a:alpha val="0"/>
                  </a:srgbClr>
                </a:solidFill>
              </a:ln>
              <a:gradFill>
                <a:gsLst>
                  <a:gs pos="30275">
                    <a:srgbClr val="FFFFFF"/>
                  </a:gs>
                  <a:gs pos="55000">
                    <a:srgbClr val="FFFFFF"/>
                  </a:gs>
                </a:gsLst>
                <a:lin ang="0" scaled="0"/>
              </a:gradFill>
              <a:ea typeface="Segoe UI" pitchFamily="34" charset="0"/>
              <a:cs typeface="Segoe UI" pitchFamily="34" charset="0"/>
            </a:endParaRPr>
          </a:p>
          <a:p>
            <a:pPr marL="252134" indent="-252134" defTabSz="685397" fontAlgn="base">
              <a:lnSpc>
                <a:spcPct val="90000"/>
              </a:lnSpc>
              <a:spcBef>
                <a:spcPct val="0"/>
              </a:spcBef>
              <a:spcAft>
                <a:spcPct val="0"/>
              </a:spcAft>
              <a:buFont typeface="+mj-lt"/>
              <a:buAutoNum type="arabicPeriod"/>
            </a:pPr>
            <a:r>
              <a:rPr lang="zh-TW" altLang="en-US" sz="1471" dirty="0">
                <a:ln>
                  <a:solidFill>
                    <a:srgbClr val="FFFFFF">
                      <a:alpha val="0"/>
                    </a:srgbClr>
                  </a:solidFill>
                </a:ln>
                <a:gradFill>
                  <a:gsLst>
                    <a:gs pos="30275">
                      <a:srgbClr val="FFFFFF"/>
                    </a:gs>
                    <a:gs pos="55000">
                      <a:srgbClr val="FFFFFF"/>
                    </a:gs>
                  </a:gsLst>
                  <a:lin ang="0" scaled="0"/>
                </a:gradFill>
                <a:ea typeface="Segoe UI" pitchFamily="34" charset="0"/>
                <a:cs typeface="Segoe UI" pitchFamily="34" charset="0"/>
              </a:rPr>
              <a:t>透過 </a:t>
            </a:r>
            <a:r>
              <a:rPr lang="en-US" altLang="zh-TW" sz="1471" dirty="0">
                <a:ln>
                  <a:solidFill>
                    <a:srgbClr val="FFFFFF">
                      <a:alpha val="0"/>
                    </a:srgbClr>
                  </a:solidFill>
                </a:ln>
                <a:gradFill>
                  <a:gsLst>
                    <a:gs pos="30275">
                      <a:srgbClr val="FFFFFF"/>
                    </a:gs>
                    <a:gs pos="55000">
                      <a:srgbClr val="FFFFFF"/>
                    </a:gs>
                  </a:gsLst>
                  <a:lin ang="0" scaled="0"/>
                </a:gradFill>
                <a:ea typeface="Segoe UI" pitchFamily="34" charset="0"/>
                <a:cs typeface="Segoe UI" pitchFamily="34" charset="0"/>
              </a:rPr>
              <a:t>pool </a:t>
            </a:r>
            <a:r>
              <a:rPr lang="zh-TW" altLang="en-US" sz="1471" dirty="0">
                <a:ln>
                  <a:solidFill>
                    <a:srgbClr val="FFFFFF">
                      <a:alpha val="0"/>
                    </a:srgbClr>
                  </a:solidFill>
                </a:ln>
                <a:gradFill>
                  <a:gsLst>
                    <a:gs pos="30275">
                      <a:srgbClr val="FFFFFF"/>
                    </a:gs>
                    <a:gs pos="55000">
                      <a:srgbClr val="FFFFFF"/>
                    </a:gs>
                  </a:gsLst>
                  <a:lin ang="0" scaled="0"/>
                </a:gradFill>
                <a:ea typeface="Segoe UI" pitchFamily="34" charset="0"/>
                <a:cs typeface="Segoe UI" pitchFamily="34" charset="0"/>
              </a:rPr>
              <a:t>或 </a:t>
            </a:r>
            <a:r>
              <a:rPr lang="en-US" altLang="zh-TW" sz="1471" dirty="0">
                <a:ln>
                  <a:solidFill>
                    <a:srgbClr val="FFFFFF">
                      <a:alpha val="0"/>
                    </a:srgbClr>
                  </a:solidFill>
                </a:ln>
                <a:gradFill>
                  <a:gsLst>
                    <a:gs pos="30275">
                      <a:srgbClr val="FFFFFF"/>
                    </a:gs>
                    <a:gs pos="55000">
                      <a:srgbClr val="FFFFFF"/>
                    </a:gs>
                  </a:gsLst>
                  <a:lin ang="0" scaled="0"/>
                </a:gradFill>
                <a:ea typeface="Segoe UI" pitchFamily="34" charset="0"/>
                <a:cs typeface="Segoe UI" pitchFamily="34" charset="0"/>
              </a:rPr>
              <a:t>batch </a:t>
            </a:r>
            <a:r>
              <a:rPr lang="zh-TW" altLang="en-US" sz="1471" dirty="0">
                <a:ln>
                  <a:solidFill>
                    <a:srgbClr val="FFFFFF">
                      <a:alpha val="0"/>
                    </a:srgbClr>
                  </a:solidFill>
                </a:ln>
                <a:gradFill>
                  <a:gsLst>
                    <a:gs pos="30275">
                      <a:srgbClr val="FFFFFF"/>
                    </a:gs>
                    <a:gs pos="55000">
                      <a:srgbClr val="FFFFFF"/>
                    </a:gs>
                  </a:gsLst>
                  <a:lin ang="0" scaled="0"/>
                </a:gradFill>
                <a:ea typeface="Segoe UI" pitchFamily="34" charset="0"/>
                <a:cs typeface="Segoe UI" pitchFamily="34" charset="0"/>
              </a:rPr>
              <a:t>方式倒資料進 </a:t>
            </a:r>
            <a:r>
              <a:rPr lang="en-US" altLang="zh-TW" sz="1471" dirty="0">
                <a:ln>
                  <a:solidFill>
                    <a:srgbClr val="FFFFFF">
                      <a:alpha val="0"/>
                    </a:srgbClr>
                  </a:solidFill>
                </a:ln>
                <a:gradFill>
                  <a:gsLst>
                    <a:gs pos="30275">
                      <a:srgbClr val="FFFFFF"/>
                    </a:gs>
                    <a:gs pos="55000">
                      <a:srgbClr val="FFFFFF"/>
                    </a:gs>
                  </a:gsLst>
                  <a:lin ang="0" scaled="0"/>
                </a:gradFill>
                <a:ea typeface="Segoe UI" pitchFamily="34" charset="0"/>
                <a:cs typeface="Segoe UI" pitchFamily="34" charset="0"/>
              </a:rPr>
              <a:t>BI</a:t>
            </a:r>
            <a:r>
              <a:rPr lang="zh-TW" altLang="en-US" sz="1471" dirty="0">
                <a:ln>
                  <a:solidFill>
                    <a:srgbClr val="FFFFFF">
                      <a:alpha val="0"/>
                    </a:srgbClr>
                  </a:solidFill>
                </a:ln>
                <a:gradFill>
                  <a:gsLst>
                    <a:gs pos="30275">
                      <a:srgbClr val="FFFFFF"/>
                    </a:gs>
                    <a:gs pos="55000">
                      <a:srgbClr val="FFFFFF"/>
                    </a:gs>
                  </a:gsLst>
                  <a:lin ang="0" scaled="0"/>
                </a:gradFill>
                <a:ea typeface="Segoe UI" pitchFamily="34" charset="0"/>
                <a:cs typeface="Segoe UI" pitchFamily="34" charset="0"/>
              </a:rPr>
              <a:t> </a:t>
            </a:r>
            <a:r>
              <a:rPr lang="en-US" altLang="zh-TW" sz="1471" dirty="0">
                <a:ln>
                  <a:solidFill>
                    <a:srgbClr val="FFFFFF">
                      <a:alpha val="0"/>
                    </a:srgbClr>
                  </a:solidFill>
                </a:ln>
                <a:gradFill>
                  <a:gsLst>
                    <a:gs pos="30275">
                      <a:srgbClr val="FFFFFF"/>
                    </a:gs>
                    <a:gs pos="55000">
                      <a:srgbClr val="FFFFFF"/>
                    </a:gs>
                  </a:gsLst>
                  <a:lin ang="0" scaled="0"/>
                </a:gradFill>
                <a:ea typeface="Segoe UI" pitchFamily="34" charset="0"/>
                <a:cs typeface="Segoe UI" pitchFamily="34" charset="0"/>
              </a:rPr>
              <a:t>Server </a:t>
            </a:r>
            <a:r>
              <a:rPr lang="zh-TW" altLang="en-US" sz="1471" dirty="0">
                <a:ln>
                  <a:solidFill>
                    <a:srgbClr val="FFFFFF">
                      <a:alpha val="0"/>
                    </a:srgbClr>
                  </a:solidFill>
                </a:ln>
                <a:gradFill>
                  <a:gsLst>
                    <a:gs pos="30275">
                      <a:srgbClr val="FFFFFF"/>
                    </a:gs>
                    <a:gs pos="55000">
                      <a:srgbClr val="FFFFFF"/>
                    </a:gs>
                  </a:gsLst>
                  <a:lin ang="0" scaled="0"/>
                </a:gradFill>
                <a:ea typeface="Segoe UI" pitchFamily="34" charset="0"/>
                <a:cs typeface="Segoe UI" pitchFamily="34" charset="0"/>
              </a:rPr>
              <a:t>的裝置或使用者不需要 </a:t>
            </a:r>
            <a:r>
              <a:rPr lang="en-US" altLang="zh-TW" sz="1471" dirty="0">
                <a:ln>
                  <a:solidFill>
                    <a:srgbClr val="FFFFFF">
                      <a:alpha val="0"/>
                    </a:srgbClr>
                  </a:solidFill>
                </a:ln>
                <a:gradFill>
                  <a:gsLst>
                    <a:gs pos="30275">
                      <a:srgbClr val="FFFFFF"/>
                    </a:gs>
                    <a:gs pos="55000">
                      <a:srgbClr val="FFFFFF"/>
                    </a:gs>
                  </a:gsLst>
                  <a:lin ang="0" scaled="0"/>
                </a:gradFill>
                <a:ea typeface="Segoe UI" pitchFamily="34" charset="0"/>
                <a:cs typeface="Segoe UI" pitchFamily="34" charset="0"/>
              </a:rPr>
              <a:t>CAL</a:t>
            </a:r>
            <a:endParaRPr lang="en-US" sz="1471" dirty="0">
              <a:ln>
                <a:solidFill>
                  <a:srgbClr val="FFFFFF">
                    <a:alpha val="0"/>
                  </a:srgbClr>
                </a:solidFill>
              </a:ln>
              <a:gradFill>
                <a:gsLst>
                  <a:gs pos="30275">
                    <a:srgbClr val="FFFFFF"/>
                  </a:gs>
                  <a:gs pos="55000">
                    <a:srgbClr val="FFFFFF"/>
                  </a:gs>
                </a:gsLst>
                <a:lin ang="0" scaled="0"/>
              </a:gradFill>
              <a:ea typeface="Segoe UI" pitchFamily="34" charset="0"/>
              <a:cs typeface="Segoe UI" pitchFamily="34" charset="0"/>
            </a:endParaRPr>
          </a:p>
        </p:txBody>
      </p:sp>
    </p:spTree>
    <p:extLst>
      <p:ext uri="{BB962C8B-B14F-4D97-AF65-F5344CB8AC3E}">
        <p14:creationId xmlns:p14="http://schemas.microsoft.com/office/powerpoint/2010/main" val="1855392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45"/>
                                        </p:tgtEl>
                                        <p:attrNameLst>
                                          <p:attrName>style.visibility</p:attrName>
                                        </p:attrNameLst>
                                      </p:cBhvr>
                                      <p:to>
                                        <p:strVal val="visible"/>
                                      </p:to>
                                    </p:set>
                                    <p:animEffect transition="in" filter="fade">
                                      <p:cBhvr>
                                        <p:cTn id="17" dur="1000"/>
                                        <p:tgtEl>
                                          <p:spTgt spid="45"/>
                                        </p:tgtEl>
                                      </p:cBhvr>
                                    </p:animEffect>
                                    <p:anim calcmode="lin" valueType="num">
                                      <p:cBhvr>
                                        <p:cTn id="18" dur="1000" fill="hold"/>
                                        <p:tgtEl>
                                          <p:spTgt spid="45"/>
                                        </p:tgtEl>
                                        <p:attrNameLst>
                                          <p:attrName>ppt_x</p:attrName>
                                        </p:attrNameLst>
                                      </p:cBhvr>
                                      <p:tavLst>
                                        <p:tav tm="0">
                                          <p:val>
                                            <p:strVal val="#ppt_x"/>
                                          </p:val>
                                        </p:tav>
                                        <p:tav tm="100000">
                                          <p:val>
                                            <p:strVal val="#ppt_x"/>
                                          </p:val>
                                        </p:tav>
                                      </p:tavLst>
                                    </p:anim>
                                    <p:anim calcmode="lin" valueType="num">
                                      <p:cBhvr>
                                        <p:cTn id="19" dur="1000" fill="hold"/>
                                        <p:tgtEl>
                                          <p:spTgt spid="45"/>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47"/>
                                        </p:tgtEl>
                                        <p:attrNameLst>
                                          <p:attrName>style.visibility</p:attrName>
                                        </p:attrNameLst>
                                      </p:cBhvr>
                                      <p:to>
                                        <p:strVal val="visible"/>
                                      </p:to>
                                    </p:set>
                                    <p:animEffect transition="in" filter="fade">
                                      <p:cBhvr>
                                        <p:cTn id="22" dur="1000"/>
                                        <p:tgtEl>
                                          <p:spTgt spid="47"/>
                                        </p:tgtEl>
                                      </p:cBhvr>
                                    </p:animEffect>
                                    <p:anim calcmode="lin" valueType="num">
                                      <p:cBhvr>
                                        <p:cTn id="23" dur="1000" fill="hold"/>
                                        <p:tgtEl>
                                          <p:spTgt spid="47"/>
                                        </p:tgtEl>
                                        <p:attrNameLst>
                                          <p:attrName>ppt_x</p:attrName>
                                        </p:attrNameLst>
                                      </p:cBhvr>
                                      <p:tavLst>
                                        <p:tav tm="0">
                                          <p:val>
                                            <p:strVal val="#ppt_x"/>
                                          </p:val>
                                        </p:tav>
                                        <p:tav tm="100000">
                                          <p:val>
                                            <p:strVal val="#ppt_x"/>
                                          </p:val>
                                        </p:tav>
                                      </p:tavLst>
                                    </p:anim>
                                    <p:anim calcmode="lin" valueType="num">
                                      <p:cBhvr>
                                        <p:cTn id="24" dur="1000" fill="hold"/>
                                        <p:tgtEl>
                                          <p:spTgt spid="47"/>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59"/>
                                        </p:tgtEl>
                                        <p:attrNameLst>
                                          <p:attrName>style.visibility</p:attrName>
                                        </p:attrNameLst>
                                      </p:cBhvr>
                                      <p:to>
                                        <p:strVal val="visible"/>
                                      </p:to>
                                    </p:set>
                                    <p:animEffect transition="in" filter="fade">
                                      <p:cBhvr>
                                        <p:cTn id="27" dur="1000"/>
                                        <p:tgtEl>
                                          <p:spTgt spid="59"/>
                                        </p:tgtEl>
                                      </p:cBhvr>
                                    </p:animEffect>
                                    <p:anim calcmode="lin" valueType="num">
                                      <p:cBhvr>
                                        <p:cTn id="28" dur="1000" fill="hold"/>
                                        <p:tgtEl>
                                          <p:spTgt spid="59"/>
                                        </p:tgtEl>
                                        <p:attrNameLst>
                                          <p:attrName>ppt_x</p:attrName>
                                        </p:attrNameLst>
                                      </p:cBhvr>
                                      <p:tavLst>
                                        <p:tav tm="0">
                                          <p:val>
                                            <p:strVal val="#ppt_x"/>
                                          </p:val>
                                        </p:tav>
                                        <p:tav tm="100000">
                                          <p:val>
                                            <p:strVal val="#ppt_x"/>
                                          </p:val>
                                        </p:tav>
                                      </p:tavLst>
                                    </p:anim>
                                    <p:anim calcmode="lin" valueType="num">
                                      <p:cBhvr>
                                        <p:cTn id="29" dur="1000" fill="hold"/>
                                        <p:tgtEl>
                                          <p:spTgt spid="59"/>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1000"/>
                                        <p:tgtEl>
                                          <p:spTgt spid="23"/>
                                        </p:tgtEl>
                                      </p:cBhvr>
                                    </p:animEffect>
                                    <p:anim calcmode="lin" valueType="num">
                                      <p:cBhvr>
                                        <p:cTn id="33" dur="1000" fill="hold"/>
                                        <p:tgtEl>
                                          <p:spTgt spid="23"/>
                                        </p:tgtEl>
                                        <p:attrNameLst>
                                          <p:attrName>ppt_x</p:attrName>
                                        </p:attrNameLst>
                                      </p:cBhvr>
                                      <p:tavLst>
                                        <p:tav tm="0">
                                          <p:val>
                                            <p:strVal val="#ppt_x"/>
                                          </p:val>
                                        </p:tav>
                                        <p:tav tm="100000">
                                          <p:val>
                                            <p:strVal val="#ppt_x"/>
                                          </p:val>
                                        </p:tav>
                                      </p:tavLst>
                                    </p:anim>
                                    <p:anim calcmode="lin" valueType="num">
                                      <p:cBhvr>
                                        <p:cTn id="34" dur="1000" fill="hold"/>
                                        <p:tgtEl>
                                          <p:spTgt spid="23"/>
                                        </p:tgtEl>
                                        <p:attrNameLst>
                                          <p:attrName>ppt_y</p:attrName>
                                        </p:attrNameLst>
                                      </p:cBhvr>
                                      <p:tavLst>
                                        <p:tav tm="0">
                                          <p:val>
                                            <p:strVal val="#ppt_y+.1"/>
                                          </p:val>
                                        </p:tav>
                                        <p:tav tm="100000">
                                          <p:val>
                                            <p:strVal val="#ppt_y"/>
                                          </p:val>
                                        </p:tav>
                                      </p:tavLst>
                                    </p:anim>
                                  </p:childTnLst>
                                </p:cTn>
                              </p:par>
                              <p:par>
                                <p:cTn id="35" presetID="42" presetClass="entr" presetSubtype="0" fill="hold" nodeType="with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1000"/>
                                        <p:tgtEl>
                                          <p:spTgt spid="5"/>
                                        </p:tgtEl>
                                      </p:cBhvr>
                                    </p:animEffect>
                                    <p:anim calcmode="lin" valueType="num">
                                      <p:cBhvr>
                                        <p:cTn id="38" dur="1000" fill="hold"/>
                                        <p:tgtEl>
                                          <p:spTgt spid="5"/>
                                        </p:tgtEl>
                                        <p:attrNameLst>
                                          <p:attrName>ppt_x</p:attrName>
                                        </p:attrNameLst>
                                      </p:cBhvr>
                                      <p:tavLst>
                                        <p:tav tm="0">
                                          <p:val>
                                            <p:strVal val="#ppt_x"/>
                                          </p:val>
                                        </p:tav>
                                        <p:tav tm="100000">
                                          <p:val>
                                            <p:strVal val="#ppt_x"/>
                                          </p:val>
                                        </p:tav>
                                      </p:tavLst>
                                    </p:anim>
                                    <p:anim calcmode="lin" valueType="num">
                                      <p:cBhvr>
                                        <p:cTn id="39" dur="1000" fill="hold"/>
                                        <p:tgtEl>
                                          <p:spTgt spid="5"/>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0"/>
                                  </p:stCondLst>
                                  <p:childTnLst>
                                    <p:set>
                                      <p:cBhvr>
                                        <p:cTn id="41" dur="1" fill="hold">
                                          <p:stCondLst>
                                            <p:cond delay="0"/>
                                          </p:stCondLst>
                                        </p:cTn>
                                        <p:tgtEl>
                                          <p:spTgt spid="8"/>
                                        </p:tgtEl>
                                        <p:attrNameLst>
                                          <p:attrName>style.visibility</p:attrName>
                                        </p:attrNameLst>
                                      </p:cBhvr>
                                      <p:to>
                                        <p:strVal val="visible"/>
                                      </p:to>
                                    </p:set>
                                    <p:animEffect transition="in" filter="fade">
                                      <p:cBhvr>
                                        <p:cTn id="42" dur="1000"/>
                                        <p:tgtEl>
                                          <p:spTgt spid="8"/>
                                        </p:tgtEl>
                                      </p:cBhvr>
                                    </p:animEffect>
                                    <p:anim calcmode="lin" valueType="num">
                                      <p:cBhvr>
                                        <p:cTn id="43" dur="1000" fill="hold"/>
                                        <p:tgtEl>
                                          <p:spTgt spid="8"/>
                                        </p:tgtEl>
                                        <p:attrNameLst>
                                          <p:attrName>ppt_x</p:attrName>
                                        </p:attrNameLst>
                                      </p:cBhvr>
                                      <p:tavLst>
                                        <p:tav tm="0">
                                          <p:val>
                                            <p:strVal val="#ppt_x"/>
                                          </p:val>
                                        </p:tav>
                                        <p:tav tm="100000">
                                          <p:val>
                                            <p:strVal val="#ppt_x"/>
                                          </p:val>
                                        </p:tav>
                                      </p:tavLst>
                                    </p:anim>
                                    <p:anim calcmode="lin" valueType="num">
                                      <p:cBhvr>
                                        <p:cTn id="44" dur="1000" fill="hold"/>
                                        <p:tgtEl>
                                          <p:spTgt spid="8"/>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0"/>
                                  </p:stCondLst>
                                  <p:childTnLst>
                                    <p:set>
                                      <p:cBhvr>
                                        <p:cTn id="46" dur="1" fill="hold">
                                          <p:stCondLst>
                                            <p:cond delay="0"/>
                                          </p:stCondLst>
                                        </p:cTn>
                                        <p:tgtEl>
                                          <p:spTgt spid="44"/>
                                        </p:tgtEl>
                                        <p:attrNameLst>
                                          <p:attrName>style.visibility</p:attrName>
                                        </p:attrNameLst>
                                      </p:cBhvr>
                                      <p:to>
                                        <p:strVal val="visible"/>
                                      </p:to>
                                    </p:set>
                                    <p:animEffect transition="in" filter="fade">
                                      <p:cBhvr>
                                        <p:cTn id="47" dur="1000"/>
                                        <p:tgtEl>
                                          <p:spTgt spid="44"/>
                                        </p:tgtEl>
                                      </p:cBhvr>
                                    </p:animEffect>
                                    <p:anim calcmode="lin" valueType="num">
                                      <p:cBhvr>
                                        <p:cTn id="48" dur="1000" fill="hold"/>
                                        <p:tgtEl>
                                          <p:spTgt spid="44"/>
                                        </p:tgtEl>
                                        <p:attrNameLst>
                                          <p:attrName>ppt_x</p:attrName>
                                        </p:attrNameLst>
                                      </p:cBhvr>
                                      <p:tavLst>
                                        <p:tav tm="0">
                                          <p:val>
                                            <p:strVal val="#ppt_x"/>
                                          </p:val>
                                        </p:tav>
                                        <p:tav tm="100000">
                                          <p:val>
                                            <p:strVal val="#ppt_x"/>
                                          </p:val>
                                        </p:tav>
                                      </p:tavLst>
                                    </p:anim>
                                    <p:anim calcmode="lin" valueType="num">
                                      <p:cBhvr>
                                        <p:cTn id="49" dur="1000" fill="hold"/>
                                        <p:tgtEl>
                                          <p:spTgt spid="44"/>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60"/>
                                        </p:tgtEl>
                                        <p:attrNameLst>
                                          <p:attrName>style.visibility</p:attrName>
                                        </p:attrNameLst>
                                      </p:cBhvr>
                                      <p:to>
                                        <p:strVal val="visible"/>
                                      </p:to>
                                    </p:set>
                                    <p:animEffect transition="in" filter="fade">
                                      <p:cBhvr>
                                        <p:cTn id="52" dur="1000"/>
                                        <p:tgtEl>
                                          <p:spTgt spid="60"/>
                                        </p:tgtEl>
                                      </p:cBhvr>
                                    </p:animEffect>
                                    <p:anim calcmode="lin" valueType="num">
                                      <p:cBhvr>
                                        <p:cTn id="53" dur="1000" fill="hold"/>
                                        <p:tgtEl>
                                          <p:spTgt spid="60"/>
                                        </p:tgtEl>
                                        <p:attrNameLst>
                                          <p:attrName>ppt_x</p:attrName>
                                        </p:attrNameLst>
                                      </p:cBhvr>
                                      <p:tavLst>
                                        <p:tav tm="0">
                                          <p:val>
                                            <p:strVal val="#ppt_x"/>
                                          </p:val>
                                        </p:tav>
                                        <p:tav tm="100000">
                                          <p:val>
                                            <p:strVal val="#ppt_x"/>
                                          </p:val>
                                        </p:tav>
                                      </p:tavLst>
                                    </p:anim>
                                    <p:anim calcmode="lin" valueType="num">
                                      <p:cBhvr>
                                        <p:cTn id="54" dur="1000" fill="hold"/>
                                        <p:tgtEl>
                                          <p:spTgt spid="60"/>
                                        </p:tgtEl>
                                        <p:attrNameLst>
                                          <p:attrName>ppt_y</p:attrName>
                                        </p:attrNameLst>
                                      </p:cBhvr>
                                      <p:tavLst>
                                        <p:tav tm="0">
                                          <p:val>
                                            <p:strVal val="#ppt_y+.1"/>
                                          </p:val>
                                        </p:tav>
                                        <p:tav tm="100000">
                                          <p:val>
                                            <p:strVal val="#ppt_y"/>
                                          </p:val>
                                        </p:tav>
                                      </p:tavLst>
                                    </p:anim>
                                  </p:childTnLst>
                                </p:cTn>
                              </p:par>
                              <p:par>
                                <p:cTn id="55" presetID="42" presetClass="entr" presetSubtype="0" fill="hold" grpId="0" nodeType="withEffect">
                                  <p:stCondLst>
                                    <p:cond delay="0"/>
                                  </p:stCondLst>
                                  <p:childTnLst>
                                    <p:set>
                                      <p:cBhvr>
                                        <p:cTn id="56" dur="1" fill="hold">
                                          <p:stCondLst>
                                            <p:cond delay="0"/>
                                          </p:stCondLst>
                                        </p:cTn>
                                        <p:tgtEl>
                                          <p:spTgt spid="61"/>
                                        </p:tgtEl>
                                        <p:attrNameLst>
                                          <p:attrName>style.visibility</p:attrName>
                                        </p:attrNameLst>
                                      </p:cBhvr>
                                      <p:to>
                                        <p:strVal val="visible"/>
                                      </p:to>
                                    </p:set>
                                    <p:animEffect transition="in" filter="fade">
                                      <p:cBhvr>
                                        <p:cTn id="57" dur="1000"/>
                                        <p:tgtEl>
                                          <p:spTgt spid="61"/>
                                        </p:tgtEl>
                                      </p:cBhvr>
                                    </p:animEffect>
                                    <p:anim calcmode="lin" valueType="num">
                                      <p:cBhvr>
                                        <p:cTn id="58" dur="1000" fill="hold"/>
                                        <p:tgtEl>
                                          <p:spTgt spid="61"/>
                                        </p:tgtEl>
                                        <p:attrNameLst>
                                          <p:attrName>ppt_x</p:attrName>
                                        </p:attrNameLst>
                                      </p:cBhvr>
                                      <p:tavLst>
                                        <p:tav tm="0">
                                          <p:val>
                                            <p:strVal val="#ppt_x"/>
                                          </p:val>
                                        </p:tav>
                                        <p:tav tm="100000">
                                          <p:val>
                                            <p:strVal val="#ppt_x"/>
                                          </p:val>
                                        </p:tav>
                                      </p:tavLst>
                                    </p:anim>
                                    <p:anim calcmode="lin" valueType="num">
                                      <p:cBhvr>
                                        <p:cTn id="59" dur="1000" fill="hold"/>
                                        <p:tgtEl>
                                          <p:spTgt spid="61"/>
                                        </p:tgtEl>
                                        <p:attrNameLst>
                                          <p:attrName>ppt_y</p:attrName>
                                        </p:attrNameLst>
                                      </p:cBhvr>
                                      <p:tavLst>
                                        <p:tav tm="0">
                                          <p:val>
                                            <p:strVal val="#ppt_y+.1"/>
                                          </p:val>
                                        </p:tav>
                                        <p:tav tm="100000">
                                          <p:val>
                                            <p:strVal val="#ppt_y"/>
                                          </p:val>
                                        </p:tav>
                                      </p:tavLst>
                                    </p:anim>
                                  </p:childTnLst>
                                </p:cTn>
                              </p:par>
                              <p:par>
                                <p:cTn id="60" presetID="42" presetClass="entr" presetSubtype="0" fill="hold" grpId="0" nodeType="withEffect">
                                  <p:stCondLst>
                                    <p:cond delay="0"/>
                                  </p:stCondLst>
                                  <p:childTnLst>
                                    <p:set>
                                      <p:cBhvr>
                                        <p:cTn id="61" dur="1" fill="hold">
                                          <p:stCondLst>
                                            <p:cond delay="0"/>
                                          </p:stCondLst>
                                        </p:cTn>
                                        <p:tgtEl>
                                          <p:spTgt spid="62"/>
                                        </p:tgtEl>
                                        <p:attrNameLst>
                                          <p:attrName>style.visibility</p:attrName>
                                        </p:attrNameLst>
                                      </p:cBhvr>
                                      <p:to>
                                        <p:strVal val="visible"/>
                                      </p:to>
                                    </p:set>
                                    <p:animEffect transition="in" filter="fade">
                                      <p:cBhvr>
                                        <p:cTn id="62" dur="1000"/>
                                        <p:tgtEl>
                                          <p:spTgt spid="62"/>
                                        </p:tgtEl>
                                      </p:cBhvr>
                                    </p:animEffect>
                                    <p:anim calcmode="lin" valueType="num">
                                      <p:cBhvr>
                                        <p:cTn id="63" dur="1000" fill="hold"/>
                                        <p:tgtEl>
                                          <p:spTgt spid="62"/>
                                        </p:tgtEl>
                                        <p:attrNameLst>
                                          <p:attrName>ppt_x</p:attrName>
                                        </p:attrNameLst>
                                      </p:cBhvr>
                                      <p:tavLst>
                                        <p:tav tm="0">
                                          <p:val>
                                            <p:strVal val="#ppt_x"/>
                                          </p:val>
                                        </p:tav>
                                        <p:tav tm="100000">
                                          <p:val>
                                            <p:strVal val="#ppt_x"/>
                                          </p:val>
                                        </p:tav>
                                      </p:tavLst>
                                    </p:anim>
                                    <p:anim calcmode="lin" valueType="num">
                                      <p:cBhvr>
                                        <p:cTn id="64" dur="1000" fill="hold"/>
                                        <p:tgtEl>
                                          <p:spTgt spid="62"/>
                                        </p:tgtEl>
                                        <p:attrNameLst>
                                          <p:attrName>ppt_y</p:attrName>
                                        </p:attrNameLst>
                                      </p:cBhvr>
                                      <p:tavLst>
                                        <p:tav tm="0">
                                          <p:val>
                                            <p:strVal val="#ppt_y+.1"/>
                                          </p:val>
                                        </p:tav>
                                        <p:tav tm="100000">
                                          <p:val>
                                            <p:strVal val="#ppt_y"/>
                                          </p:val>
                                        </p:tav>
                                      </p:tavLst>
                                    </p:anim>
                                  </p:childTnLst>
                                </p:cTn>
                              </p:par>
                              <p:par>
                                <p:cTn id="65" presetID="42" presetClass="entr" presetSubtype="0" fill="hold" grpId="0" nodeType="withEffect">
                                  <p:stCondLst>
                                    <p:cond delay="0"/>
                                  </p:stCondLst>
                                  <p:childTnLst>
                                    <p:set>
                                      <p:cBhvr>
                                        <p:cTn id="66" dur="1" fill="hold">
                                          <p:stCondLst>
                                            <p:cond delay="0"/>
                                          </p:stCondLst>
                                        </p:cTn>
                                        <p:tgtEl>
                                          <p:spTgt spid="65"/>
                                        </p:tgtEl>
                                        <p:attrNameLst>
                                          <p:attrName>style.visibility</p:attrName>
                                        </p:attrNameLst>
                                      </p:cBhvr>
                                      <p:to>
                                        <p:strVal val="visible"/>
                                      </p:to>
                                    </p:set>
                                    <p:animEffect transition="in" filter="fade">
                                      <p:cBhvr>
                                        <p:cTn id="67" dur="1000"/>
                                        <p:tgtEl>
                                          <p:spTgt spid="65"/>
                                        </p:tgtEl>
                                      </p:cBhvr>
                                    </p:animEffect>
                                    <p:anim calcmode="lin" valueType="num">
                                      <p:cBhvr>
                                        <p:cTn id="68" dur="1000" fill="hold"/>
                                        <p:tgtEl>
                                          <p:spTgt spid="65"/>
                                        </p:tgtEl>
                                        <p:attrNameLst>
                                          <p:attrName>ppt_x</p:attrName>
                                        </p:attrNameLst>
                                      </p:cBhvr>
                                      <p:tavLst>
                                        <p:tav tm="0">
                                          <p:val>
                                            <p:strVal val="#ppt_x"/>
                                          </p:val>
                                        </p:tav>
                                        <p:tav tm="100000">
                                          <p:val>
                                            <p:strVal val="#ppt_x"/>
                                          </p:val>
                                        </p:tav>
                                      </p:tavLst>
                                    </p:anim>
                                    <p:anim calcmode="lin" valueType="num">
                                      <p:cBhvr>
                                        <p:cTn id="69" dur="1000" fill="hold"/>
                                        <p:tgtEl>
                                          <p:spTgt spid="65"/>
                                        </p:tgtEl>
                                        <p:attrNameLst>
                                          <p:attrName>ppt_y</p:attrName>
                                        </p:attrNameLst>
                                      </p:cBhvr>
                                      <p:tavLst>
                                        <p:tav tm="0">
                                          <p:val>
                                            <p:strVal val="#ppt_y+.1"/>
                                          </p:val>
                                        </p:tav>
                                        <p:tav tm="100000">
                                          <p:val>
                                            <p:strVal val="#ppt_y"/>
                                          </p:val>
                                        </p:tav>
                                      </p:tavLst>
                                    </p:anim>
                                  </p:childTnLst>
                                </p:cTn>
                              </p:par>
                              <p:par>
                                <p:cTn id="70" presetID="42" presetClass="entr" presetSubtype="0" fill="hold" grpId="0" nodeType="withEffect">
                                  <p:stCondLst>
                                    <p:cond delay="0"/>
                                  </p:stCondLst>
                                  <p:childTnLst>
                                    <p:set>
                                      <p:cBhvr>
                                        <p:cTn id="71" dur="1" fill="hold">
                                          <p:stCondLst>
                                            <p:cond delay="0"/>
                                          </p:stCondLst>
                                        </p:cTn>
                                        <p:tgtEl>
                                          <p:spTgt spid="67"/>
                                        </p:tgtEl>
                                        <p:attrNameLst>
                                          <p:attrName>style.visibility</p:attrName>
                                        </p:attrNameLst>
                                      </p:cBhvr>
                                      <p:to>
                                        <p:strVal val="visible"/>
                                      </p:to>
                                    </p:set>
                                    <p:animEffect transition="in" filter="fade">
                                      <p:cBhvr>
                                        <p:cTn id="72" dur="1000"/>
                                        <p:tgtEl>
                                          <p:spTgt spid="67"/>
                                        </p:tgtEl>
                                      </p:cBhvr>
                                    </p:animEffect>
                                    <p:anim calcmode="lin" valueType="num">
                                      <p:cBhvr>
                                        <p:cTn id="73" dur="1000" fill="hold"/>
                                        <p:tgtEl>
                                          <p:spTgt spid="67"/>
                                        </p:tgtEl>
                                        <p:attrNameLst>
                                          <p:attrName>ppt_x</p:attrName>
                                        </p:attrNameLst>
                                      </p:cBhvr>
                                      <p:tavLst>
                                        <p:tav tm="0">
                                          <p:val>
                                            <p:strVal val="#ppt_x"/>
                                          </p:val>
                                        </p:tav>
                                        <p:tav tm="100000">
                                          <p:val>
                                            <p:strVal val="#ppt_x"/>
                                          </p:val>
                                        </p:tav>
                                      </p:tavLst>
                                    </p:anim>
                                    <p:anim calcmode="lin" valueType="num">
                                      <p:cBhvr>
                                        <p:cTn id="74" dur="1000" fill="hold"/>
                                        <p:tgtEl>
                                          <p:spTgt spid="67"/>
                                        </p:tgtEl>
                                        <p:attrNameLst>
                                          <p:attrName>ppt_y</p:attrName>
                                        </p:attrNameLst>
                                      </p:cBhvr>
                                      <p:tavLst>
                                        <p:tav tm="0">
                                          <p:val>
                                            <p:strVal val="#ppt_y+.1"/>
                                          </p:val>
                                        </p:tav>
                                        <p:tav tm="100000">
                                          <p:val>
                                            <p:strVal val="#ppt_y"/>
                                          </p:val>
                                        </p:tav>
                                      </p:tavLst>
                                    </p:anim>
                                  </p:childTnLst>
                                </p:cTn>
                              </p:par>
                              <p:par>
                                <p:cTn id="75" presetID="42" presetClass="entr" presetSubtype="0" fill="hold" grpId="0" nodeType="withEffect">
                                  <p:stCondLst>
                                    <p:cond delay="0"/>
                                  </p:stCondLst>
                                  <p:childTnLst>
                                    <p:set>
                                      <p:cBhvr>
                                        <p:cTn id="76" dur="1" fill="hold">
                                          <p:stCondLst>
                                            <p:cond delay="0"/>
                                          </p:stCondLst>
                                        </p:cTn>
                                        <p:tgtEl>
                                          <p:spTgt spid="71"/>
                                        </p:tgtEl>
                                        <p:attrNameLst>
                                          <p:attrName>style.visibility</p:attrName>
                                        </p:attrNameLst>
                                      </p:cBhvr>
                                      <p:to>
                                        <p:strVal val="visible"/>
                                      </p:to>
                                    </p:set>
                                    <p:animEffect transition="in" filter="fade">
                                      <p:cBhvr>
                                        <p:cTn id="77" dur="1000"/>
                                        <p:tgtEl>
                                          <p:spTgt spid="71"/>
                                        </p:tgtEl>
                                      </p:cBhvr>
                                    </p:animEffect>
                                    <p:anim calcmode="lin" valueType="num">
                                      <p:cBhvr>
                                        <p:cTn id="78" dur="1000" fill="hold"/>
                                        <p:tgtEl>
                                          <p:spTgt spid="71"/>
                                        </p:tgtEl>
                                        <p:attrNameLst>
                                          <p:attrName>ppt_x</p:attrName>
                                        </p:attrNameLst>
                                      </p:cBhvr>
                                      <p:tavLst>
                                        <p:tav tm="0">
                                          <p:val>
                                            <p:strVal val="#ppt_x"/>
                                          </p:val>
                                        </p:tav>
                                        <p:tav tm="100000">
                                          <p:val>
                                            <p:strVal val="#ppt_x"/>
                                          </p:val>
                                        </p:tav>
                                      </p:tavLst>
                                    </p:anim>
                                    <p:anim calcmode="lin" valueType="num">
                                      <p:cBhvr>
                                        <p:cTn id="79" dur="1000" fill="hold"/>
                                        <p:tgtEl>
                                          <p:spTgt spid="71"/>
                                        </p:tgtEl>
                                        <p:attrNameLst>
                                          <p:attrName>ppt_y</p:attrName>
                                        </p:attrNameLst>
                                      </p:cBhvr>
                                      <p:tavLst>
                                        <p:tav tm="0">
                                          <p:val>
                                            <p:strVal val="#ppt_y+.1"/>
                                          </p:val>
                                        </p:tav>
                                        <p:tav tm="100000">
                                          <p:val>
                                            <p:strVal val="#ppt_y"/>
                                          </p:val>
                                        </p:tav>
                                      </p:tavLst>
                                    </p:anim>
                                  </p:childTnLst>
                                </p:cTn>
                              </p:par>
                            </p:childTnLst>
                          </p:cTn>
                        </p:par>
                      </p:childTnLst>
                    </p:cTn>
                  </p:par>
                  <p:par>
                    <p:cTn id="80" fill="hold">
                      <p:stCondLst>
                        <p:cond delay="indefinite"/>
                      </p:stCondLst>
                      <p:childTnLst>
                        <p:par>
                          <p:cTn id="81" fill="hold">
                            <p:stCondLst>
                              <p:cond delay="0"/>
                            </p:stCondLst>
                            <p:childTnLst>
                              <p:par>
                                <p:cTn id="82" presetID="42" presetClass="entr" presetSubtype="0" fill="hold" grpId="0" nodeType="clickEffect">
                                  <p:stCondLst>
                                    <p:cond delay="0"/>
                                  </p:stCondLst>
                                  <p:childTnLst>
                                    <p:set>
                                      <p:cBhvr>
                                        <p:cTn id="83" dur="1" fill="hold">
                                          <p:stCondLst>
                                            <p:cond delay="0"/>
                                          </p:stCondLst>
                                        </p:cTn>
                                        <p:tgtEl>
                                          <p:spTgt spid="4"/>
                                        </p:tgtEl>
                                        <p:attrNameLst>
                                          <p:attrName>style.visibility</p:attrName>
                                        </p:attrNameLst>
                                      </p:cBhvr>
                                      <p:to>
                                        <p:strVal val="visible"/>
                                      </p:to>
                                    </p:set>
                                    <p:animEffect transition="in" filter="fade">
                                      <p:cBhvr>
                                        <p:cTn id="84" dur="1000"/>
                                        <p:tgtEl>
                                          <p:spTgt spid="4"/>
                                        </p:tgtEl>
                                      </p:cBhvr>
                                    </p:animEffect>
                                    <p:anim calcmode="lin" valueType="num">
                                      <p:cBhvr>
                                        <p:cTn id="85" dur="1000" fill="hold"/>
                                        <p:tgtEl>
                                          <p:spTgt spid="4"/>
                                        </p:tgtEl>
                                        <p:attrNameLst>
                                          <p:attrName>ppt_x</p:attrName>
                                        </p:attrNameLst>
                                      </p:cBhvr>
                                      <p:tavLst>
                                        <p:tav tm="0">
                                          <p:val>
                                            <p:strVal val="#ppt_x"/>
                                          </p:val>
                                        </p:tav>
                                        <p:tav tm="100000">
                                          <p:val>
                                            <p:strVal val="#ppt_x"/>
                                          </p:val>
                                        </p:tav>
                                      </p:tavLst>
                                    </p:anim>
                                    <p:anim calcmode="lin" valueType="num">
                                      <p:cBhvr>
                                        <p:cTn id="86" dur="1000" fill="hold"/>
                                        <p:tgtEl>
                                          <p:spTgt spid="4"/>
                                        </p:tgtEl>
                                        <p:attrNameLst>
                                          <p:attrName>ppt_y</p:attrName>
                                        </p:attrNameLst>
                                      </p:cBhvr>
                                      <p:tavLst>
                                        <p:tav tm="0">
                                          <p:val>
                                            <p:strVal val="#ppt_y+.1"/>
                                          </p:val>
                                        </p:tav>
                                        <p:tav tm="100000">
                                          <p:val>
                                            <p:strVal val="#ppt_y"/>
                                          </p:val>
                                        </p:tav>
                                      </p:tavLst>
                                    </p:anim>
                                  </p:childTnLst>
                                </p:cTn>
                              </p:par>
                              <p:par>
                                <p:cTn id="87" presetID="42" presetClass="entr" presetSubtype="0" fill="hold" grpId="0" nodeType="withEffect">
                                  <p:stCondLst>
                                    <p:cond delay="0"/>
                                  </p:stCondLst>
                                  <p:childTnLst>
                                    <p:set>
                                      <p:cBhvr>
                                        <p:cTn id="88" dur="1" fill="hold">
                                          <p:stCondLst>
                                            <p:cond delay="0"/>
                                          </p:stCondLst>
                                        </p:cTn>
                                        <p:tgtEl>
                                          <p:spTgt spid="7"/>
                                        </p:tgtEl>
                                        <p:attrNameLst>
                                          <p:attrName>style.visibility</p:attrName>
                                        </p:attrNameLst>
                                      </p:cBhvr>
                                      <p:to>
                                        <p:strVal val="visible"/>
                                      </p:to>
                                    </p:set>
                                    <p:animEffect transition="in" filter="fade">
                                      <p:cBhvr>
                                        <p:cTn id="89" dur="1000"/>
                                        <p:tgtEl>
                                          <p:spTgt spid="7"/>
                                        </p:tgtEl>
                                      </p:cBhvr>
                                    </p:animEffect>
                                    <p:anim calcmode="lin" valueType="num">
                                      <p:cBhvr>
                                        <p:cTn id="90" dur="1000" fill="hold"/>
                                        <p:tgtEl>
                                          <p:spTgt spid="7"/>
                                        </p:tgtEl>
                                        <p:attrNameLst>
                                          <p:attrName>ppt_x</p:attrName>
                                        </p:attrNameLst>
                                      </p:cBhvr>
                                      <p:tavLst>
                                        <p:tav tm="0">
                                          <p:val>
                                            <p:strVal val="#ppt_x"/>
                                          </p:val>
                                        </p:tav>
                                        <p:tav tm="100000">
                                          <p:val>
                                            <p:strVal val="#ppt_x"/>
                                          </p:val>
                                        </p:tav>
                                      </p:tavLst>
                                    </p:anim>
                                    <p:anim calcmode="lin" valueType="num">
                                      <p:cBhvr>
                                        <p:cTn id="91" dur="1000" fill="hold"/>
                                        <p:tgtEl>
                                          <p:spTgt spid="7"/>
                                        </p:tgtEl>
                                        <p:attrNameLst>
                                          <p:attrName>ppt_y</p:attrName>
                                        </p:attrNameLst>
                                      </p:cBhvr>
                                      <p:tavLst>
                                        <p:tav tm="0">
                                          <p:val>
                                            <p:strVal val="#ppt_y+.1"/>
                                          </p:val>
                                        </p:tav>
                                        <p:tav tm="100000">
                                          <p:val>
                                            <p:strVal val="#ppt_y"/>
                                          </p:val>
                                        </p:tav>
                                      </p:tavLst>
                                    </p:anim>
                                  </p:childTnLst>
                                </p:cTn>
                              </p:par>
                              <p:par>
                                <p:cTn id="92" presetID="42" presetClass="entr" presetSubtype="0" fill="hold" grpId="0" nodeType="withEffect">
                                  <p:stCondLst>
                                    <p:cond delay="0"/>
                                  </p:stCondLst>
                                  <p:childTnLst>
                                    <p:set>
                                      <p:cBhvr>
                                        <p:cTn id="93" dur="1" fill="hold">
                                          <p:stCondLst>
                                            <p:cond delay="0"/>
                                          </p:stCondLst>
                                        </p:cTn>
                                        <p:tgtEl>
                                          <p:spTgt spid="48"/>
                                        </p:tgtEl>
                                        <p:attrNameLst>
                                          <p:attrName>style.visibility</p:attrName>
                                        </p:attrNameLst>
                                      </p:cBhvr>
                                      <p:to>
                                        <p:strVal val="visible"/>
                                      </p:to>
                                    </p:set>
                                    <p:animEffect transition="in" filter="fade">
                                      <p:cBhvr>
                                        <p:cTn id="94" dur="1000"/>
                                        <p:tgtEl>
                                          <p:spTgt spid="48"/>
                                        </p:tgtEl>
                                      </p:cBhvr>
                                    </p:animEffect>
                                    <p:anim calcmode="lin" valueType="num">
                                      <p:cBhvr>
                                        <p:cTn id="95" dur="1000" fill="hold"/>
                                        <p:tgtEl>
                                          <p:spTgt spid="48"/>
                                        </p:tgtEl>
                                        <p:attrNameLst>
                                          <p:attrName>ppt_x</p:attrName>
                                        </p:attrNameLst>
                                      </p:cBhvr>
                                      <p:tavLst>
                                        <p:tav tm="0">
                                          <p:val>
                                            <p:strVal val="#ppt_x"/>
                                          </p:val>
                                        </p:tav>
                                        <p:tav tm="100000">
                                          <p:val>
                                            <p:strVal val="#ppt_x"/>
                                          </p:val>
                                        </p:tav>
                                      </p:tavLst>
                                    </p:anim>
                                    <p:anim calcmode="lin" valueType="num">
                                      <p:cBhvr>
                                        <p:cTn id="96" dur="1000" fill="hold"/>
                                        <p:tgtEl>
                                          <p:spTgt spid="48"/>
                                        </p:tgtEl>
                                        <p:attrNameLst>
                                          <p:attrName>ppt_y</p:attrName>
                                        </p:attrNameLst>
                                      </p:cBhvr>
                                      <p:tavLst>
                                        <p:tav tm="0">
                                          <p:val>
                                            <p:strVal val="#ppt_y+.1"/>
                                          </p:val>
                                        </p:tav>
                                        <p:tav tm="100000">
                                          <p:val>
                                            <p:strVal val="#ppt_y"/>
                                          </p:val>
                                        </p:tav>
                                      </p:tavLst>
                                    </p:anim>
                                  </p:childTnLst>
                                </p:cTn>
                              </p:par>
                              <p:par>
                                <p:cTn id="97" presetID="42" presetClass="entr" presetSubtype="0" fill="hold" grpId="0" nodeType="withEffect">
                                  <p:stCondLst>
                                    <p:cond delay="0"/>
                                  </p:stCondLst>
                                  <p:childTnLst>
                                    <p:set>
                                      <p:cBhvr>
                                        <p:cTn id="98" dur="1" fill="hold">
                                          <p:stCondLst>
                                            <p:cond delay="0"/>
                                          </p:stCondLst>
                                        </p:cTn>
                                        <p:tgtEl>
                                          <p:spTgt spid="49"/>
                                        </p:tgtEl>
                                        <p:attrNameLst>
                                          <p:attrName>style.visibility</p:attrName>
                                        </p:attrNameLst>
                                      </p:cBhvr>
                                      <p:to>
                                        <p:strVal val="visible"/>
                                      </p:to>
                                    </p:set>
                                    <p:animEffect transition="in" filter="fade">
                                      <p:cBhvr>
                                        <p:cTn id="99" dur="1000"/>
                                        <p:tgtEl>
                                          <p:spTgt spid="49"/>
                                        </p:tgtEl>
                                      </p:cBhvr>
                                    </p:animEffect>
                                    <p:anim calcmode="lin" valueType="num">
                                      <p:cBhvr>
                                        <p:cTn id="100" dur="1000" fill="hold"/>
                                        <p:tgtEl>
                                          <p:spTgt spid="49"/>
                                        </p:tgtEl>
                                        <p:attrNameLst>
                                          <p:attrName>ppt_x</p:attrName>
                                        </p:attrNameLst>
                                      </p:cBhvr>
                                      <p:tavLst>
                                        <p:tav tm="0">
                                          <p:val>
                                            <p:strVal val="#ppt_x"/>
                                          </p:val>
                                        </p:tav>
                                        <p:tav tm="100000">
                                          <p:val>
                                            <p:strVal val="#ppt_x"/>
                                          </p:val>
                                        </p:tav>
                                      </p:tavLst>
                                    </p:anim>
                                    <p:anim calcmode="lin" valueType="num">
                                      <p:cBhvr>
                                        <p:cTn id="101" dur="1000" fill="hold"/>
                                        <p:tgtEl>
                                          <p:spTgt spid="49"/>
                                        </p:tgtEl>
                                        <p:attrNameLst>
                                          <p:attrName>ppt_y</p:attrName>
                                        </p:attrNameLst>
                                      </p:cBhvr>
                                      <p:tavLst>
                                        <p:tav tm="0">
                                          <p:val>
                                            <p:strVal val="#ppt_y+.1"/>
                                          </p:val>
                                        </p:tav>
                                        <p:tav tm="100000">
                                          <p:val>
                                            <p:strVal val="#ppt_y"/>
                                          </p:val>
                                        </p:tav>
                                      </p:tavLst>
                                    </p:anim>
                                  </p:childTnLst>
                                </p:cTn>
                              </p:par>
                              <p:par>
                                <p:cTn id="102" presetID="42" presetClass="entr" presetSubtype="0" fill="hold" nodeType="withEffect">
                                  <p:stCondLst>
                                    <p:cond delay="0"/>
                                  </p:stCondLst>
                                  <p:childTnLst>
                                    <p:set>
                                      <p:cBhvr>
                                        <p:cTn id="103" dur="1" fill="hold">
                                          <p:stCondLst>
                                            <p:cond delay="0"/>
                                          </p:stCondLst>
                                        </p:cTn>
                                        <p:tgtEl>
                                          <p:spTgt spid="63"/>
                                        </p:tgtEl>
                                        <p:attrNameLst>
                                          <p:attrName>style.visibility</p:attrName>
                                        </p:attrNameLst>
                                      </p:cBhvr>
                                      <p:to>
                                        <p:strVal val="visible"/>
                                      </p:to>
                                    </p:set>
                                    <p:animEffect transition="in" filter="fade">
                                      <p:cBhvr>
                                        <p:cTn id="104" dur="1000"/>
                                        <p:tgtEl>
                                          <p:spTgt spid="63"/>
                                        </p:tgtEl>
                                      </p:cBhvr>
                                    </p:animEffect>
                                    <p:anim calcmode="lin" valueType="num">
                                      <p:cBhvr>
                                        <p:cTn id="105" dur="1000" fill="hold"/>
                                        <p:tgtEl>
                                          <p:spTgt spid="63"/>
                                        </p:tgtEl>
                                        <p:attrNameLst>
                                          <p:attrName>ppt_x</p:attrName>
                                        </p:attrNameLst>
                                      </p:cBhvr>
                                      <p:tavLst>
                                        <p:tav tm="0">
                                          <p:val>
                                            <p:strVal val="#ppt_x"/>
                                          </p:val>
                                        </p:tav>
                                        <p:tav tm="100000">
                                          <p:val>
                                            <p:strVal val="#ppt_x"/>
                                          </p:val>
                                        </p:tav>
                                      </p:tavLst>
                                    </p:anim>
                                    <p:anim calcmode="lin" valueType="num">
                                      <p:cBhvr>
                                        <p:cTn id="106" dur="1000" fill="hold"/>
                                        <p:tgtEl>
                                          <p:spTgt spid="63"/>
                                        </p:tgtEl>
                                        <p:attrNameLst>
                                          <p:attrName>ppt_y</p:attrName>
                                        </p:attrNameLst>
                                      </p:cBhvr>
                                      <p:tavLst>
                                        <p:tav tm="0">
                                          <p:val>
                                            <p:strVal val="#ppt_y+.1"/>
                                          </p:val>
                                        </p:tav>
                                        <p:tav tm="100000">
                                          <p:val>
                                            <p:strVal val="#ppt_y"/>
                                          </p:val>
                                        </p:tav>
                                      </p:tavLst>
                                    </p:anim>
                                  </p:childTnLst>
                                </p:cTn>
                              </p:par>
                              <p:par>
                                <p:cTn id="107" presetID="42" presetClass="entr" presetSubtype="0" fill="hold" nodeType="withEffect">
                                  <p:stCondLst>
                                    <p:cond delay="0"/>
                                  </p:stCondLst>
                                  <p:childTnLst>
                                    <p:set>
                                      <p:cBhvr>
                                        <p:cTn id="108" dur="1" fill="hold">
                                          <p:stCondLst>
                                            <p:cond delay="0"/>
                                          </p:stCondLst>
                                        </p:cTn>
                                        <p:tgtEl>
                                          <p:spTgt spid="32"/>
                                        </p:tgtEl>
                                        <p:attrNameLst>
                                          <p:attrName>style.visibility</p:attrName>
                                        </p:attrNameLst>
                                      </p:cBhvr>
                                      <p:to>
                                        <p:strVal val="visible"/>
                                      </p:to>
                                    </p:set>
                                    <p:animEffect transition="in" filter="fade">
                                      <p:cBhvr>
                                        <p:cTn id="109" dur="1000"/>
                                        <p:tgtEl>
                                          <p:spTgt spid="32"/>
                                        </p:tgtEl>
                                      </p:cBhvr>
                                    </p:animEffect>
                                    <p:anim calcmode="lin" valueType="num">
                                      <p:cBhvr>
                                        <p:cTn id="110" dur="1000" fill="hold"/>
                                        <p:tgtEl>
                                          <p:spTgt spid="32"/>
                                        </p:tgtEl>
                                        <p:attrNameLst>
                                          <p:attrName>ppt_x</p:attrName>
                                        </p:attrNameLst>
                                      </p:cBhvr>
                                      <p:tavLst>
                                        <p:tav tm="0">
                                          <p:val>
                                            <p:strVal val="#ppt_x"/>
                                          </p:val>
                                        </p:tav>
                                        <p:tav tm="100000">
                                          <p:val>
                                            <p:strVal val="#ppt_x"/>
                                          </p:val>
                                        </p:tav>
                                      </p:tavLst>
                                    </p:anim>
                                    <p:anim calcmode="lin" valueType="num">
                                      <p:cBhvr>
                                        <p:cTn id="111" dur="1000" fill="hold"/>
                                        <p:tgtEl>
                                          <p:spTgt spid="32"/>
                                        </p:tgtEl>
                                        <p:attrNameLst>
                                          <p:attrName>ppt_y</p:attrName>
                                        </p:attrNameLst>
                                      </p:cBhvr>
                                      <p:tavLst>
                                        <p:tav tm="0">
                                          <p:val>
                                            <p:strVal val="#ppt_y+.1"/>
                                          </p:val>
                                        </p:tav>
                                        <p:tav tm="100000">
                                          <p:val>
                                            <p:strVal val="#ppt_y"/>
                                          </p:val>
                                        </p:tav>
                                      </p:tavLst>
                                    </p:anim>
                                  </p:childTnLst>
                                </p:cTn>
                              </p:par>
                              <p:par>
                                <p:cTn id="112" presetID="42" presetClass="entr" presetSubtype="0" fill="hold" nodeType="withEffect">
                                  <p:stCondLst>
                                    <p:cond delay="0"/>
                                  </p:stCondLst>
                                  <p:childTnLst>
                                    <p:set>
                                      <p:cBhvr>
                                        <p:cTn id="113" dur="1" fill="hold">
                                          <p:stCondLst>
                                            <p:cond delay="0"/>
                                          </p:stCondLst>
                                        </p:cTn>
                                        <p:tgtEl>
                                          <p:spTgt spid="40"/>
                                        </p:tgtEl>
                                        <p:attrNameLst>
                                          <p:attrName>style.visibility</p:attrName>
                                        </p:attrNameLst>
                                      </p:cBhvr>
                                      <p:to>
                                        <p:strVal val="visible"/>
                                      </p:to>
                                    </p:set>
                                    <p:animEffect transition="in" filter="fade">
                                      <p:cBhvr>
                                        <p:cTn id="114" dur="1000"/>
                                        <p:tgtEl>
                                          <p:spTgt spid="40"/>
                                        </p:tgtEl>
                                      </p:cBhvr>
                                    </p:animEffect>
                                    <p:anim calcmode="lin" valueType="num">
                                      <p:cBhvr>
                                        <p:cTn id="115" dur="1000" fill="hold"/>
                                        <p:tgtEl>
                                          <p:spTgt spid="40"/>
                                        </p:tgtEl>
                                        <p:attrNameLst>
                                          <p:attrName>ppt_x</p:attrName>
                                        </p:attrNameLst>
                                      </p:cBhvr>
                                      <p:tavLst>
                                        <p:tav tm="0">
                                          <p:val>
                                            <p:strVal val="#ppt_x"/>
                                          </p:val>
                                        </p:tav>
                                        <p:tav tm="100000">
                                          <p:val>
                                            <p:strVal val="#ppt_x"/>
                                          </p:val>
                                        </p:tav>
                                      </p:tavLst>
                                    </p:anim>
                                    <p:anim calcmode="lin" valueType="num">
                                      <p:cBhvr>
                                        <p:cTn id="116" dur="1000" fill="hold"/>
                                        <p:tgtEl>
                                          <p:spTgt spid="40"/>
                                        </p:tgtEl>
                                        <p:attrNameLst>
                                          <p:attrName>ppt_y</p:attrName>
                                        </p:attrNameLst>
                                      </p:cBhvr>
                                      <p:tavLst>
                                        <p:tav tm="0">
                                          <p:val>
                                            <p:strVal val="#ppt_y+.1"/>
                                          </p:val>
                                        </p:tav>
                                        <p:tav tm="100000">
                                          <p:val>
                                            <p:strVal val="#ppt_y"/>
                                          </p:val>
                                        </p:tav>
                                      </p:tavLst>
                                    </p:anim>
                                  </p:childTnLst>
                                </p:cTn>
                              </p:par>
                              <p:par>
                                <p:cTn id="117" presetID="42" presetClass="entr" presetSubtype="0" fill="hold" grpId="0" nodeType="withEffect">
                                  <p:stCondLst>
                                    <p:cond delay="0"/>
                                  </p:stCondLst>
                                  <p:childTnLst>
                                    <p:set>
                                      <p:cBhvr>
                                        <p:cTn id="118" dur="1" fill="hold">
                                          <p:stCondLst>
                                            <p:cond delay="0"/>
                                          </p:stCondLst>
                                        </p:cTn>
                                        <p:tgtEl>
                                          <p:spTgt spid="51"/>
                                        </p:tgtEl>
                                        <p:attrNameLst>
                                          <p:attrName>style.visibility</p:attrName>
                                        </p:attrNameLst>
                                      </p:cBhvr>
                                      <p:to>
                                        <p:strVal val="visible"/>
                                      </p:to>
                                    </p:set>
                                    <p:animEffect transition="in" filter="fade">
                                      <p:cBhvr>
                                        <p:cTn id="119" dur="1000"/>
                                        <p:tgtEl>
                                          <p:spTgt spid="51"/>
                                        </p:tgtEl>
                                      </p:cBhvr>
                                    </p:animEffect>
                                    <p:anim calcmode="lin" valueType="num">
                                      <p:cBhvr>
                                        <p:cTn id="120" dur="1000" fill="hold"/>
                                        <p:tgtEl>
                                          <p:spTgt spid="51"/>
                                        </p:tgtEl>
                                        <p:attrNameLst>
                                          <p:attrName>ppt_x</p:attrName>
                                        </p:attrNameLst>
                                      </p:cBhvr>
                                      <p:tavLst>
                                        <p:tav tm="0">
                                          <p:val>
                                            <p:strVal val="#ppt_x"/>
                                          </p:val>
                                        </p:tav>
                                        <p:tav tm="100000">
                                          <p:val>
                                            <p:strVal val="#ppt_x"/>
                                          </p:val>
                                        </p:tav>
                                      </p:tavLst>
                                    </p:anim>
                                    <p:anim calcmode="lin" valueType="num">
                                      <p:cBhvr>
                                        <p:cTn id="121" dur="1000" fill="hold"/>
                                        <p:tgtEl>
                                          <p:spTgt spid="51"/>
                                        </p:tgtEl>
                                        <p:attrNameLst>
                                          <p:attrName>ppt_y</p:attrName>
                                        </p:attrNameLst>
                                      </p:cBhvr>
                                      <p:tavLst>
                                        <p:tav tm="0">
                                          <p:val>
                                            <p:strVal val="#ppt_y+.1"/>
                                          </p:val>
                                        </p:tav>
                                        <p:tav tm="100000">
                                          <p:val>
                                            <p:strVal val="#ppt_y"/>
                                          </p:val>
                                        </p:tav>
                                      </p:tavLst>
                                    </p:anim>
                                  </p:childTnLst>
                                </p:cTn>
                              </p:par>
                              <p:par>
                                <p:cTn id="122" presetID="42" presetClass="entr" presetSubtype="0" fill="hold" grpId="0" nodeType="withEffect">
                                  <p:stCondLst>
                                    <p:cond delay="0"/>
                                  </p:stCondLst>
                                  <p:childTnLst>
                                    <p:set>
                                      <p:cBhvr>
                                        <p:cTn id="123" dur="1" fill="hold">
                                          <p:stCondLst>
                                            <p:cond delay="0"/>
                                          </p:stCondLst>
                                        </p:cTn>
                                        <p:tgtEl>
                                          <p:spTgt spid="52"/>
                                        </p:tgtEl>
                                        <p:attrNameLst>
                                          <p:attrName>style.visibility</p:attrName>
                                        </p:attrNameLst>
                                      </p:cBhvr>
                                      <p:to>
                                        <p:strVal val="visible"/>
                                      </p:to>
                                    </p:set>
                                    <p:animEffect transition="in" filter="fade">
                                      <p:cBhvr>
                                        <p:cTn id="124" dur="1000"/>
                                        <p:tgtEl>
                                          <p:spTgt spid="52"/>
                                        </p:tgtEl>
                                      </p:cBhvr>
                                    </p:animEffect>
                                    <p:anim calcmode="lin" valueType="num">
                                      <p:cBhvr>
                                        <p:cTn id="125" dur="1000" fill="hold"/>
                                        <p:tgtEl>
                                          <p:spTgt spid="52"/>
                                        </p:tgtEl>
                                        <p:attrNameLst>
                                          <p:attrName>ppt_x</p:attrName>
                                        </p:attrNameLst>
                                      </p:cBhvr>
                                      <p:tavLst>
                                        <p:tav tm="0">
                                          <p:val>
                                            <p:strVal val="#ppt_x"/>
                                          </p:val>
                                        </p:tav>
                                        <p:tav tm="100000">
                                          <p:val>
                                            <p:strVal val="#ppt_x"/>
                                          </p:val>
                                        </p:tav>
                                      </p:tavLst>
                                    </p:anim>
                                    <p:anim calcmode="lin" valueType="num">
                                      <p:cBhvr>
                                        <p:cTn id="126" dur="1000" fill="hold"/>
                                        <p:tgtEl>
                                          <p:spTgt spid="52"/>
                                        </p:tgtEl>
                                        <p:attrNameLst>
                                          <p:attrName>ppt_y</p:attrName>
                                        </p:attrNameLst>
                                      </p:cBhvr>
                                      <p:tavLst>
                                        <p:tav tm="0">
                                          <p:val>
                                            <p:strVal val="#ppt_y+.1"/>
                                          </p:val>
                                        </p:tav>
                                        <p:tav tm="100000">
                                          <p:val>
                                            <p:strVal val="#ppt_y"/>
                                          </p:val>
                                        </p:tav>
                                      </p:tavLst>
                                    </p:anim>
                                  </p:childTnLst>
                                </p:cTn>
                              </p:par>
                              <p:par>
                                <p:cTn id="127" presetID="42" presetClass="entr" presetSubtype="0" fill="hold" grpId="0" nodeType="withEffect">
                                  <p:stCondLst>
                                    <p:cond delay="0"/>
                                  </p:stCondLst>
                                  <p:childTnLst>
                                    <p:set>
                                      <p:cBhvr>
                                        <p:cTn id="128" dur="1" fill="hold">
                                          <p:stCondLst>
                                            <p:cond delay="0"/>
                                          </p:stCondLst>
                                        </p:cTn>
                                        <p:tgtEl>
                                          <p:spTgt spid="64"/>
                                        </p:tgtEl>
                                        <p:attrNameLst>
                                          <p:attrName>style.visibility</p:attrName>
                                        </p:attrNameLst>
                                      </p:cBhvr>
                                      <p:to>
                                        <p:strVal val="visible"/>
                                      </p:to>
                                    </p:set>
                                    <p:animEffect transition="in" filter="fade">
                                      <p:cBhvr>
                                        <p:cTn id="129" dur="1000"/>
                                        <p:tgtEl>
                                          <p:spTgt spid="64"/>
                                        </p:tgtEl>
                                      </p:cBhvr>
                                    </p:animEffect>
                                    <p:anim calcmode="lin" valueType="num">
                                      <p:cBhvr>
                                        <p:cTn id="130" dur="1000" fill="hold"/>
                                        <p:tgtEl>
                                          <p:spTgt spid="64"/>
                                        </p:tgtEl>
                                        <p:attrNameLst>
                                          <p:attrName>ppt_x</p:attrName>
                                        </p:attrNameLst>
                                      </p:cBhvr>
                                      <p:tavLst>
                                        <p:tav tm="0">
                                          <p:val>
                                            <p:strVal val="#ppt_x"/>
                                          </p:val>
                                        </p:tav>
                                        <p:tav tm="100000">
                                          <p:val>
                                            <p:strVal val="#ppt_x"/>
                                          </p:val>
                                        </p:tav>
                                      </p:tavLst>
                                    </p:anim>
                                    <p:anim calcmode="lin" valueType="num">
                                      <p:cBhvr>
                                        <p:cTn id="131" dur="1000" fill="hold"/>
                                        <p:tgtEl>
                                          <p:spTgt spid="64"/>
                                        </p:tgtEl>
                                        <p:attrNameLst>
                                          <p:attrName>ppt_y</p:attrName>
                                        </p:attrNameLst>
                                      </p:cBhvr>
                                      <p:tavLst>
                                        <p:tav tm="0">
                                          <p:val>
                                            <p:strVal val="#ppt_y+.1"/>
                                          </p:val>
                                        </p:tav>
                                        <p:tav tm="100000">
                                          <p:val>
                                            <p:strVal val="#ppt_y"/>
                                          </p:val>
                                        </p:tav>
                                      </p:tavLst>
                                    </p:anim>
                                  </p:childTnLst>
                                </p:cTn>
                              </p:par>
                              <p:par>
                                <p:cTn id="132" presetID="42" presetClass="entr" presetSubtype="0" fill="hold" grpId="0" nodeType="withEffect">
                                  <p:stCondLst>
                                    <p:cond delay="0"/>
                                  </p:stCondLst>
                                  <p:childTnLst>
                                    <p:set>
                                      <p:cBhvr>
                                        <p:cTn id="133" dur="1" fill="hold">
                                          <p:stCondLst>
                                            <p:cond delay="0"/>
                                          </p:stCondLst>
                                        </p:cTn>
                                        <p:tgtEl>
                                          <p:spTgt spid="66"/>
                                        </p:tgtEl>
                                        <p:attrNameLst>
                                          <p:attrName>style.visibility</p:attrName>
                                        </p:attrNameLst>
                                      </p:cBhvr>
                                      <p:to>
                                        <p:strVal val="visible"/>
                                      </p:to>
                                    </p:set>
                                    <p:animEffect transition="in" filter="fade">
                                      <p:cBhvr>
                                        <p:cTn id="134" dur="1000"/>
                                        <p:tgtEl>
                                          <p:spTgt spid="66"/>
                                        </p:tgtEl>
                                      </p:cBhvr>
                                    </p:animEffect>
                                    <p:anim calcmode="lin" valueType="num">
                                      <p:cBhvr>
                                        <p:cTn id="135" dur="1000" fill="hold"/>
                                        <p:tgtEl>
                                          <p:spTgt spid="66"/>
                                        </p:tgtEl>
                                        <p:attrNameLst>
                                          <p:attrName>ppt_x</p:attrName>
                                        </p:attrNameLst>
                                      </p:cBhvr>
                                      <p:tavLst>
                                        <p:tav tm="0">
                                          <p:val>
                                            <p:strVal val="#ppt_x"/>
                                          </p:val>
                                        </p:tav>
                                        <p:tav tm="100000">
                                          <p:val>
                                            <p:strVal val="#ppt_x"/>
                                          </p:val>
                                        </p:tav>
                                      </p:tavLst>
                                    </p:anim>
                                    <p:anim calcmode="lin" valueType="num">
                                      <p:cBhvr>
                                        <p:cTn id="136" dur="1000" fill="hold"/>
                                        <p:tgtEl>
                                          <p:spTgt spid="66"/>
                                        </p:tgtEl>
                                        <p:attrNameLst>
                                          <p:attrName>ppt_y</p:attrName>
                                        </p:attrNameLst>
                                      </p:cBhvr>
                                      <p:tavLst>
                                        <p:tav tm="0">
                                          <p:val>
                                            <p:strVal val="#ppt_y+.1"/>
                                          </p:val>
                                        </p:tav>
                                        <p:tav tm="100000">
                                          <p:val>
                                            <p:strVal val="#ppt_y"/>
                                          </p:val>
                                        </p:tav>
                                      </p:tavLst>
                                    </p:anim>
                                  </p:childTnLst>
                                </p:cTn>
                              </p:par>
                              <p:par>
                                <p:cTn id="137" presetID="42" presetClass="entr" presetSubtype="0" fill="hold" grpId="0" nodeType="withEffect">
                                  <p:stCondLst>
                                    <p:cond delay="0"/>
                                  </p:stCondLst>
                                  <p:childTnLst>
                                    <p:set>
                                      <p:cBhvr>
                                        <p:cTn id="138" dur="1" fill="hold">
                                          <p:stCondLst>
                                            <p:cond delay="0"/>
                                          </p:stCondLst>
                                        </p:cTn>
                                        <p:tgtEl>
                                          <p:spTgt spid="68"/>
                                        </p:tgtEl>
                                        <p:attrNameLst>
                                          <p:attrName>style.visibility</p:attrName>
                                        </p:attrNameLst>
                                      </p:cBhvr>
                                      <p:to>
                                        <p:strVal val="visible"/>
                                      </p:to>
                                    </p:set>
                                    <p:animEffect transition="in" filter="fade">
                                      <p:cBhvr>
                                        <p:cTn id="139" dur="1000"/>
                                        <p:tgtEl>
                                          <p:spTgt spid="68"/>
                                        </p:tgtEl>
                                      </p:cBhvr>
                                    </p:animEffect>
                                    <p:anim calcmode="lin" valueType="num">
                                      <p:cBhvr>
                                        <p:cTn id="140" dur="1000" fill="hold"/>
                                        <p:tgtEl>
                                          <p:spTgt spid="68"/>
                                        </p:tgtEl>
                                        <p:attrNameLst>
                                          <p:attrName>ppt_x</p:attrName>
                                        </p:attrNameLst>
                                      </p:cBhvr>
                                      <p:tavLst>
                                        <p:tav tm="0">
                                          <p:val>
                                            <p:strVal val="#ppt_x"/>
                                          </p:val>
                                        </p:tav>
                                        <p:tav tm="100000">
                                          <p:val>
                                            <p:strVal val="#ppt_x"/>
                                          </p:val>
                                        </p:tav>
                                      </p:tavLst>
                                    </p:anim>
                                    <p:anim calcmode="lin" valueType="num">
                                      <p:cBhvr>
                                        <p:cTn id="141" dur="1000" fill="hold"/>
                                        <p:tgtEl>
                                          <p:spTgt spid="68"/>
                                        </p:tgtEl>
                                        <p:attrNameLst>
                                          <p:attrName>ppt_y</p:attrName>
                                        </p:attrNameLst>
                                      </p:cBhvr>
                                      <p:tavLst>
                                        <p:tav tm="0">
                                          <p:val>
                                            <p:strVal val="#ppt_y+.1"/>
                                          </p:val>
                                        </p:tav>
                                        <p:tav tm="100000">
                                          <p:val>
                                            <p:strVal val="#ppt_y"/>
                                          </p:val>
                                        </p:tav>
                                      </p:tavLst>
                                    </p:anim>
                                  </p:childTnLst>
                                </p:cTn>
                              </p:par>
                              <p:par>
                                <p:cTn id="142" presetID="42" presetClass="entr" presetSubtype="0" fill="hold" grpId="0" nodeType="withEffect">
                                  <p:stCondLst>
                                    <p:cond delay="0"/>
                                  </p:stCondLst>
                                  <p:childTnLst>
                                    <p:set>
                                      <p:cBhvr>
                                        <p:cTn id="143" dur="1" fill="hold">
                                          <p:stCondLst>
                                            <p:cond delay="0"/>
                                          </p:stCondLst>
                                        </p:cTn>
                                        <p:tgtEl>
                                          <p:spTgt spid="69"/>
                                        </p:tgtEl>
                                        <p:attrNameLst>
                                          <p:attrName>style.visibility</p:attrName>
                                        </p:attrNameLst>
                                      </p:cBhvr>
                                      <p:to>
                                        <p:strVal val="visible"/>
                                      </p:to>
                                    </p:set>
                                    <p:animEffect transition="in" filter="fade">
                                      <p:cBhvr>
                                        <p:cTn id="144" dur="1000"/>
                                        <p:tgtEl>
                                          <p:spTgt spid="69"/>
                                        </p:tgtEl>
                                      </p:cBhvr>
                                    </p:animEffect>
                                    <p:anim calcmode="lin" valueType="num">
                                      <p:cBhvr>
                                        <p:cTn id="145" dur="1000" fill="hold"/>
                                        <p:tgtEl>
                                          <p:spTgt spid="69"/>
                                        </p:tgtEl>
                                        <p:attrNameLst>
                                          <p:attrName>ppt_x</p:attrName>
                                        </p:attrNameLst>
                                      </p:cBhvr>
                                      <p:tavLst>
                                        <p:tav tm="0">
                                          <p:val>
                                            <p:strVal val="#ppt_x"/>
                                          </p:val>
                                        </p:tav>
                                        <p:tav tm="100000">
                                          <p:val>
                                            <p:strVal val="#ppt_x"/>
                                          </p:val>
                                        </p:tav>
                                      </p:tavLst>
                                    </p:anim>
                                    <p:anim calcmode="lin" valueType="num">
                                      <p:cBhvr>
                                        <p:cTn id="146" dur="1000" fill="hold"/>
                                        <p:tgtEl>
                                          <p:spTgt spid="69"/>
                                        </p:tgtEl>
                                        <p:attrNameLst>
                                          <p:attrName>ppt_y</p:attrName>
                                        </p:attrNameLst>
                                      </p:cBhvr>
                                      <p:tavLst>
                                        <p:tav tm="0">
                                          <p:val>
                                            <p:strVal val="#ppt_y+.1"/>
                                          </p:val>
                                        </p:tav>
                                        <p:tav tm="100000">
                                          <p:val>
                                            <p:strVal val="#ppt_y"/>
                                          </p:val>
                                        </p:tav>
                                      </p:tavLst>
                                    </p:anim>
                                  </p:childTnLst>
                                </p:cTn>
                              </p:par>
                              <p:par>
                                <p:cTn id="147" presetID="42" presetClass="entr" presetSubtype="0" fill="hold" grpId="0" nodeType="withEffect">
                                  <p:stCondLst>
                                    <p:cond delay="0"/>
                                  </p:stCondLst>
                                  <p:childTnLst>
                                    <p:set>
                                      <p:cBhvr>
                                        <p:cTn id="148" dur="1" fill="hold">
                                          <p:stCondLst>
                                            <p:cond delay="0"/>
                                          </p:stCondLst>
                                        </p:cTn>
                                        <p:tgtEl>
                                          <p:spTgt spid="70"/>
                                        </p:tgtEl>
                                        <p:attrNameLst>
                                          <p:attrName>style.visibility</p:attrName>
                                        </p:attrNameLst>
                                      </p:cBhvr>
                                      <p:to>
                                        <p:strVal val="visible"/>
                                      </p:to>
                                    </p:set>
                                    <p:animEffect transition="in" filter="fade">
                                      <p:cBhvr>
                                        <p:cTn id="149" dur="1000"/>
                                        <p:tgtEl>
                                          <p:spTgt spid="70"/>
                                        </p:tgtEl>
                                      </p:cBhvr>
                                    </p:animEffect>
                                    <p:anim calcmode="lin" valueType="num">
                                      <p:cBhvr>
                                        <p:cTn id="150" dur="1000" fill="hold"/>
                                        <p:tgtEl>
                                          <p:spTgt spid="70"/>
                                        </p:tgtEl>
                                        <p:attrNameLst>
                                          <p:attrName>ppt_x</p:attrName>
                                        </p:attrNameLst>
                                      </p:cBhvr>
                                      <p:tavLst>
                                        <p:tav tm="0">
                                          <p:val>
                                            <p:strVal val="#ppt_x"/>
                                          </p:val>
                                        </p:tav>
                                        <p:tav tm="100000">
                                          <p:val>
                                            <p:strVal val="#ppt_x"/>
                                          </p:val>
                                        </p:tav>
                                      </p:tavLst>
                                    </p:anim>
                                    <p:anim calcmode="lin" valueType="num">
                                      <p:cBhvr>
                                        <p:cTn id="151" dur="1000" fill="hold"/>
                                        <p:tgtEl>
                                          <p:spTgt spid="70"/>
                                        </p:tgtEl>
                                        <p:attrNameLst>
                                          <p:attrName>ppt_y</p:attrName>
                                        </p:attrNameLst>
                                      </p:cBhvr>
                                      <p:tavLst>
                                        <p:tav tm="0">
                                          <p:val>
                                            <p:strVal val="#ppt_y+.1"/>
                                          </p:val>
                                        </p:tav>
                                        <p:tav tm="100000">
                                          <p:val>
                                            <p:strVal val="#ppt_y"/>
                                          </p:val>
                                        </p:tav>
                                      </p:tavLst>
                                    </p:anim>
                                  </p:childTnLst>
                                </p:cTn>
                              </p:par>
                              <p:par>
                                <p:cTn id="152" presetID="42" presetClass="entr" presetSubtype="0" fill="hold" grpId="0" nodeType="withEffect">
                                  <p:stCondLst>
                                    <p:cond delay="0"/>
                                  </p:stCondLst>
                                  <p:childTnLst>
                                    <p:set>
                                      <p:cBhvr>
                                        <p:cTn id="153" dur="1" fill="hold">
                                          <p:stCondLst>
                                            <p:cond delay="0"/>
                                          </p:stCondLst>
                                        </p:cTn>
                                        <p:tgtEl>
                                          <p:spTgt spid="72"/>
                                        </p:tgtEl>
                                        <p:attrNameLst>
                                          <p:attrName>style.visibility</p:attrName>
                                        </p:attrNameLst>
                                      </p:cBhvr>
                                      <p:to>
                                        <p:strVal val="visible"/>
                                      </p:to>
                                    </p:set>
                                    <p:animEffect transition="in" filter="fade">
                                      <p:cBhvr>
                                        <p:cTn id="154" dur="1000"/>
                                        <p:tgtEl>
                                          <p:spTgt spid="72"/>
                                        </p:tgtEl>
                                      </p:cBhvr>
                                    </p:animEffect>
                                    <p:anim calcmode="lin" valueType="num">
                                      <p:cBhvr>
                                        <p:cTn id="155" dur="1000" fill="hold"/>
                                        <p:tgtEl>
                                          <p:spTgt spid="72"/>
                                        </p:tgtEl>
                                        <p:attrNameLst>
                                          <p:attrName>ppt_x</p:attrName>
                                        </p:attrNameLst>
                                      </p:cBhvr>
                                      <p:tavLst>
                                        <p:tav tm="0">
                                          <p:val>
                                            <p:strVal val="#ppt_x"/>
                                          </p:val>
                                        </p:tav>
                                        <p:tav tm="100000">
                                          <p:val>
                                            <p:strVal val="#ppt_x"/>
                                          </p:val>
                                        </p:tav>
                                      </p:tavLst>
                                    </p:anim>
                                    <p:anim calcmode="lin" valueType="num">
                                      <p:cBhvr>
                                        <p:cTn id="156" dur="1000" fill="hold"/>
                                        <p:tgtEl>
                                          <p:spTgt spid="72"/>
                                        </p:tgtEl>
                                        <p:attrNameLst>
                                          <p:attrName>ppt_y</p:attrName>
                                        </p:attrNameLst>
                                      </p:cBhvr>
                                      <p:tavLst>
                                        <p:tav tm="0">
                                          <p:val>
                                            <p:strVal val="#ppt_y+.1"/>
                                          </p:val>
                                        </p:tav>
                                        <p:tav tm="100000">
                                          <p:val>
                                            <p:strVal val="#ppt_y"/>
                                          </p:val>
                                        </p:tav>
                                      </p:tavLst>
                                    </p:anim>
                                  </p:childTnLst>
                                </p:cTn>
                              </p:par>
                            </p:childTnLst>
                          </p:cTn>
                        </p:par>
                      </p:childTnLst>
                    </p:cTn>
                  </p:par>
                  <p:par>
                    <p:cTn id="157" fill="hold">
                      <p:stCondLst>
                        <p:cond delay="indefinite"/>
                      </p:stCondLst>
                      <p:childTnLst>
                        <p:par>
                          <p:cTn id="158" fill="hold">
                            <p:stCondLst>
                              <p:cond delay="0"/>
                            </p:stCondLst>
                            <p:childTnLst>
                              <p:par>
                                <p:cTn id="159" presetID="42" presetClass="entr" presetSubtype="0" fill="hold" nodeType="clickEffect">
                                  <p:stCondLst>
                                    <p:cond delay="0"/>
                                  </p:stCondLst>
                                  <p:childTnLst>
                                    <p:set>
                                      <p:cBhvr>
                                        <p:cTn id="160" dur="1" fill="hold">
                                          <p:stCondLst>
                                            <p:cond delay="0"/>
                                          </p:stCondLst>
                                        </p:cTn>
                                        <p:tgtEl>
                                          <p:spTgt spid="36"/>
                                        </p:tgtEl>
                                        <p:attrNameLst>
                                          <p:attrName>style.visibility</p:attrName>
                                        </p:attrNameLst>
                                      </p:cBhvr>
                                      <p:to>
                                        <p:strVal val="visible"/>
                                      </p:to>
                                    </p:set>
                                    <p:animEffect transition="in" filter="fade">
                                      <p:cBhvr>
                                        <p:cTn id="161" dur="1000"/>
                                        <p:tgtEl>
                                          <p:spTgt spid="36"/>
                                        </p:tgtEl>
                                      </p:cBhvr>
                                    </p:animEffect>
                                    <p:anim calcmode="lin" valueType="num">
                                      <p:cBhvr>
                                        <p:cTn id="162" dur="1000" fill="hold"/>
                                        <p:tgtEl>
                                          <p:spTgt spid="36"/>
                                        </p:tgtEl>
                                        <p:attrNameLst>
                                          <p:attrName>ppt_x</p:attrName>
                                        </p:attrNameLst>
                                      </p:cBhvr>
                                      <p:tavLst>
                                        <p:tav tm="0">
                                          <p:val>
                                            <p:strVal val="#ppt_x"/>
                                          </p:val>
                                        </p:tav>
                                        <p:tav tm="100000">
                                          <p:val>
                                            <p:strVal val="#ppt_x"/>
                                          </p:val>
                                        </p:tav>
                                      </p:tavLst>
                                    </p:anim>
                                    <p:anim calcmode="lin" valueType="num">
                                      <p:cBhvr>
                                        <p:cTn id="163" dur="1000" fill="hold"/>
                                        <p:tgtEl>
                                          <p:spTgt spid="36"/>
                                        </p:tgtEl>
                                        <p:attrNameLst>
                                          <p:attrName>ppt_y</p:attrName>
                                        </p:attrNameLst>
                                      </p:cBhvr>
                                      <p:tavLst>
                                        <p:tav tm="0">
                                          <p:val>
                                            <p:strVal val="#ppt_y+.1"/>
                                          </p:val>
                                        </p:tav>
                                        <p:tav tm="100000">
                                          <p:val>
                                            <p:strVal val="#ppt_y"/>
                                          </p:val>
                                        </p:tav>
                                      </p:tavLst>
                                    </p:anim>
                                  </p:childTnLst>
                                </p:cTn>
                              </p:par>
                              <p:par>
                                <p:cTn id="164" presetID="42" presetClass="entr" presetSubtype="0" fill="hold" grpId="0" nodeType="withEffect">
                                  <p:stCondLst>
                                    <p:cond delay="0"/>
                                  </p:stCondLst>
                                  <p:childTnLst>
                                    <p:set>
                                      <p:cBhvr>
                                        <p:cTn id="165" dur="1" fill="hold">
                                          <p:stCondLst>
                                            <p:cond delay="0"/>
                                          </p:stCondLst>
                                        </p:cTn>
                                        <p:tgtEl>
                                          <p:spTgt spid="74"/>
                                        </p:tgtEl>
                                        <p:attrNameLst>
                                          <p:attrName>style.visibility</p:attrName>
                                        </p:attrNameLst>
                                      </p:cBhvr>
                                      <p:to>
                                        <p:strVal val="visible"/>
                                      </p:to>
                                    </p:set>
                                    <p:animEffect transition="in" filter="fade">
                                      <p:cBhvr>
                                        <p:cTn id="166" dur="1000"/>
                                        <p:tgtEl>
                                          <p:spTgt spid="74"/>
                                        </p:tgtEl>
                                      </p:cBhvr>
                                    </p:animEffect>
                                    <p:anim calcmode="lin" valueType="num">
                                      <p:cBhvr>
                                        <p:cTn id="167" dur="1000" fill="hold"/>
                                        <p:tgtEl>
                                          <p:spTgt spid="74"/>
                                        </p:tgtEl>
                                        <p:attrNameLst>
                                          <p:attrName>ppt_x</p:attrName>
                                        </p:attrNameLst>
                                      </p:cBhvr>
                                      <p:tavLst>
                                        <p:tav tm="0">
                                          <p:val>
                                            <p:strVal val="#ppt_x"/>
                                          </p:val>
                                        </p:tav>
                                        <p:tav tm="100000">
                                          <p:val>
                                            <p:strVal val="#ppt_x"/>
                                          </p:val>
                                        </p:tav>
                                      </p:tavLst>
                                    </p:anim>
                                    <p:anim calcmode="lin" valueType="num">
                                      <p:cBhvr>
                                        <p:cTn id="168" dur="1000" fill="hold"/>
                                        <p:tgtEl>
                                          <p:spTgt spid="7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6" grpId="0" animBg="1"/>
      <p:bldP spid="7" grpId="0" animBg="1"/>
      <p:bldP spid="45" grpId="0" animBg="1"/>
      <p:bldP spid="47" grpId="0" animBg="1"/>
      <p:bldP spid="48" grpId="0" animBg="1"/>
      <p:bldP spid="49" grpId="0" animBg="1"/>
      <p:bldP spid="23" grpId="0" animBg="1"/>
      <p:bldP spid="44" grpId="0" animBg="1"/>
      <p:bldP spid="51" grpId="0" animBg="1"/>
      <p:bldP spid="52" grpId="0" animBg="1"/>
      <p:bldP spid="60" grpId="0" animBg="1"/>
      <p:bldP spid="61" grpId="0" animBg="1"/>
      <p:bldP spid="62" grpId="0" animBg="1"/>
      <p:bldP spid="64" grpId="0" animBg="1"/>
      <p:bldP spid="65" grpId="0"/>
      <p:bldP spid="66" grpId="0"/>
      <p:bldP spid="67" grpId="0"/>
      <p:bldP spid="68" grpId="0" animBg="1"/>
      <p:bldP spid="69" grpId="0" animBg="1"/>
      <p:bldP spid="70" grpId="0"/>
      <p:bldP spid="71" grpId="0"/>
      <p:bldP spid="72" grpId="0"/>
      <p:bldP spid="74"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7547" y="152400"/>
            <a:ext cx="8534400" cy="914400"/>
          </a:xfrm>
        </p:spPr>
        <p:txBody>
          <a:bodyPr/>
          <a:lstStyle/>
          <a:p>
            <a:r>
              <a:rPr lang="en-US" altLang="zh-TW" b="1" dirty="0" smtClean="0"/>
              <a:t>Azure </a:t>
            </a:r>
            <a:r>
              <a:rPr lang="zh-TW" altLang="en-US" b="1" dirty="0" smtClean="0"/>
              <a:t>雲端授權概觀</a:t>
            </a:r>
            <a:endParaRPr lang="zh-TW" altLang="en-US" b="1" dirty="0"/>
          </a:p>
        </p:txBody>
      </p:sp>
      <p:grpSp>
        <p:nvGrpSpPr>
          <p:cNvPr id="24" name="Group 23"/>
          <p:cNvGrpSpPr/>
          <p:nvPr/>
        </p:nvGrpSpPr>
        <p:grpSpPr>
          <a:xfrm>
            <a:off x="375844" y="2514600"/>
            <a:ext cx="8467144" cy="2779290"/>
            <a:chOff x="330555" y="1961695"/>
            <a:chExt cx="8467144" cy="2779290"/>
          </a:xfrm>
        </p:grpSpPr>
        <p:sp>
          <p:nvSpPr>
            <p:cNvPr id="25" name="TextBox 24"/>
            <p:cNvSpPr txBox="1"/>
            <p:nvPr/>
          </p:nvSpPr>
          <p:spPr>
            <a:xfrm>
              <a:off x="340834" y="2417914"/>
              <a:ext cx="2017337" cy="2323071"/>
            </a:xfrm>
            <a:prstGeom prst="rect">
              <a:avLst/>
            </a:prstGeom>
            <a:solidFill>
              <a:srgbClr val="008272"/>
            </a:solidFill>
            <a:ln>
              <a:noFill/>
            </a:ln>
            <a:extLst/>
          </p:spPr>
          <p:txBody>
            <a:bodyPr wrap="square" lIns="100834" tIns="67222" rIns="100834" bIns="67222" rtlCol="0" anchor="t" anchorCtr="0">
              <a:noAutofit/>
            </a:bodyPr>
            <a:lstStyle>
              <a:defPPr>
                <a:defRPr lang="en-US"/>
              </a:defPPr>
              <a:lvl1pPr algn="ctr">
                <a:defRPr sz="2400">
                  <a:ln>
                    <a:solidFill>
                      <a:srgbClr val="FFFFFF">
                        <a:alpha val="0"/>
                      </a:srgbClr>
                    </a:solidFill>
                  </a:ln>
                  <a:solidFill>
                    <a:srgbClr val="FFFFFF"/>
                  </a:solidFill>
                  <a:latin typeface="+mj-lt"/>
                  <a:ea typeface="Segoe UI" pitchFamily="34" charset="0"/>
                  <a:cs typeface="Segoe UI" pitchFamily="34" charset="0"/>
                </a:defRPr>
              </a:lvl1pPr>
            </a:lstStyle>
            <a:p>
              <a:pPr marL="39680" marR="0" lvl="0" indent="0" algn="l" defTabSz="685714"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rgbClr val="FFFFFF"/>
                  </a:solidFill>
                  <a:effectLst/>
                  <a:uLnTx/>
                  <a:uFillTx/>
                  <a:latin typeface="Segoe UI Light"/>
                  <a:cs typeface="Segoe UI" pitchFamily="34" charset="0"/>
                </a:rPr>
                <a:t>Pay As You Go</a:t>
              </a:r>
            </a:p>
          </p:txBody>
        </p:sp>
        <p:sp>
          <p:nvSpPr>
            <p:cNvPr id="26" name="Rectangle 25"/>
            <p:cNvSpPr/>
            <p:nvPr/>
          </p:nvSpPr>
          <p:spPr bwMode="auto">
            <a:xfrm>
              <a:off x="330555" y="2814841"/>
              <a:ext cx="2021099" cy="1853358"/>
            </a:xfrm>
            <a:prstGeom prst="rect">
              <a:avLst/>
            </a:prstGeom>
            <a:solidFill>
              <a:srgbClr val="FFFFFF">
                <a:lumMod val="95000"/>
              </a:srgbClr>
            </a:solidFill>
          </p:spPr>
          <p:txBody>
            <a:bodyPr vert="horz" wrap="square" lIns="67222" tIns="134445" rIns="67222" bIns="67222" rtlCol="0" anchor="ctr" anchorCtr="0">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85607" rtl="0" eaLnBrk="1" fontAlgn="auto" latinLnBrk="0" hangingPunct="1">
                <a:lnSpc>
                  <a:spcPct val="100000"/>
                </a:lnSpc>
                <a:spcBef>
                  <a:spcPts val="588"/>
                </a:spcBef>
                <a:spcAft>
                  <a:spcPts val="0"/>
                </a:spcAft>
                <a:buClrTx/>
                <a:buSzTx/>
                <a:buFontTx/>
                <a:buNone/>
                <a:tabLst/>
                <a:defRPr/>
              </a:pPr>
              <a:r>
                <a:rPr kumimoji="0" lang="zh-TW" altLang="en-US" sz="2100" b="0" i="0" u="none" strike="noStrike" kern="1200" cap="none" spc="0" normalizeH="0" baseline="0" noProof="0" dirty="0">
                  <a:ln>
                    <a:noFill/>
                  </a:ln>
                  <a:solidFill>
                    <a:srgbClr val="505050"/>
                  </a:solidFill>
                  <a:effectLst/>
                  <a:uLnTx/>
                  <a:uFillTx/>
                  <a:latin typeface="Segoe UI (Body)"/>
                  <a:ea typeface="微軟正黑體" panose="020B0604030504040204" pitchFamily="34" charset="-120"/>
                  <a:cs typeface="+mn-cs"/>
                </a:rPr>
                <a:t>沒有最低消費</a:t>
              </a:r>
              <a:r>
                <a:rPr kumimoji="0" lang="en-US" altLang="zh-TW" sz="2100" b="0" i="0" u="none" strike="noStrike" kern="1200" cap="none" spc="0" normalizeH="0" baseline="0" noProof="0" dirty="0">
                  <a:ln>
                    <a:noFill/>
                  </a:ln>
                  <a:solidFill>
                    <a:srgbClr val="505050"/>
                  </a:solidFill>
                  <a:effectLst/>
                  <a:uLnTx/>
                  <a:uFillTx/>
                  <a:latin typeface="Segoe UI (Body)"/>
                  <a:ea typeface="微軟正黑體" panose="020B0604030504040204" pitchFamily="34" charset="-120"/>
                  <a:cs typeface="+mn-cs"/>
                </a:rPr>
                <a:t> </a:t>
              </a:r>
              <a:r>
                <a:rPr kumimoji="0" lang="zh-TW" altLang="en-US" sz="2100" b="0" i="0" u="none" strike="noStrike" kern="1200" cap="none" spc="0" normalizeH="0" baseline="0" noProof="0" dirty="0">
                  <a:ln>
                    <a:noFill/>
                  </a:ln>
                  <a:solidFill>
                    <a:srgbClr val="505050"/>
                  </a:solidFill>
                  <a:effectLst/>
                  <a:uLnTx/>
                  <a:uFillTx/>
                  <a:latin typeface="Segoe UI (Body)"/>
                  <a:ea typeface="微軟正黑體" panose="020B0604030504040204" pitchFamily="34" charset="-120"/>
                  <a:cs typeface="+mn-cs"/>
                </a:rPr>
                <a:t>可隨時取消</a:t>
              </a:r>
              <a:endParaRPr kumimoji="0" lang="en-US" altLang="zh-TW" sz="2100" b="0" i="0" u="none" strike="noStrike" kern="1200" cap="none" spc="0" normalizeH="0" baseline="0" noProof="0" dirty="0">
                <a:ln>
                  <a:noFill/>
                </a:ln>
                <a:solidFill>
                  <a:srgbClr val="505050"/>
                </a:solidFill>
                <a:effectLst/>
                <a:uLnTx/>
                <a:uFillTx/>
                <a:latin typeface="Segoe UI (Body)"/>
                <a:ea typeface="微軟正黑體" panose="020B0604030504040204" pitchFamily="34" charset="-120"/>
                <a:cs typeface="+mn-cs"/>
              </a:endParaRPr>
            </a:p>
            <a:p>
              <a:pPr marL="0" marR="0" lvl="0" indent="0" algn="l" defTabSz="685607" rtl="0" eaLnBrk="1" fontAlgn="auto" latinLnBrk="0" hangingPunct="1">
                <a:lnSpc>
                  <a:spcPct val="100000"/>
                </a:lnSpc>
                <a:spcBef>
                  <a:spcPts val="588"/>
                </a:spcBef>
                <a:spcAft>
                  <a:spcPts val="0"/>
                </a:spcAft>
                <a:buClrTx/>
                <a:buSzTx/>
                <a:buFontTx/>
                <a:buNone/>
                <a:tabLst/>
                <a:defRPr/>
              </a:pPr>
              <a:r>
                <a:rPr kumimoji="0" lang="zh-TW" altLang="en-US" sz="2100" b="0" i="0" u="none" strike="noStrike" kern="1200" cap="none" spc="0" normalizeH="0" baseline="0" noProof="0" dirty="0">
                  <a:ln>
                    <a:noFill/>
                  </a:ln>
                  <a:solidFill>
                    <a:srgbClr val="505050"/>
                  </a:solidFill>
                  <a:effectLst/>
                  <a:uLnTx/>
                  <a:uFillTx/>
                  <a:latin typeface="Segoe UI (Body)"/>
                  <a:ea typeface="微軟正黑體" panose="020B0604030504040204" pitchFamily="34" charset="-120"/>
                  <a:cs typeface="+mn-cs"/>
                </a:rPr>
                <a:t>不需長期承諾</a:t>
              </a:r>
              <a:endParaRPr kumimoji="0" lang="en-US" sz="2100" b="0" i="0" u="none" strike="noStrike" kern="1200" cap="none" spc="0" normalizeH="0" baseline="0" noProof="0" dirty="0">
                <a:ln>
                  <a:noFill/>
                </a:ln>
                <a:solidFill>
                  <a:srgbClr val="505050"/>
                </a:solidFill>
                <a:effectLst/>
                <a:uLnTx/>
                <a:uFillTx/>
                <a:latin typeface="Segoe UI (Body)"/>
                <a:ea typeface="微軟正黑體" panose="020B0604030504040204" pitchFamily="34" charset="-120"/>
                <a:cs typeface="+mn-cs"/>
              </a:endParaRPr>
            </a:p>
          </p:txBody>
        </p:sp>
        <p:sp>
          <p:nvSpPr>
            <p:cNvPr id="27" name="TextBox 26"/>
            <p:cNvSpPr txBox="1"/>
            <p:nvPr/>
          </p:nvSpPr>
          <p:spPr>
            <a:xfrm>
              <a:off x="2480491" y="2409529"/>
              <a:ext cx="2017337" cy="2326467"/>
            </a:xfrm>
            <a:prstGeom prst="rect">
              <a:avLst/>
            </a:prstGeom>
            <a:solidFill>
              <a:srgbClr val="008272"/>
            </a:solidFill>
            <a:ln>
              <a:noFill/>
            </a:ln>
            <a:extLst/>
          </p:spPr>
          <p:txBody>
            <a:bodyPr wrap="square" lIns="100834" tIns="67222" rIns="100834" bIns="67222" rtlCol="0" anchor="t" anchorCtr="0">
              <a:noAutofit/>
            </a:bodyPr>
            <a:lstStyle>
              <a:defPPr>
                <a:defRPr lang="en-US"/>
              </a:defPPr>
              <a:lvl1pPr algn="ctr">
                <a:defRPr sz="2400">
                  <a:ln>
                    <a:solidFill>
                      <a:srgbClr val="FFFFFF">
                        <a:alpha val="0"/>
                      </a:srgbClr>
                    </a:solidFill>
                  </a:ln>
                  <a:solidFill>
                    <a:srgbClr val="FFFFFF"/>
                  </a:solidFill>
                  <a:latin typeface="+mj-lt"/>
                  <a:ea typeface="Segoe UI" pitchFamily="34" charset="0"/>
                  <a:cs typeface="Segoe UI" pitchFamily="34" charset="0"/>
                </a:defRPr>
              </a:lvl1pPr>
            </a:lstStyle>
            <a:p>
              <a:pPr marL="1168" marR="0" lvl="0" indent="0" algn="l" defTabSz="685714"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rgbClr val="FFFFFF"/>
                  </a:solidFill>
                  <a:effectLst/>
                  <a:uLnTx/>
                  <a:uFillTx/>
                  <a:latin typeface="Segoe UI Light"/>
                  <a:cs typeface="Segoe UI" pitchFamily="34" charset="0"/>
                </a:rPr>
                <a:t>6- or 12-months</a:t>
              </a:r>
            </a:p>
          </p:txBody>
        </p:sp>
        <p:sp>
          <p:nvSpPr>
            <p:cNvPr id="28" name="Rectangle 27"/>
            <p:cNvSpPr/>
            <p:nvPr/>
          </p:nvSpPr>
          <p:spPr bwMode="auto">
            <a:xfrm>
              <a:off x="2478607" y="2836563"/>
              <a:ext cx="2019848" cy="1853358"/>
            </a:xfrm>
            <a:prstGeom prst="rect">
              <a:avLst/>
            </a:prstGeom>
            <a:solidFill>
              <a:srgbClr val="FFFFFF">
                <a:lumMod val="95000"/>
              </a:srgbClr>
            </a:solidFill>
          </p:spPr>
          <p:txBody>
            <a:bodyPr vert="horz" wrap="square" lIns="67222" tIns="134445" rIns="67222" bIns="67222" rtlCol="0" anchor="ctr" anchorCtr="0">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85607" rtl="0" eaLnBrk="1" fontAlgn="auto" latinLnBrk="0" hangingPunct="1">
                <a:lnSpc>
                  <a:spcPct val="100000"/>
                </a:lnSpc>
                <a:spcBef>
                  <a:spcPts val="588"/>
                </a:spcBef>
                <a:spcAft>
                  <a:spcPts val="0"/>
                </a:spcAft>
                <a:buClrTx/>
                <a:buSzTx/>
                <a:buFontTx/>
                <a:buNone/>
                <a:tabLst/>
                <a:defRPr/>
              </a:pPr>
              <a:r>
                <a:rPr kumimoji="0" lang="zh-TW" altLang="en-US" sz="2100" b="0" i="0" u="none" strike="noStrike" kern="1200" cap="none" spc="0" normalizeH="0" baseline="0" noProof="0" dirty="0">
                  <a:ln>
                    <a:noFill/>
                  </a:ln>
                  <a:solidFill>
                    <a:srgbClr val="505050"/>
                  </a:solidFill>
                  <a:effectLst/>
                  <a:uLnTx/>
                  <a:uFillTx/>
                  <a:latin typeface="Segoe UI"/>
                  <a:ea typeface="+mn-ea"/>
                  <a:cs typeface="+mn-cs"/>
                </a:rPr>
                <a:t>承諾每個月至少</a:t>
              </a:r>
              <a:r>
                <a:rPr kumimoji="0" lang="en-US" altLang="zh-TW" sz="2100" b="0" i="0" u="none" strike="noStrike" kern="1200" cap="none" spc="0" normalizeH="0" baseline="0" noProof="0" dirty="0">
                  <a:ln>
                    <a:noFill/>
                  </a:ln>
                  <a:solidFill>
                    <a:srgbClr val="505050"/>
                  </a:solidFill>
                  <a:effectLst/>
                  <a:uLnTx/>
                  <a:uFillTx/>
                  <a:latin typeface="Segoe UI"/>
                  <a:ea typeface="+mn-ea"/>
                  <a:cs typeface="+mn-cs"/>
                </a:rPr>
                <a:t>NT$15,500 </a:t>
              </a:r>
              <a:r>
                <a:rPr kumimoji="0" lang="zh-TW" altLang="en-US" sz="2100" b="0" i="0" u="none" strike="noStrike" kern="1200" cap="none" spc="0" normalizeH="0" baseline="0" noProof="0" dirty="0">
                  <a:ln>
                    <a:noFill/>
                  </a:ln>
                  <a:solidFill>
                    <a:srgbClr val="505050"/>
                  </a:solidFill>
                  <a:effectLst/>
                  <a:uLnTx/>
                  <a:uFillTx/>
                  <a:latin typeface="Segoe UI"/>
                  <a:ea typeface="+mn-ea"/>
                  <a:cs typeface="+mn-cs"/>
                </a:rPr>
                <a:t>起跳</a:t>
              </a:r>
              <a:endParaRPr kumimoji="0" lang="en-US" sz="2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 name="TextBox 28"/>
            <p:cNvSpPr txBox="1"/>
            <p:nvPr/>
          </p:nvSpPr>
          <p:spPr>
            <a:xfrm>
              <a:off x="6780361" y="2409529"/>
              <a:ext cx="2017337" cy="2326467"/>
            </a:xfrm>
            <a:prstGeom prst="rect">
              <a:avLst/>
            </a:prstGeom>
            <a:solidFill>
              <a:srgbClr val="DC3C00"/>
            </a:solidFill>
            <a:ln>
              <a:noFill/>
            </a:ln>
            <a:extLst/>
          </p:spPr>
          <p:txBody>
            <a:bodyPr wrap="square" lIns="100834" tIns="67222" rIns="100834" bIns="67222" rtlCol="0" anchor="t" anchorCtr="0">
              <a:noAutofit/>
            </a:bodyPr>
            <a:lstStyle>
              <a:defPPr>
                <a:defRPr lang="en-US"/>
              </a:defPPr>
              <a:lvl1pPr algn="ctr">
                <a:defRPr sz="2400">
                  <a:ln>
                    <a:solidFill>
                      <a:srgbClr val="FFFFFF">
                        <a:alpha val="0"/>
                      </a:srgbClr>
                    </a:solidFill>
                  </a:ln>
                  <a:solidFill>
                    <a:srgbClr val="FFFFFF"/>
                  </a:solidFill>
                  <a:latin typeface="+mj-lt"/>
                  <a:ea typeface="Segoe UI" pitchFamily="34" charset="0"/>
                  <a:cs typeface="Segoe UI" pitchFamily="34" charset="0"/>
                </a:defRPr>
              </a:lvl1pPr>
            </a:lstStyle>
            <a:p>
              <a:pPr marL="39680" marR="0" lvl="0" indent="0" algn="l" defTabSz="685714"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rgbClr val="FFFFFF"/>
                  </a:solidFill>
                  <a:effectLst/>
                  <a:uLnTx/>
                  <a:uFillTx/>
                  <a:latin typeface="Segoe UI Light"/>
                  <a:cs typeface="Segoe UI" pitchFamily="34" charset="0"/>
                </a:rPr>
                <a:t>Longer-term</a:t>
              </a:r>
            </a:p>
          </p:txBody>
        </p:sp>
        <p:sp>
          <p:nvSpPr>
            <p:cNvPr id="30" name="Rectangle 29"/>
            <p:cNvSpPr/>
            <p:nvPr/>
          </p:nvSpPr>
          <p:spPr bwMode="auto">
            <a:xfrm>
              <a:off x="6777851" y="2814841"/>
              <a:ext cx="2019848" cy="1853358"/>
            </a:xfrm>
            <a:prstGeom prst="rect">
              <a:avLst/>
            </a:prstGeom>
            <a:solidFill>
              <a:srgbClr val="FFFFFF">
                <a:lumMod val="95000"/>
              </a:srgbClr>
            </a:solidFill>
          </p:spPr>
          <p:txBody>
            <a:bodyPr vert="horz" wrap="square" lIns="67222" tIns="134445" rIns="67222" bIns="67222" rtlCol="0" anchor="ctr" anchorCtr="0">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85607" rtl="0" eaLnBrk="1" fontAlgn="auto" latinLnBrk="0" hangingPunct="1">
                <a:lnSpc>
                  <a:spcPct val="100000"/>
                </a:lnSpc>
                <a:spcBef>
                  <a:spcPts val="588"/>
                </a:spcBef>
                <a:spcAft>
                  <a:spcPts val="0"/>
                </a:spcAft>
                <a:buClrTx/>
                <a:buSzTx/>
                <a:buFontTx/>
                <a:buNone/>
                <a:tabLst/>
                <a:defRPr/>
              </a:pPr>
              <a:r>
                <a:rPr kumimoji="0" lang="zh-TW" altLang="en-US" sz="2100" b="0" i="0" u="none" strike="noStrike" kern="1200" cap="none" spc="0" normalizeH="0" baseline="0" noProof="0" dirty="0">
                  <a:ln>
                    <a:noFill/>
                  </a:ln>
                  <a:solidFill>
                    <a:srgbClr val="505050"/>
                  </a:solidFill>
                  <a:effectLst/>
                  <a:uLnTx/>
                  <a:uFillTx/>
                  <a:latin typeface="Segoe UI"/>
                  <a:ea typeface="+mn-ea"/>
                  <a:cs typeface="+mn-cs"/>
                </a:rPr>
                <a:t>提供更深的優惠及價格保障</a:t>
              </a:r>
              <a:endParaRPr kumimoji="0" lang="en-US" sz="2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1" name="Right Brace 30"/>
            <p:cNvSpPr/>
            <p:nvPr/>
          </p:nvSpPr>
          <p:spPr>
            <a:xfrm rot="16200000">
              <a:off x="2349454" y="190502"/>
              <a:ext cx="136739" cy="4160010"/>
            </a:xfrm>
            <a:prstGeom prst="rightBrace">
              <a:avLst/>
            </a:prstGeom>
            <a:noFill/>
            <a:ln w="9525" cap="flat" cmpd="sng" algn="ctr">
              <a:solidFill>
                <a:srgbClr val="FFFFFF">
                  <a:lumMod val="50000"/>
                </a:srgbClr>
              </a:solidFill>
              <a:prstDash val="solid"/>
            </a:ln>
            <a:effectLst/>
          </p:spPr>
          <p:txBody>
            <a:bodyPr rtlCol="0" anchor="ctr"/>
            <a:lstStyle/>
            <a:p>
              <a:pPr marL="0" marR="0" lvl="0" indent="0" algn="ctr" defTabSz="685714"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smtClean="0">
                <a:ln>
                  <a:noFill/>
                </a:ln>
                <a:solidFill>
                  <a:srgbClr val="000000"/>
                </a:solidFill>
                <a:effectLst/>
                <a:uLnTx/>
                <a:uFillTx/>
                <a:latin typeface="Segoe UI"/>
                <a:ea typeface="+mn-ea"/>
                <a:cs typeface="Segoe UI" panose="020B0502040204020203" pitchFamily="34" charset="0"/>
              </a:endParaRPr>
            </a:p>
          </p:txBody>
        </p:sp>
        <p:sp>
          <p:nvSpPr>
            <p:cNvPr id="32" name="TextBox 31"/>
            <p:cNvSpPr txBox="1"/>
            <p:nvPr/>
          </p:nvSpPr>
          <p:spPr>
            <a:xfrm>
              <a:off x="380752" y="1962118"/>
              <a:ext cx="4077735" cy="203774"/>
            </a:xfrm>
            <a:prstGeom prst="rect">
              <a:avLst/>
            </a:prstGeom>
            <a:noFill/>
          </p:spPr>
          <p:txBody>
            <a:bodyPr wrap="square" lIns="0" tIns="0" rIns="0" bIns="0" rtlCol="0">
              <a:spAutoFit/>
            </a:bodyPr>
            <a:lstStyle/>
            <a:p>
              <a:pPr marL="0" marR="0" lvl="0" indent="0" algn="ctr" defTabSz="685714" eaLnBrk="1" fontAlgn="auto" latinLnBrk="0" hangingPunct="1">
                <a:lnSpc>
                  <a:spcPct val="100000"/>
                </a:lnSpc>
                <a:spcBef>
                  <a:spcPts val="0"/>
                </a:spcBef>
                <a:spcAft>
                  <a:spcPts val="0"/>
                </a:spcAft>
                <a:buClrTx/>
                <a:buSzTx/>
                <a:buFontTx/>
                <a:buNone/>
                <a:tabLst/>
                <a:defRPr/>
              </a:pPr>
              <a:r>
                <a:rPr kumimoji="0" lang="zh-TW" altLang="en-US" sz="1324" b="0" i="0" u="none" strike="noStrike" kern="0" cap="none" spc="0" normalizeH="0" baseline="0" noProof="0" dirty="0" smtClean="0">
                  <a:ln>
                    <a:noFill/>
                  </a:ln>
                  <a:solidFill>
                    <a:srgbClr val="505050"/>
                  </a:solidFill>
                  <a:effectLst/>
                  <a:uLnTx/>
                  <a:uFillTx/>
                  <a:latin typeface="Segoe UI Semibold" panose="020B0702040204020203" pitchFamily="34" charset="0"/>
                  <a:cs typeface="Segoe UI Semibold" panose="020B0702040204020203" pitchFamily="34" charset="0"/>
                </a:rPr>
                <a:t>直接在 </a:t>
              </a:r>
              <a:r>
                <a:rPr kumimoji="0" lang="en-US" sz="1324" b="0" i="0" u="none" strike="noStrike" kern="0" cap="none" spc="0" normalizeH="0" baseline="0" noProof="0" dirty="0" smtClean="0">
                  <a:ln>
                    <a:noFill/>
                  </a:ln>
                  <a:solidFill>
                    <a:srgbClr val="505050"/>
                  </a:solidFill>
                  <a:effectLst/>
                  <a:uLnTx/>
                  <a:uFillTx/>
                  <a:latin typeface="Segoe UI Semibold" panose="020B0702040204020203" pitchFamily="34" charset="0"/>
                  <a:cs typeface="Segoe UI Semibold" panose="020B0702040204020203" pitchFamily="34" charset="0"/>
                </a:rPr>
                <a:t>azure.Microsoft.com </a:t>
              </a:r>
              <a:r>
                <a:rPr kumimoji="0" lang="zh-TW" altLang="en-US" sz="1324" b="0" i="0" u="none" strike="noStrike" kern="0" cap="none" spc="0" normalizeH="0" baseline="0" noProof="0" dirty="0" smtClean="0">
                  <a:ln>
                    <a:noFill/>
                  </a:ln>
                  <a:solidFill>
                    <a:srgbClr val="505050"/>
                  </a:solidFill>
                  <a:effectLst/>
                  <a:uLnTx/>
                  <a:uFillTx/>
                  <a:latin typeface="Segoe UI Semibold" panose="020B0702040204020203" pitchFamily="34" charset="0"/>
                  <a:cs typeface="Segoe UI Semibold" panose="020B0702040204020203" pitchFamily="34" charset="0"/>
                </a:rPr>
                <a:t>採購</a:t>
              </a:r>
              <a:endParaRPr kumimoji="0" lang="en-US" sz="1324" b="0" i="0" u="none" strike="noStrike" kern="0" cap="none" spc="0" normalizeH="0" baseline="0" noProof="0" dirty="0" smtClean="0">
                <a:ln>
                  <a:noFill/>
                </a:ln>
                <a:solidFill>
                  <a:srgbClr val="505050"/>
                </a:solidFill>
                <a:effectLst/>
                <a:uLnTx/>
                <a:uFillTx/>
                <a:latin typeface="Segoe UI Semibold" panose="020B0702040204020203" pitchFamily="34" charset="0"/>
                <a:cs typeface="Segoe UI Semibold" panose="020B0702040204020203" pitchFamily="34" charset="0"/>
              </a:endParaRPr>
            </a:p>
          </p:txBody>
        </p:sp>
        <p:sp>
          <p:nvSpPr>
            <p:cNvPr id="33" name="Right Brace 32"/>
            <p:cNvSpPr/>
            <p:nvPr/>
          </p:nvSpPr>
          <p:spPr>
            <a:xfrm rot="16200000">
              <a:off x="7714886" y="1262170"/>
              <a:ext cx="136739" cy="2016669"/>
            </a:xfrm>
            <a:prstGeom prst="rightBrace">
              <a:avLst/>
            </a:prstGeom>
            <a:noFill/>
            <a:ln w="9525" cap="flat" cmpd="sng" algn="ctr">
              <a:solidFill>
                <a:srgbClr val="FFFFFF">
                  <a:lumMod val="50000"/>
                </a:srgbClr>
              </a:solidFill>
              <a:prstDash val="solid"/>
            </a:ln>
            <a:effectLst/>
          </p:spPr>
          <p:txBody>
            <a:bodyPr rtlCol="0" anchor="ctr"/>
            <a:lstStyle/>
            <a:p>
              <a:pPr marL="0" marR="0" lvl="0" indent="0" algn="ctr" defTabSz="685714"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smtClean="0">
                <a:ln>
                  <a:noFill/>
                </a:ln>
                <a:solidFill>
                  <a:srgbClr val="000000"/>
                </a:solidFill>
                <a:effectLst/>
                <a:uLnTx/>
                <a:uFillTx/>
                <a:latin typeface="Segoe UI"/>
                <a:ea typeface="+mn-ea"/>
                <a:cs typeface="Segoe UI" panose="020B0502040204020203" pitchFamily="34" charset="0"/>
              </a:endParaRPr>
            </a:p>
          </p:txBody>
        </p:sp>
        <p:sp>
          <p:nvSpPr>
            <p:cNvPr id="34" name="TextBox 33"/>
            <p:cNvSpPr txBox="1"/>
            <p:nvPr/>
          </p:nvSpPr>
          <p:spPr>
            <a:xfrm>
              <a:off x="6755317" y="1965496"/>
              <a:ext cx="2029272" cy="203774"/>
            </a:xfrm>
            <a:prstGeom prst="rect">
              <a:avLst/>
            </a:prstGeom>
            <a:noFill/>
          </p:spPr>
          <p:txBody>
            <a:bodyPr wrap="square" lIns="0" tIns="0" rIns="0" bIns="0" rtlCol="0">
              <a:spAutoFit/>
            </a:bodyPr>
            <a:lstStyle/>
            <a:p>
              <a:pPr marL="0" marR="0" lvl="0" indent="0" algn="ctr" defTabSz="685714" eaLnBrk="1" fontAlgn="auto" latinLnBrk="0" hangingPunct="1">
                <a:lnSpc>
                  <a:spcPct val="100000"/>
                </a:lnSpc>
                <a:spcBef>
                  <a:spcPts val="0"/>
                </a:spcBef>
                <a:spcAft>
                  <a:spcPts val="0"/>
                </a:spcAft>
                <a:buClrTx/>
                <a:buSzTx/>
                <a:buFontTx/>
                <a:buNone/>
                <a:tabLst/>
                <a:defRPr/>
              </a:pPr>
              <a:r>
                <a:rPr kumimoji="0" lang="en-US" altLang="zh-TW" sz="1324" b="0" i="0" u="none" strike="noStrike" kern="0" cap="none" spc="0" normalizeH="0" baseline="0" noProof="0" dirty="0" smtClean="0">
                  <a:ln>
                    <a:noFill/>
                  </a:ln>
                  <a:solidFill>
                    <a:srgbClr val="505050"/>
                  </a:solidFill>
                  <a:effectLst/>
                  <a:uLnTx/>
                  <a:uFillTx/>
                  <a:latin typeface="Segoe UI Semibold" panose="020B0702040204020203" pitchFamily="34" charset="0"/>
                  <a:cs typeface="Segoe UI Semibold" panose="020B0702040204020203" pitchFamily="34" charset="0"/>
                </a:rPr>
                <a:t>EA (</a:t>
              </a:r>
              <a:r>
                <a:rPr kumimoji="0" lang="en-US" sz="1324" b="0" i="0" u="none" strike="noStrike" kern="0" cap="none" spc="0" normalizeH="0" baseline="0" noProof="0" dirty="0" smtClean="0">
                  <a:ln>
                    <a:noFill/>
                  </a:ln>
                  <a:solidFill>
                    <a:srgbClr val="505050"/>
                  </a:solidFill>
                  <a:effectLst/>
                  <a:uLnTx/>
                  <a:uFillTx/>
                  <a:latin typeface="Segoe UI Semibold" panose="020B0702040204020203" pitchFamily="34" charset="0"/>
                  <a:cs typeface="Segoe UI Semibold" panose="020B0702040204020203" pitchFamily="34" charset="0"/>
                </a:rPr>
                <a:t>Enterprise Agreement</a:t>
              </a:r>
              <a:r>
                <a:rPr kumimoji="0" lang="en-US" altLang="zh-TW" sz="1324" b="0" i="0" u="none" strike="noStrike" kern="0" cap="none" spc="0" normalizeH="0" baseline="0" noProof="0" dirty="0" smtClean="0">
                  <a:ln>
                    <a:noFill/>
                  </a:ln>
                  <a:solidFill>
                    <a:srgbClr val="505050"/>
                  </a:solidFill>
                  <a:effectLst/>
                  <a:uLnTx/>
                  <a:uFillTx/>
                  <a:latin typeface="Segoe UI Semibold" panose="020B0702040204020203" pitchFamily="34" charset="0"/>
                  <a:cs typeface="Segoe UI Semibold" panose="020B0702040204020203" pitchFamily="34" charset="0"/>
                </a:rPr>
                <a:t>)</a:t>
              </a:r>
              <a:endParaRPr kumimoji="0" lang="en-US" sz="1324" b="0" i="0" u="none" strike="noStrike" kern="0" cap="none" spc="0" normalizeH="0" baseline="0" noProof="0" dirty="0" smtClean="0">
                <a:ln>
                  <a:noFill/>
                </a:ln>
                <a:solidFill>
                  <a:srgbClr val="505050"/>
                </a:solidFill>
                <a:effectLst/>
                <a:uLnTx/>
                <a:uFillTx/>
                <a:latin typeface="Segoe UI Semibold" panose="020B0702040204020203" pitchFamily="34" charset="0"/>
                <a:cs typeface="Segoe UI Semibold" panose="020B0702040204020203" pitchFamily="34" charset="0"/>
              </a:endParaRPr>
            </a:p>
          </p:txBody>
        </p:sp>
        <p:sp>
          <p:nvSpPr>
            <p:cNvPr id="35" name="TextBox 34"/>
            <p:cNvSpPr txBox="1"/>
            <p:nvPr/>
          </p:nvSpPr>
          <p:spPr>
            <a:xfrm>
              <a:off x="4630426" y="2405727"/>
              <a:ext cx="2017337" cy="2326467"/>
            </a:xfrm>
            <a:prstGeom prst="rect">
              <a:avLst/>
            </a:prstGeom>
            <a:solidFill>
              <a:srgbClr val="0072C6"/>
            </a:solidFill>
            <a:ln>
              <a:noFill/>
            </a:ln>
            <a:extLst/>
          </p:spPr>
          <p:txBody>
            <a:bodyPr wrap="square" lIns="100834" tIns="67222" rIns="100834" bIns="67222" rtlCol="0" anchor="t" anchorCtr="0">
              <a:noAutofit/>
            </a:bodyPr>
            <a:lstStyle>
              <a:defPPr>
                <a:defRPr lang="en-US"/>
              </a:defPPr>
              <a:lvl1pPr algn="ctr">
                <a:defRPr sz="2400">
                  <a:ln>
                    <a:solidFill>
                      <a:srgbClr val="FFFFFF">
                        <a:alpha val="0"/>
                      </a:srgbClr>
                    </a:solidFill>
                  </a:ln>
                  <a:solidFill>
                    <a:srgbClr val="FFFFFF"/>
                  </a:solidFill>
                  <a:latin typeface="+mj-lt"/>
                  <a:ea typeface="Segoe UI" pitchFamily="34" charset="0"/>
                  <a:cs typeface="Segoe UI" pitchFamily="34" charset="0"/>
                </a:defRPr>
              </a:lvl1pPr>
            </a:lstStyle>
            <a:p>
              <a:pPr marL="39680" marR="0" lvl="0" indent="0" algn="l" defTabSz="685714"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rgbClr val="FFFFFF"/>
                  </a:solidFill>
                  <a:effectLst/>
                  <a:uLnTx/>
                  <a:uFillTx/>
                  <a:latin typeface="Segoe UI Light"/>
                  <a:cs typeface="Segoe UI" pitchFamily="34" charset="0"/>
                </a:rPr>
                <a:t>12-months</a:t>
              </a:r>
            </a:p>
          </p:txBody>
        </p:sp>
        <p:sp>
          <p:nvSpPr>
            <p:cNvPr id="36" name="Rectangle 35"/>
            <p:cNvSpPr/>
            <p:nvPr/>
          </p:nvSpPr>
          <p:spPr bwMode="auto">
            <a:xfrm>
              <a:off x="4629169" y="2814841"/>
              <a:ext cx="2019848" cy="1853358"/>
            </a:xfrm>
            <a:prstGeom prst="rect">
              <a:avLst/>
            </a:prstGeom>
            <a:solidFill>
              <a:srgbClr val="FFFFFF">
                <a:lumMod val="95000"/>
              </a:srgbClr>
            </a:solidFill>
          </p:spPr>
          <p:txBody>
            <a:bodyPr vert="horz" wrap="square" lIns="67222" tIns="134445" rIns="67222" bIns="67222" rtlCol="0" anchor="ctr" anchorCtr="0">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85607" rtl="0" eaLnBrk="1" fontAlgn="auto" latinLnBrk="0" hangingPunct="1">
                <a:lnSpc>
                  <a:spcPct val="100000"/>
                </a:lnSpc>
                <a:spcBef>
                  <a:spcPts val="588"/>
                </a:spcBef>
                <a:spcAft>
                  <a:spcPts val="0"/>
                </a:spcAft>
                <a:buClrTx/>
                <a:buSzTx/>
                <a:buFontTx/>
                <a:buNone/>
                <a:tabLst/>
                <a:defRPr/>
              </a:pPr>
              <a:r>
                <a:rPr kumimoji="0" lang="zh-TW" altLang="en-US" sz="2100" b="0" i="0" u="none" strike="noStrike" kern="1200" cap="none" spc="0" normalizeH="0" baseline="0" noProof="0" dirty="0">
                  <a:ln>
                    <a:noFill/>
                  </a:ln>
                  <a:solidFill>
                    <a:srgbClr val="505050"/>
                  </a:solidFill>
                  <a:effectLst/>
                  <a:uLnTx/>
                  <a:uFillTx/>
                  <a:latin typeface="Segoe UI"/>
                  <a:ea typeface="+mn-ea"/>
                  <a:cs typeface="+mn-cs"/>
                </a:rPr>
                <a:t>更符合中小企業採購方式及金額</a:t>
              </a:r>
              <a:endParaRPr kumimoji="0" lang="en-US" altLang="zh-TW" sz="21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685607" rtl="0" eaLnBrk="1" fontAlgn="auto" latinLnBrk="0" hangingPunct="1">
                <a:lnSpc>
                  <a:spcPct val="100000"/>
                </a:lnSpc>
                <a:spcBef>
                  <a:spcPts val="588"/>
                </a:spcBef>
                <a:spcAft>
                  <a:spcPts val="0"/>
                </a:spcAft>
                <a:buClrTx/>
                <a:buSzTx/>
                <a:buFontTx/>
                <a:buNone/>
                <a:tabLst/>
                <a:defRPr/>
              </a:pPr>
              <a:r>
                <a:rPr kumimoji="0" lang="zh-TW" altLang="en-US" sz="2100" b="0" i="0" u="none" strike="noStrike" kern="1200" cap="none" spc="0" normalizeH="0" baseline="0" noProof="0" dirty="0">
                  <a:ln>
                    <a:noFill/>
                  </a:ln>
                  <a:solidFill>
                    <a:srgbClr val="505050"/>
                  </a:solidFill>
                  <a:effectLst/>
                  <a:uLnTx/>
                  <a:uFillTx/>
                  <a:latin typeface="Segoe UI"/>
                  <a:ea typeface="+mn-ea"/>
                  <a:cs typeface="+mn-cs"/>
                </a:rPr>
                <a:t>合作夥伴更多加值空間</a:t>
              </a:r>
              <a:endParaRPr kumimoji="0" lang="en-US" altLang="zh-TW" sz="21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685607" rtl="0" eaLnBrk="1" fontAlgn="auto" latinLnBrk="0" hangingPunct="1">
                <a:lnSpc>
                  <a:spcPct val="100000"/>
                </a:lnSpc>
                <a:spcBef>
                  <a:spcPts val="588"/>
                </a:spcBef>
                <a:spcAft>
                  <a:spcPts val="0"/>
                </a:spcAft>
                <a:buClrTx/>
                <a:buSzTx/>
                <a:buFontTx/>
                <a:buNone/>
                <a:tabLst/>
                <a:defRPr/>
              </a:pPr>
              <a:r>
                <a:rPr kumimoji="0" lang="en-US" altLang="zh-TW" sz="1324" b="0" i="0" u="none" strike="noStrike" kern="1200" cap="none" spc="0" normalizeH="0" baseline="0" noProof="0" dirty="0">
                  <a:ln>
                    <a:noFill/>
                  </a:ln>
                  <a:solidFill>
                    <a:srgbClr val="505050"/>
                  </a:solidFill>
                  <a:effectLst/>
                  <a:uLnTx/>
                  <a:uFillTx/>
                  <a:latin typeface="Segoe UI"/>
                  <a:ea typeface="+mn-ea"/>
                  <a:cs typeface="+mn-cs"/>
                </a:rPr>
                <a:t>NT$ 3,110 </a:t>
              </a:r>
              <a:r>
                <a:rPr kumimoji="0" lang="zh-TW" altLang="en-US" sz="1324" b="0" i="0" u="none" strike="noStrike" kern="1200" cap="none" spc="0" normalizeH="0" baseline="0" noProof="0" dirty="0">
                  <a:ln>
                    <a:noFill/>
                  </a:ln>
                  <a:solidFill>
                    <a:srgbClr val="505050"/>
                  </a:solidFill>
                  <a:effectLst/>
                  <a:uLnTx/>
                  <a:uFillTx/>
                  <a:latin typeface="Segoe UI"/>
                  <a:ea typeface="+mn-ea"/>
                  <a:cs typeface="+mn-cs"/>
                </a:rPr>
                <a:t>為一採購單位</a:t>
              </a:r>
              <a:endParaRPr kumimoji="0" lang="en-US" sz="1324" b="0" i="0" u="none" strike="noStrike" kern="1200" cap="none" spc="0" normalizeH="0" baseline="0" noProof="0" dirty="0">
                <a:ln>
                  <a:noFill/>
                </a:ln>
                <a:solidFill>
                  <a:srgbClr val="505050"/>
                </a:solidFill>
                <a:effectLst/>
                <a:uLnTx/>
                <a:uFillTx/>
                <a:latin typeface="Segoe UI"/>
                <a:ea typeface="+mn-ea"/>
                <a:cs typeface="+mn-cs"/>
              </a:endParaRPr>
            </a:p>
          </p:txBody>
        </p:sp>
        <p:sp>
          <p:nvSpPr>
            <p:cNvPr id="37" name="Right Brace 36"/>
            <p:cNvSpPr/>
            <p:nvPr/>
          </p:nvSpPr>
          <p:spPr>
            <a:xfrm rot="16200000">
              <a:off x="5578780" y="1262171"/>
              <a:ext cx="136739" cy="2016669"/>
            </a:xfrm>
            <a:prstGeom prst="rightBrace">
              <a:avLst/>
            </a:prstGeom>
            <a:noFill/>
            <a:ln w="9525" cap="flat" cmpd="sng" algn="ctr">
              <a:solidFill>
                <a:srgbClr val="FFFFFF">
                  <a:lumMod val="50000"/>
                </a:srgbClr>
              </a:solidFill>
              <a:prstDash val="solid"/>
            </a:ln>
            <a:effectLst/>
          </p:spPr>
          <p:txBody>
            <a:bodyPr rtlCol="0" anchor="ctr"/>
            <a:lstStyle/>
            <a:p>
              <a:pPr marL="0" marR="0" lvl="0" indent="0" algn="ctr" defTabSz="685714"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smtClean="0">
                <a:ln>
                  <a:noFill/>
                </a:ln>
                <a:solidFill>
                  <a:srgbClr val="000000"/>
                </a:solidFill>
                <a:effectLst/>
                <a:uLnTx/>
                <a:uFillTx/>
                <a:latin typeface="Segoe UI"/>
                <a:ea typeface="+mn-ea"/>
                <a:cs typeface="Segoe UI" panose="020B0502040204020203" pitchFamily="34" charset="0"/>
              </a:endParaRPr>
            </a:p>
          </p:txBody>
        </p:sp>
        <p:sp>
          <p:nvSpPr>
            <p:cNvPr id="38" name="TextBox 37"/>
            <p:cNvSpPr txBox="1"/>
            <p:nvPr/>
          </p:nvSpPr>
          <p:spPr>
            <a:xfrm>
              <a:off x="4507547" y="1961695"/>
              <a:ext cx="2196580" cy="203774"/>
            </a:xfrm>
            <a:prstGeom prst="rect">
              <a:avLst/>
            </a:prstGeom>
            <a:noFill/>
          </p:spPr>
          <p:txBody>
            <a:bodyPr wrap="square" lIns="0" tIns="0" rIns="0" bIns="0" rtlCol="0">
              <a:spAutoFit/>
            </a:bodyPr>
            <a:lstStyle/>
            <a:p>
              <a:pPr marL="0" marR="0" lvl="0" indent="0" algn="ctr" defTabSz="685714" eaLnBrk="1" fontAlgn="auto" latinLnBrk="0" hangingPunct="1">
                <a:lnSpc>
                  <a:spcPct val="100000"/>
                </a:lnSpc>
                <a:spcBef>
                  <a:spcPts val="0"/>
                </a:spcBef>
                <a:spcAft>
                  <a:spcPts val="0"/>
                </a:spcAft>
                <a:buClrTx/>
                <a:buSzTx/>
                <a:buFontTx/>
                <a:buNone/>
                <a:tabLst/>
                <a:defRPr/>
              </a:pPr>
              <a:r>
                <a:rPr kumimoji="0" lang="en-US" altLang="zh-TW" sz="1324" b="0" i="0" u="none" strike="noStrike" kern="0" cap="none" spc="0" normalizeH="0" baseline="0" noProof="0" dirty="0" smtClean="0">
                  <a:ln>
                    <a:noFill/>
                  </a:ln>
                  <a:solidFill>
                    <a:srgbClr val="505050"/>
                  </a:solidFill>
                  <a:effectLst/>
                  <a:uLnTx/>
                  <a:uFillTx/>
                  <a:latin typeface="Segoe UI Semibold" panose="020B0702040204020203" pitchFamily="34" charset="0"/>
                  <a:cs typeface="Segoe UI Semibold" panose="020B0702040204020203" pitchFamily="34" charset="0"/>
                </a:rPr>
                <a:t>Azure Open </a:t>
              </a:r>
              <a:endParaRPr kumimoji="0" lang="en-US" sz="1324" b="0" i="0" u="none" strike="noStrike" kern="0" cap="none" spc="0" normalizeH="0" baseline="0" noProof="0" dirty="0" smtClean="0">
                <a:ln>
                  <a:noFill/>
                </a:ln>
                <a:solidFill>
                  <a:srgbClr val="505050"/>
                </a:solidFill>
                <a:effectLst/>
                <a:uLnTx/>
                <a:uFillTx/>
                <a:latin typeface="Segoe UI Semibold" panose="020B0702040204020203" pitchFamily="34" charset="0"/>
                <a:cs typeface="Segoe UI Semibold" panose="020B0702040204020203" pitchFamily="34" charset="0"/>
              </a:endParaRPr>
            </a:p>
          </p:txBody>
        </p:sp>
        <p:sp>
          <p:nvSpPr>
            <p:cNvPr id="39" name="Isosceles Triangle 38"/>
            <p:cNvSpPr/>
            <p:nvPr/>
          </p:nvSpPr>
          <p:spPr bwMode="auto">
            <a:xfrm rot="10800000">
              <a:off x="2062731" y="2814841"/>
              <a:ext cx="173121" cy="173121"/>
            </a:xfrm>
            <a:prstGeom prst="triangle">
              <a:avLst>
                <a:gd name="adj" fmla="val 100000"/>
              </a:avLst>
            </a:prstGeom>
            <a:solidFill>
              <a:srgbClr val="008272"/>
            </a:solidFill>
            <a:ln w="9525" cap="flat" cmpd="sng" algn="ctr">
              <a:noFill/>
              <a:prstDash val="solid"/>
              <a:headEnd type="none" w="med" len="med"/>
              <a:tailEnd type="none" w="med" len="med"/>
            </a:ln>
            <a:effectLst/>
          </p:spPr>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marL="0" marR="0" lvl="0" indent="0" algn="ctr" defTabSz="685515" eaLnBrk="1" fontAlgn="base" latinLnBrk="0" hangingPunct="1">
                <a:lnSpc>
                  <a:spcPct val="90000"/>
                </a:lnSpc>
                <a:spcBef>
                  <a:spcPct val="0"/>
                </a:spcBef>
                <a:spcAft>
                  <a:spcPct val="0"/>
                </a:spcAft>
                <a:buClrTx/>
                <a:buSzTx/>
                <a:buFontTx/>
                <a:buNone/>
                <a:tabLst/>
                <a:defRPr/>
              </a:pPr>
              <a:endParaRPr kumimoji="0" lang="en-US" sz="1471"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Isosceles Triangle 39"/>
            <p:cNvSpPr/>
            <p:nvPr/>
          </p:nvSpPr>
          <p:spPr bwMode="auto">
            <a:xfrm rot="10800000">
              <a:off x="4212667" y="2814841"/>
              <a:ext cx="173121" cy="173121"/>
            </a:xfrm>
            <a:prstGeom prst="triangle">
              <a:avLst>
                <a:gd name="adj" fmla="val 100000"/>
              </a:avLst>
            </a:prstGeom>
            <a:solidFill>
              <a:srgbClr val="008272"/>
            </a:solidFill>
            <a:ln w="9525" cap="flat" cmpd="sng" algn="ctr">
              <a:noFill/>
              <a:prstDash val="solid"/>
              <a:headEnd type="none" w="med" len="med"/>
              <a:tailEnd type="none" w="med" len="med"/>
            </a:ln>
            <a:effectLst/>
          </p:spPr>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marL="0" marR="0" lvl="0" indent="0" algn="ctr" defTabSz="685515" eaLnBrk="1" fontAlgn="base" latinLnBrk="0" hangingPunct="1">
                <a:lnSpc>
                  <a:spcPct val="90000"/>
                </a:lnSpc>
                <a:spcBef>
                  <a:spcPct val="0"/>
                </a:spcBef>
                <a:spcAft>
                  <a:spcPct val="0"/>
                </a:spcAft>
                <a:buClrTx/>
                <a:buSzTx/>
                <a:buFontTx/>
                <a:buNone/>
                <a:tabLst/>
                <a:defRPr/>
              </a:pPr>
              <a:endParaRPr kumimoji="0" lang="en-US" sz="1471"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Isosceles Triangle 40"/>
            <p:cNvSpPr/>
            <p:nvPr/>
          </p:nvSpPr>
          <p:spPr bwMode="auto">
            <a:xfrm rot="10800000">
              <a:off x="6362604" y="2814841"/>
              <a:ext cx="173121" cy="173121"/>
            </a:xfrm>
            <a:prstGeom prst="triangle">
              <a:avLst>
                <a:gd name="adj" fmla="val 100000"/>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marL="0" marR="0" lvl="0" indent="0" algn="ctr" defTabSz="685515" eaLnBrk="1" fontAlgn="base" latinLnBrk="0" hangingPunct="1">
                <a:lnSpc>
                  <a:spcPct val="90000"/>
                </a:lnSpc>
                <a:spcBef>
                  <a:spcPct val="0"/>
                </a:spcBef>
                <a:spcAft>
                  <a:spcPct val="0"/>
                </a:spcAft>
                <a:buClrTx/>
                <a:buSzTx/>
                <a:buFontTx/>
                <a:buNone/>
                <a:tabLst/>
                <a:defRPr/>
              </a:pPr>
              <a:endParaRPr kumimoji="0" lang="en-US" sz="1471"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Isosceles Triangle 41"/>
            <p:cNvSpPr/>
            <p:nvPr/>
          </p:nvSpPr>
          <p:spPr bwMode="auto">
            <a:xfrm rot="10800000">
              <a:off x="8512540" y="2814841"/>
              <a:ext cx="173121" cy="173121"/>
            </a:xfrm>
            <a:prstGeom prst="triangle">
              <a:avLst>
                <a:gd name="adj" fmla="val 100000"/>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marL="0" marR="0" lvl="0" indent="0" algn="ctr" defTabSz="685515" eaLnBrk="1" fontAlgn="base" latinLnBrk="0" hangingPunct="1">
                <a:lnSpc>
                  <a:spcPct val="90000"/>
                </a:lnSpc>
                <a:spcBef>
                  <a:spcPct val="0"/>
                </a:spcBef>
                <a:spcAft>
                  <a:spcPct val="0"/>
                </a:spcAft>
                <a:buClrTx/>
                <a:buSzTx/>
                <a:buFontTx/>
                <a:buNone/>
                <a:tabLst/>
                <a:defRPr/>
              </a:pPr>
              <a:endParaRPr kumimoji="0" lang="en-US" sz="1471"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4" name="Content Placeholder 2"/>
          <p:cNvSpPr>
            <a:spLocks noGrp="1"/>
          </p:cNvSpPr>
          <p:nvPr>
            <p:ph idx="4294967295"/>
          </p:nvPr>
        </p:nvSpPr>
        <p:spPr>
          <a:xfrm>
            <a:off x="240200" y="1521312"/>
            <a:ext cx="4017756" cy="1143000"/>
          </a:xfrm>
          <a:prstGeom prst="rect">
            <a:avLst/>
          </a:prstGeom>
        </p:spPr>
        <p:txBody>
          <a:bodyPr>
            <a:noAutofit/>
          </a:bodyPr>
          <a:lstStyle/>
          <a:p>
            <a:r>
              <a:rPr lang="zh-TW" altLang="en-US" sz="1600" dirty="0" smtClean="0">
                <a:solidFill>
                  <a:srgbClr val="002060"/>
                </a:solidFill>
                <a:latin typeface="微軟正黑體" panose="020B0604030504040204" pitchFamily="34" charset="-120"/>
                <a:ea typeface="微軟正黑體" panose="020B0604030504040204" pitchFamily="34" charset="-120"/>
              </a:rPr>
              <a:t>網路訂閱 </a:t>
            </a:r>
            <a:r>
              <a:rPr lang="en-US" altLang="zh-TW" sz="1600" dirty="0" smtClean="0">
                <a:solidFill>
                  <a:srgbClr val="002060"/>
                </a:solidFill>
                <a:latin typeface="微軟正黑體" panose="020B0604030504040204" pitchFamily="34" charset="-120"/>
                <a:ea typeface="微軟正黑體" panose="020B0604030504040204" pitchFamily="34" charset="-120"/>
              </a:rPr>
              <a:t>: </a:t>
            </a:r>
          </a:p>
          <a:p>
            <a:pPr lvl="1">
              <a:buFont typeface="Wingdings" panose="05000000000000000000" pitchFamily="2" charset="2"/>
              <a:buChar char="ü"/>
            </a:pPr>
            <a:r>
              <a:rPr lang="zh-TW" altLang="en-US" sz="1100" dirty="0" smtClean="0">
                <a:solidFill>
                  <a:srgbClr val="002060"/>
                </a:solidFill>
                <a:latin typeface="微軟正黑體" panose="020B0604030504040204" pitchFamily="34" charset="-120"/>
                <a:ea typeface="微軟正黑體" panose="020B0604030504040204" pitchFamily="34" charset="-120"/>
              </a:rPr>
              <a:t>依所選的服務付費 </a:t>
            </a:r>
            <a:r>
              <a:rPr lang="en-US" altLang="zh-TW" sz="1100" dirty="0" smtClean="0">
                <a:solidFill>
                  <a:srgbClr val="002060"/>
                </a:solidFill>
                <a:latin typeface="微軟正黑體" panose="020B0604030504040204" pitchFamily="34" charset="-120"/>
                <a:ea typeface="微軟正黑體" panose="020B0604030504040204" pitchFamily="34" charset="-120"/>
              </a:rPr>
              <a:t>(</a:t>
            </a:r>
            <a:r>
              <a:rPr lang="zh-TW" altLang="en-US" sz="1100" dirty="0" smtClean="0">
                <a:solidFill>
                  <a:srgbClr val="002060"/>
                </a:solidFill>
                <a:latin typeface="微軟正黑體" panose="020B0604030504040204" pitchFamily="34" charset="-120"/>
                <a:ea typeface="微軟正黑體" panose="020B0604030504040204" pitchFamily="34" charset="-120"/>
              </a:rPr>
              <a:t>超過</a:t>
            </a:r>
            <a:r>
              <a:rPr lang="en-US" altLang="zh-TW" sz="1100" dirty="0" smtClean="0">
                <a:solidFill>
                  <a:srgbClr val="002060"/>
                </a:solidFill>
                <a:latin typeface="微軟正黑體" panose="020B0604030504040204" pitchFamily="34" charset="-120"/>
                <a:ea typeface="微軟正黑體" panose="020B0604030504040204" pitchFamily="34" charset="-120"/>
              </a:rPr>
              <a:t>30</a:t>
            </a:r>
            <a:r>
              <a:rPr lang="zh-TW" altLang="en-US" sz="1100" dirty="0" smtClean="0">
                <a:solidFill>
                  <a:srgbClr val="002060"/>
                </a:solidFill>
                <a:latin typeface="微軟正黑體" panose="020B0604030504040204" pitchFamily="34" charset="-120"/>
                <a:ea typeface="微軟正黑體" panose="020B0604030504040204" pitchFamily="34" charset="-120"/>
              </a:rPr>
              <a:t>項的服務</a:t>
            </a:r>
            <a:r>
              <a:rPr lang="en-US" altLang="zh-TW" sz="1100" dirty="0" smtClean="0">
                <a:solidFill>
                  <a:srgbClr val="002060"/>
                </a:solidFill>
                <a:latin typeface="微軟正黑體" panose="020B0604030504040204" pitchFamily="34" charset="-120"/>
                <a:ea typeface="微軟正黑體" panose="020B0604030504040204" pitchFamily="34" charset="-120"/>
              </a:rPr>
              <a:t>)</a:t>
            </a:r>
            <a:endParaRPr lang="en-US" altLang="zh-TW" sz="1100" dirty="0">
              <a:solidFill>
                <a:srgbClr val="002060"/>
              </a:solidFill>
              <a:latin typeface="微軟正黑體" panose="020B0604030504040204" pitchFamily="34" charset="-120"/>
              <a:ea typeface="微軟正黑體" panose="020B0604030504040204" pitchFamily="34" charset="-120"/>
            </a:endParaRPr>
          </a:p>
          <a:p>
            <a:pPr lvl="1">
              <a:buFont typeface="Wingdings" panose="05000000000000000000" pitchFamily="2" charset="2"/>
              <a:buChar char="ü"/>
            </a:pPr>
            <a:r>
              <a:rPr lang="zh-TW" altLang="en-US" sz="1100" dirty="0" smtClean="0">
                <a:solidFill>
                  <a:srgbClr val="002060"/>
                </a:solidFill>
                <a:latin typeface="微軟正黑體" panose="020B0604030504040204" pitchFamily="34" charset="-120"/>
                <a:ea typeface="微軟正黑體" panose="020B0604030504040204" pitchFamily="34" charset="-120"/>
              </a:rPr>
              <a:t>用多少付多少</a:t>
            </a:r>
            <a:endParaRPr lang="en-US" altLang="zh-TW" sz="1100" dirty="0" smtClean="0">
              <a:solidFill>
                <a:srgbClr val="002060"/>
              </a:solidFill>
              <a:latin typeface="微軟正黑體" panose="020B0604030504040204" pitchFamily="34" charset="-120"/>
              <a:ea typeface="微軟正黑體" panose="020B0604030504040204" pitchFamily="34" charset="-120"/>
            </a:endParaRPr>
          </a:p>
          <a:p>
            <a:pPr marL="0" indent="0">
              <a:buNone/>
            </a:pPr>
            <a:endParaRPr lang="en-US" altLang="zh-TW" sz="1800" dirty="0">
              <a:solidFill>
                <a:srgbClr val="002060"/>
              </a:solidFill>
              <a:latin typeface="微軟正黑體" panose="020B0604030504040204" pitchFamily="34" charset="-120"/>
              <a:ea typeface="微軟正黑體" panose="020B0604030504040204" pitchFamily="34" charset="-120"/>
            </a:endParaRPr>
          </a:p>
          <a:p>
            <a:endParaRPr lang="en-US" altLang="zh-TW" sz="1800" dirty="0" smtClean="0">
              <a:solidFill>
                <a:srgbClr val="002060"/>
              </a:solidFill>
              <a:latin typeface="微軟正黑體" panose="020B0604030504040204" pitchFamily="34" charset="-120"/>
              <a:ea typeface="微軟正黑體" panose="020B0604030504040204" pitchFamily="34" charset="-120"/>
            </a:endParaRPr>
          </a:p>
        </p:txBody>
      </p:sp>
      <p:sp>
        <p:nvSpPr>
          <p:cNvPr id="45" name="Content Placeholder 2"/>
          <p:cNvSpPr txBox="1">
            <a:spLocks/>
          </p:cNvSpPr>
          <p:nvPr/>
        </p:nvSpPr>
        <p:spPr>
          <a:xfrm>
            <a:off x="4643040" y="1439702"/>
            <a:ext cx="4674314" cy="1694760"/>
          </a:xfrm>
          <a:prstGeom prst="rect">
            <a:avLst/>
          </a:prstGeom>
        </p:spPr>
        <p:txBody>
          <a:bodyPr vert="horz" lIns="91440" tIns="45720" rIns="91440" bIns="45720" rtlCol="0">
            <a:noAutofit/>
          </a:bodyPr>
          <a:lstStyle>
            <a:lvl1pPr marL="342900" indent="-342900" algn="l" defTabSz="457200" rtl="0" eaLnBrk="1" latinLnBrk="0" hangingPunct="1">
              <a:spcBef>
                <a:spcPct val="20000"/>
              </a:spcBef>
              <a:buClr>
                <a:schemeClr val="tx2"/>
              </a:buClr>
              <a:buSzPct val="75000"/>
              <a:buFontTx/>
              <a:buBlip>
                <a:blip r:embed="rId2"/>
              </a:buBlip>
              <a:defRPr sz="2300" b="0" i="0" kern="1200">
                <a:gradFill>
                  <a:gsLst>
                    <a:gs pos="0">
                      <a:schemeClr val="tx1">
                        <a:lumMod val="75000"/>
                        <a:lumOff val="25000"/>
                      </a:schemeClr>
                    </a:gs>
                    <a:gs pos="100000">
                      <a:schemeClr val="tx1">
                        <a:lumMod val="75000"/>
                        <a:lumOff val="25000"/>
                      </a:schemeClr>
                    </a:gs>
                  </a:gsLst>
                  <a:lin ang="5400000" scaled="0"/>
                </a:gradFill>
                <a:latin typeface="+mn-lt"/>
                <a:ea typeface="+mn-ea"/>
                <a:cs typeface="Segoe"/>
              </a:defRPr>
            </a:lvl1pPr>
            <a:lvl2pPr marL="914400" indent="-457200" algn="l" defTabSz="457200" rtl="0" eaLnBrk="1" latinLnBrk="0" hangingPunct="1">
              <a:spcBef>
                <a:spcPct val="20000"/>
              </a:spcBef>
              <a:buClr>
                <a:schemeClr val="tx2"/>
              </a:buClr>
              <a:buSzPct val="75000"/>
              <a:buFontTx/>
              <a:buBlip>
                <a:blip r:embed="rId3"/>
              </a:buBlip>
              <a:defRPr sz="2100" b="0" i="0" kern="1200">
                <a:gradFill>
                  <a:gsLst>
                    <a:gs pos="0">
                      <a:schemeClr val="tx1">
                        <a:lumMod val="75000"/>
                        <a:lumOff val="25000"/>
                      </a:schemeClr>
                    </a:gs>
                    <a:gs pos="100000">
                      <a:schemeClr val="tx1">
                        <a:lumMod val="75000"/>
                        <a:lumOff val="25000"/>
                      </a:schemeClr>
                    </a:gs>
                  </a:gsLst>
                  <a:lin ang="5400000" scaled="0"/>
                </a:gradFill>
                <a:latin typeface="+mn-lt"/>
                <a:ea typeface="+mn-ea"/>
                <a:cs typeface="Segoe"/>
              </a:defRPr>
            </a:lvl2pPr>
            <a:lvl3pPr marL="1257300" indent="-342900" algn="l" defTabSz="457200" rtl="0" eaLnBrk="1" latinLnBrk="0" hangingPunct="1">
              <a:spcBef>
                <a:spcPct val="20000"/>
              </a:spcBef>
              <a:buClr>
                <a:schemeClr val="tx2"/>
              </a:buClr>
              <a:buSzPct val="75000"/>
              <a:buFontTx/>
              <a:buBlip>
                <a:blip r:embed="rId3"/>
              </a:buBlip>
              <a:defRPr sz="1800" b="0" i="0" kern="1200">
                <a:gradFill>
                  <a:gsLst>
                    <a:gs pos="0">
                      <a:schemeClr val="tx1">
                        <a:lumMod val="75000"/>
                        <a:lumOff val="25000"/>
                      </a:schemeClr>
                    </a:gs>
                    <a:gs pos="100000">
                      <a:schemeClr val="tx1">
                        <a:lumMod val="75000"/>
                        <a:lumOff val="25000"/>
                      </a:schemeClr>
                    </a:gs>
                  </a:gsLst>
                  <a:lin ang="5400000" scaled="0"/>
                </a:gradFill>
                <a:latin typeface="+mn-lt"/>
                <a:ea typeface="+mn-ea"/>
                <a:cs typeface="Segoe"/>
              </a:defRPr>
            </a:lvl3pPr>
            <a:lvl4pPr marL="1714500" indent="-342900" algn="l" defTabSz="457200" rtl="0" eaLnBrk="1" latinLnBrk="0" hangingPunct="1">
              <a:spcBef>
                <a:spcPct val="20000"/>
              </a:spcBef>
              <a:buClr>
                <a:schemeClr val="tx2"/>
              </a:buClr>
              <a:buSzPct val="75000"/>
              <a:buFontTx/>
              <a:buBlip>
                <a:blip r:embed="rId3"/>
              </a:buBlip>
              <a:defRPr sz="1800" b="0" i="0" u="none" kern="1200">
                <a:gradFill>
                  <a:gsLst>
                    <a:gs pos="0">
                      <a:schemeClr val="tx1">
                        <a:lumMod val="75000"/>
                        <a:lumOff val="25000"/>
                      </a:schemeClr>
                    </a:gs>
                    <a:gs pos="100000">
                      <a:schemeClr val="tx1">
                        <a:lumMod val="75000"/>
                        <a:lumOff val="25000"/>
                      </a:schemeClr>
                    </a:gs>
                  </a:gsLst>
                  <a:lin ang="5400000" scaled="0"/>
                </a:gradFill>
                <a:latin typeface="+mn-lt"/>
                <a:ea typeface="+mn-ea"/>
                <a:cs typeface="Segoe"/>
              </a:defRPr>
            </a:lvl4pPr>
            <a:lvl5pPr marL="2057400" indent="-228600" algn="l" defTabSz="457200" rtl="0" eaLnBrk="1" latinLnBrk="0" hangingPunct="1">
              <a:spcBef>
                <a:spcPct val="20000"/>
              </a:spcBef>
              <a:buFont typeface="Arial"/>
              <a:buChar char="»"/>
              <a:defRPr sz="2000" b="0" i="0" u="none" kern="1200">
                <a:solidFill>
                  <a:schemeClr val="tx1">
                    <a:lumMod val="75000"/>
                    <a:lumOff val="25000"/>
                  </a:schemeClr>
                </a:solidFill>
                <a:latin typeface="Segoe"/>
                <a:ea typeface="+mn-ea"/>
                <a:cs typeface="Sego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zh-TW" altLang="en-US" sz="1600" dirty="0">
                <a:solidFill>
                  <a:srgbClr val="002060"/>
                </a:solidFill>
                <a:latin typeface="微軟正黑體" panose="020B0604030504040204" pitchFamily="34" charset="-120"/>
                <a:ea typeface="微軟正黑體" panose="020B0604030504040204" pitchFamily="34" charset="-120"/>
              </a:rPr>
              <a:t>預付選項 </a:t>
            </a:r>
            <a:r>
              <a:rPr lang="en-US" altLang="zh-TW" sz="1600" dirty="0">
                <a:solidFill>
                  <a:srgbClr val="002060"/>
                </a:solidFill>
                <a:latin typeface="微軟正黑體" panose="020B0604030504040204" pitchFamily="34" charset="-120"/>
                <a:ea typeface="微軟正黑體" panose="020B0604030504040204" pitchFamily="34" charset="-120"/>
              </a:rPr>
              <a:t>: </a:t>
            </a:r>
          </a:p>
          <a:p>
            <a:pPr lvl="1">
              <a:buFont typeface="Wingdings" panose="05000000000000000000" pitchFamily="2" charset="2"/>
              <a:buChar char="ü"/>
            </a:pPr>
            <a:r>
              <a:rPr lang="en-US" altLang="zh-TW" sz="1100" dirty="0" smtClean="0">
                <a:solidFill>
                  <a:srgbClr val="002060"/>
                </a:solidFill>
                <a:latin typeface="微軟正黑體" panose="020B0604030504040204" pitchFamily="34" charset="-120"/>
                <a:ea typeface="微軟正黑體" panose="020B0604030504040204" pitchFamily="34" charset="-120"/>
              </a:rPr>
              <a:t>EA(Enterprise Agreement)</a:t>
            </a:r>
            <a:r>
              <a:rPr lang="zh-TW" altLang="en-US" sz="1100" dirty="0" smtClean="0">
                <a:solidFill>
                  <a:srgbClr val="002060"/>
                </a:solidFill>
                <a:latin typeface="微軟正黑體" panose="020B0604030504040204" pitchFamily="34" charset="-120"/>
                <a:ea typeface="微軟正黑體" panose="020B0604030504040204" pitchFamily="34" charset="-120"/>
              </a:rPr>
              <a:t>大量授權方案</a:t>
            </a:r>
            <a:endParaRPr lang="en-US" altLang="zh-TW" sz="1100" dirty="0" smtClean="0">
              <a:solidFill>
                <a:srgbClr val="002060"/>
              </a:solidFill>
              <a:latin typeface="微軟正黑體" panose="020B0604030504040204" pitchFamily="34" charset="-120"/>
              <a:ea typeface="微軟正黑體" panose="020B0604030504040204" pitchFamily="34" charset="-120"/>
            </a:endParaRPr>
          </a:p>
          <a:p>
            <a:pPr lvl="1">
              <a:buFont typeface="Wingdings" panose="05000000000000000000" pitchFamily="2" charset="2"/>
              <a:buChar char="ü"/>
            </a:pPr>
            <a:r>
              <a:rPr lang="en-US" altLang="zh-TW" sz="1100" dirty="0" smtClean="0">
                <a:solidFill>
                  <a:srgbClr val="002060"/>
                </a:solidFill>
                <a:latin typeface="微軟正黑體" panose="020B0604030504040204" pitchFamily="34" charset="-120"/>
                <a:ea typeface="微軟正黑體" panose="020B0604030504040204" pitchFamily="34" charset="-120"/>
              </a:rPr>
              <a:t>SCE(Server &amp; Cloud Enrollment) </a:t>
            </a:r>
            <a:r>
              <a:rPr lang="zh-TW" altLang="en-US" sz="1100" dirty="0" smtClean="0">
                <a:solidFill>
                  <a:srgbClr val="002060"/>
                </a:solidFill>
                <a:latin typeface="微軟正黑體" panose="020B0604030504040204" pitchFamily="34" charset="-120"/>
                <a:ea typeface="微軟正黑體" panose="020B0604030504040204" pitchFamily="34" charset="-120"/>
              </a:rPr>
              <a:t>大量授權方案</a:t>
            </a:r>
            <a:endParaRPr lang="en-US" altLang="zh-TW" sz="1100" dirty="0" smtClean="0">
              <a:solidFill>
                <a:srgbClr val="002060"/>
              </a:solidFill>
              <a:latin typeface="微軟正黑體" panose="020B0604030504040204" pitchFamily="34" charset="-120"/>
              <a:ea typeface="微軟正黑體" panose="020B0604030504040204" pitchFamily="34" charset="-120"/>
            </a:endParaRPr>
          </a:p>
          <a:p>
            <a:pPr lvl="1">
              <a:buFont typeface="Wingdings" panose="05000000000000000000" pitchFamily="2" charset="2"/>
              <a:buChar char="ü"/>
            </a:pPr>
            <a:r>
              <a:rPr lang="en-US" altLang="zh-TW" sz="1100" dirty="0" smtClean="0">
                <a:solidFill>
                  <a:srgbClr val="002060"/>
                </a:solidFill>
                <a:latin typeface="微軟正黑體" panose="020B0604030504040204" pitchFamily="34" charset="-120"/>
                <a:ea typeface="微軟正黑體" panose="020B0604030504040204" pitchFamily="34" charset="-120"/>
              </a:rPr>
              <a:t>Open</a:t>
            </a:r>
            <a:r>
              <a:rPr lang="zh-TW" altLang="en-US" sz="1100" dirty="0" smtClean="0">
                <a:solidFill>
                  <a:srgbClr val="002060"/>
                </a:solidFill>
                <a:latin typeface="微軟正黑體" panose="020B0604030504040204" pitchFamily="34" charset="-120"/>
                <a:ea typeface="微軟正黑體" panose="020B0604030504040204" pitchFamily="34" charset="-120"/>
              </a:rPr>
              <a:t>大量授權方案</a:t>
            </a:r>
            <a:endParaRPr lang="en-US" altLang="zh-TW" sz="1100" dirty="0" smtClean="0">
              <a:solidFill>
                <a:srgbClr val="002060"/>
              </a:solidFill>
              <a:latin typeface="微軟正黑體" panose="020B0604030504040204" pitchFamily="34" charset="-120"/>
              <a:ea typeface="微軟正黑體" panose="020B0604030504040204" pitchFamily="34" charset="-120"/>
            </a:endParaRPr>
          </a:p>
          <a:p>
            <a:pPr marL="0" indent="0">
              <a:buFontTx/>
              <a:buNone/>
            </a:pPr>
            <a:endParaRPr lang="en-US" altLang="zh-TW" sz="1200" dirty="0" smtClean="0"/>
          </a:p>
          <a:p>
            <a:endParaRPr lang="en-US" altLang="zh-TW" sz="1200" dirty="0" smtClean="0"/>
          </a:p>
        </p:txBody>
      </p:sp>
      <p:sp>
        <p:nvSpPr>
          <p:cNvPr id="3" name="投影片編號版面配置區 2"/>
          <p:cNvSpPr>
            <a:spLocks noGrp="1"/>
          </p:cNvSpPr>
          <p:nvPr>
            <p:ph type="sldNum" sz="quarter" idx="12"/>
          </p:nvPr>
        </p:nvSpPr>
        <p:spPr/>
        <p:txBody>
          <a:bodyPr/>
          <a:lstStyle/>
          <a:p>
            <a:pPr>
              <a:lnSpc>
                <a:spcPct val="90000"/>
              </a:lnSpc>
            </a:pPr>
            <a:fld id="{1BC86A1F-E589-44B2-A543-2EC98F5547A7}" type="slidenum">
              <a:rPr lang="en-US" altLang="zh-TW" smtClean="0">
                <a:gradFill>
                  <a:gsLst>
                    <a:gs pos="0">
                      <a:srgbClr val="505050"/>
                    </a:gs>
                    <a:gs pos="100000">
                      <a:srgbClr val="505050"/>
                    </a:gs>
                  </a:gsLst>
                  <a:lin ang="5400000" scaled="0"/>
                </a:gradFill>
              </a:rPr>
              <a:pPr>
                <a:lnSpc>
                  <a:spcPct val="90000"/>
                </a:lnSpc>
              </a:pPr>
              <a:t>58</a:t>
            </a:fld>
            <a:endParaRPr lang="zh-TW" altLang="en-US"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078249285"/>
      </p:ext>
    </p:extLst>
  </p:cSld>
  <p:clrMapOvr>
    <a:masterClrMapping/>
  </p:clrMapOvr>
  <p:transition>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7547" y="152400"/>
            <a:ext cx="8534400" cy="914400"/>
          </a:xfrm>
        </p:spPr>
        <p:txBody>
          <a:bodyPr/>
          <a:lstStyle/>
          <a:p>
            <a:r>
              <a:rPr lang="en-US" altLang="zh-TW" b="1" dirty="0" smtClean="0"/>
              <a:t>Azure </a:t>
            </a:r>
            <a:r>
              <a:rPr lang="zh-TW" altLang="en-US" b="1" dirty="0" smtClean="0"/>
              <a:t>雲端授權概觀</a:t>
            </a:r>
            <a:endParaRPr lang="zh-TW" altLang="en-US" b="1" dirty="0"/>
          </a:p>
        </p:txBody>
      </p:sp>
      <p:sp>
        <p:nvSpPr>
          <p:cNvPr id="3" name="Content Placeholder 2"/>
          <p:cNvSpPr>
            <a:spLocks noGrp="1"/>
          </p:cNvSpPr>
          <p:nvPr>
            <p:ph idx="4294967295"/>
          </p:nvPr>
        </p:nvSpPr>
        <p:spPr>
          <a:xfrm>
            <a:off x="347547" y="1600200"/>
            <a:ext cx="8534400" cy="4525963"/>
          </a:xfrm>
          <a:prstGeom prst="rect">
            <a:avLst/>
          </a:prstGeom>
        </p:spPr>
        <p:txBody>
          <a:bodyPr/>
          <a:lstStyle/>
          <a:p>
            <a:r>
              <a:rPr lang="zh-TW" altLang="en-US" dirty="0" smtClean="0"/>
              <a:t>預付選項 </a:t>
            </a:r>
            <a:r>
              <a:rPr lang="en-US" altLang="zh-TW" dirty="0" smtClean="0"/>
              <a:t>: </a:t>
            </a:r>
          </a:p>
          <a:p>
            <a:pPr lvl="1"/>
            <a:r>
              <a:rPr lang="en-US" altLang="zh-TW" dirty="0" smtClean="0"/>
              <a:t>EA(Enterprise Agreement)</a:t>
            </a:r>
            <a:r>
              <a:rPr lang="zh-TW" altLang="en-US" dirty="0" smtClean="0"/>
              <a:t>大量授權方案</a:t>
            </a:r>
            <a:endParaRPr lang="en-US" altLang="zh-TW" dirty="0" smtClean="0"/>
          </a:p>
          <a:p>
            <a:pPr lvl="1"/>
            <a:r>
              <a:rPr lang="en-US" altLang="zh-TW" dirty="0" smtClean="0"/>
              <a:t>SCE(Server &amp; Cloud Enrollment) </a:t>
            </a:r>
            <a:r>
              <a:rPr lang="zh-TW" altLang="en-US" dirty="0" smtClean="0"/>
              <a:t>大量授權方案</a:t>
            </a:r>
            <a:endParaRPr lang="en-US" altLang="zh-TW" dirty="0" smtClean="0"/>
          </a:p>
          <a:p>
            <a:pPr lvl="1"/>
            <a:r>
              <a:rPr lang="en-US" altLang="zh-TW" dirty="0" smtClean="0"/>
              <a:t>Open</a:t>
            </a:r>
            <a:r>
              <a:rPr lang="zh-TW" altLang="en-US" dirty="0" smtClean="0"/>
              <a:t>大量授權方案</a:t>
            </a:r>
            <a:endParaRPr lang="en-US" altLang="zh-TW" dirty="0" smtClean="0"/>
          </a:p>
          <a:p>
            <a:r>
              <a:rPr lang="zh-TW" altLang="en-US" dirty="0" smtClean="0"/>
              <a:t>線上計算機 </a:t>
            </a:r>
            <a:r>
              <a:rPr lang="en-US" altLang="zh-TW" dirty="0" smtClean="0"/>
              <a:t>:</a:t>
            </a:r>
          </a:p>
          <a:p>
            <a:pPr marL="0" indent="0">
              <a:buNone/>
            </a:pPr>
            <a:r>
              <a:rPr lang="en-US" altLang="zh-TW" dirty="0"/>
              <a:t> </a:t>
            </a:r>
            <a:r>
              <a:rPr lang="en-US" altLang="zh-TW" dirty="0" smtClean="0"/>
              <a:t>    </a:t>
            </a:r>
            <a:r>
              <a:rPr lang="en-US" altLang="zh-TW" dirty="0" smtClean="0">
                <a:hlinkClick r:id="rId2"/>
              </a:rPr>
              <a:t>http</a:t>
            </a:r>
            <a:r>
              <a:rPr lang="en-US" altLang="zh-TW" dirty="0">
                <a:hlinkClick r:id="rId2"/>
              </a:rPr>
              <a:t>://azure.microsoft.com/zh-tw/pricing/calculator</a:t>
            </a:r>
            <a:r>
              <a:rPr lang="en-US" altLang="zh-TW" dirty="0" smtClean="0">
                <a:hlinkClick r:id="rId2"/>
              </a:rPr>
              <a:t>/</a:t>
            </a:r>
            <a:endParaRPr lang="en-US" altLang="zh-TW" dirty="0" smtClean="0"/>
          </a:p>
          <a:p>
            <a:pPr marL="0" indent="0">
              <a:buNone/>
            </a:pPr>
            <a:endParaRPr lang="en-US" altLang="zh-TW" dirty="0"/>
          </a:p>
          <a:p>
            <a:endParaRPr lang="en-US" altLang="zh-TW" dirty="0" smtClean="0"/>
          </a:p>
        </p:txBody>
      </p:sp>
      <p:sp>
        <p:nvSpPr>
          <p:cNvPr id="4" name="投影片編號版面配置區 3"/>
          <p:cNvSpPr>
            <a:spLocks noGrp="1"/>
          </p:cNvSpPr>
          <p:nvPr>
            <p:ph type="sldNum" sz="quarter" idx="12"/>
          </p:nvPr>
        </p:nvSpPr>
        <p:spPr/>
        <p:txBody>
          <a:bodyPr/>
          <a:lstStyle/>
          <a:p>
            <a:pPr>
              <a:lnSpc>
                <a:spcPct val="90000"/>
              </a:lnSpc>
            </a:pPr>
            <a:fld id="{1BC86A1F-E589-44B2-A543-2EC98F5547A7}" type="slidenum">
              <a:rPr lang="en-US" altLang="zh-TW" smtClean="0">
                <a:gradFill>
                  <a:gsLst>
                    <a:gs pos="0">
                      <a:srgbClr val="505050"/>
                    </a:gs>
                    <a:gs pos="100000">
                      <a:srgbClr val="505050"/>
                    </a:gs>
                  </a:gsLst>
                  <a:lin ang="5400000" scaled="0"/>
                </a:gradFill>
              </a:rPr>
              <a:pPr>
                <a:lnSpc>
                  <a:spcPct val="90000"/>
                </a:lnSpc>
              </a:pPr>
              <a:t>59</a:t>
            </a:fld>
            <a:endParaRPr lang="zh-TW" altLang="en-US"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47543417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457200" y="338328"/>
            <a:ext cx="8229600" cy="6425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rgbClr val="FFFFFF"/>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l" fontAlgn="auto">
              <a:spcAft>
                <a:spcPts val="0"/>
              </a:spcAft>
            </a:pPr>
            <a:r>
              <a:rPr lang="en-US" sz="3200" b="0" dirty="0" smtClean="0">
                <a:solidFill>
                  <a:schemeClr val="tx1"/>
                </a:solidFill>
                <a:latin typeface="+mj-ea"/>
              </a:rPr>
              <a:t>Creative Cloud </a:t>
            </a:r>
            <a:r>
              <a:rPr lang="zh-TW" altLang="en-US" sz="3200" b="0" dirty="0" smtClean="0">
                <a:solidFill>
                  <a:schemeClr val="tx1"/>
                </a:solidFill>
                <a:latin typeface="+mj-ea"/>
              </a:rPr>
              <a:t>包含以下所有產品及服務</a:t>
            </a:r>
            <a:endParaRPr lang="en-US" sz="3200" b="0" dirty="0">
              <a:solidFill>
                <a:schemeClr val="tx1"/>
              </a:solidFill>
              <a:latin typeface="+mj-ea"/>
            </a:endParaRPr>
          </a:p>
        </p:txBody>
      </p:sp>
      <p:sp>
        <p:nvSpPr>
          <p:cNvPr id="5" name="Slide Number Placeholder 6"/>
          <p:cNvSpPr>
            <a:spLocks noGrp="1"/>
          </p:cNvSpPr>
          <p:nvPr>
            <p:ph type="sldNum" sz="quarter" idx="12"/>
          </p:nvPr>
        </p:nvSpPr>
        <p:spPr>
          <a:xfrm>
            <a:off x="3991088" y="6250163"/>
            <a:ext cx="1161826" cy="365125"/>
          </a:xfrm>
        </p:spPr>
        <p:txBody>
          <a:bodyPr/>
          <a:lstStyle/>
          <a:p>
            <a:pPr algn="ctr"/>
            <a:fld id="{90156F56-D5AE-4C6F-B826-C69D1BC521BB}" type="slidenum">
              <a:rPr lang="en-US" smtClean="0">
                <a:solidFill>
                  <a:prstClr val="white"/>
                </a:solidFill>
                <a:latin typeface="Adobe Clean"/>
              </a:rPr>
              <a:pPr algn="ctr"/>
              <a:t>6</a:t>
            </a:fld>
            <a:endParaRPr lang="en-US" dirty="0">
              <a:solidFill>
                <a:prstClr val="white"/>
              </a:solidFill>
              <a:latin typeface="Adobe Clean"/>
            </a:endParaRPr>
          </a:p>
        </p:txBody>
      </p:sp>
      <p:sp>
        <p:nvSpPr>
          <p:cNvPr id="6" name="TextBox 5"/>
          <p:cNvSpPr txBox="1"/>
          <p:nvPr/>
        </p:nvSpPr>
        <p:spPr>
          <a:xfrm>
            <a:off x="1638282" y="3560241"/>
            <a:ext cx="432811" cy="138499"/>
          </a:xfrm>
          <a:prstGeom prst="rect">
            <a:avLst/>
          </a:prstGeom>
          <a:noFill/>
        </p:spPr>
        <p:txBody>
          <a:bodyPr wrap="none" lIns="0" tIns="0" rIns="0" bIns="0" rtlCol="0">
            <a:spAutoFit/>
          </a:bodyPr>
          <a:lstStyle/>
          <a:p>
            <a:pPr algn="ctr"/>
            <a:r>
              <a:rPr lang="en-US" sz="900" b="0" dirty="0">
                <a:latin typeface="+mn-ea"/>
                <a:ea typeface="+mn-ea"/>
              </a:rPr>
              <a:t>InDesign</a:t>
            </a:r>
          </a:p>
        </p:txBody>
      </p:sp>
      <p:sp>
        <p:nvSpPr>
          <p:cNvPr id="7" name="TextBox 6"/>
          <p:cNvSpPr txBox="1"/>
          <p:nvPr/>
        </p:nvSpPr>
        <p:spPr>
          <a:xfrm>
            <a:off x="302802" y="4745596"/>
            <a:ext cx="692497" cy="138499"/>
          </a:xfrm>
          <a:prstGeom prst="rect">
            <a:avLst/>
          </a:prstGeom>
          <a:noFill/>
        </p:spPr>
        <p:txBody>
          <a:bodyPr wrap="none" lIns="0" tIns="0" rIns="0" bIns="0" rtlCol="0">
            <a:spAutoFit/>
          </a:bodyPr>
          <a:lstStyle/>
          <a:p>
            <a:pPr algn="ctr"/>
            <a:r>
              <a:rPr lang="en-US" sz="900" b="0" dirty="0">
                <a:latin typeface="+mn-ea"/>
                <a:ea typeface="+mn-ea"/>
              </a:rPr>
              <a:t>Dreamweaver</a:t>
            </a:r>
          </a:p>
        </p:txBody>
      </p:sp>
      <p:sp>
        <p:nvSpPr>
          <p:cNvPr id="8" name="TextBox 7"/>
          <p:cNvSpPr txBox="1"/>
          <p:nvPr/>
        </p:nvSpPr>
        <p:spPr>
          <a:xfrm>
            <a:off x="791587" y="5901020"/>
            <a:ext cx="891270" cy="138499"/>
          </a:xfrm>
          <a:prstGeom prst="rect">
            <a:avLst/>
          </a:prstGeom>
          <a:noFill/>
        </p:spPr>
        <p:txBody>
          <a:bodyPr wrap="none" lIns="0" tIns="0" rIns="0" bIns="0" rtlCol="0">
            <a:spAutoFit/>
          </a:bodyPr>
          <a:lstStyle/>
          <a:p>
            <a:pPr algn="ctr"/>
            <a:r>
              <a:rPr lang="en-US" altLang="zh-TW" sz="900" b="0" dirty="0" smtClean="0">
                <a:latin typeface="+mn-ea"/>
                <a:ea typeface="+mn-ea"/>
              </a:rPr>
              <a:t>Edge </a:t>
            </a:r>
            <a:r>
              <a:rPr lang="zh-TW" altLang="en-US" sz="900" b="0" dirty="0" smtClean="0">
                <a:latin typeface="+mn-ea"/>
                <a:ea typeface="+mn-ea"/>
              </a:rPr>
              <a:t>工具</a:t>
            </a:r>
            <a:r>
              <a:rPr lang="en-US" sz="900" b="0" dirty="0" smtClean="0">
                <a:latin typeface="+mn-ea"/>
                <a:ea typeface="+mn-ea"/>
              </a:rPr>
              <a:t> &amp; </a:t>
            </a:r>
            <a:r>
              <a:rPr lang="zh-TW" altLang="en-US" sz="900" b="0" dirty="0" smtClean="0">
                <a:latin typeface="+mn-ea"/>
                <a:ea typeface="+mn-ea"/>
              </a:rPr>
              <a:t>服務</a:t>
            </a:r>
            <a:endParaRPr lang="en-US" sz="900" b="0" dirty="0">
              <a:latin typeface="+mn-ea"/>
              <a:ea typeface="+mn-ea"/>
            </a:endParaRPr>
          </a:p>
        </p:txBody>
      </p:sp>
      <p:sp>
        <p:nvSpPr>
          <p:cNvPr id="9" name="TextBox 8"/>
          <p:cNvSpPr txBox="1"/>
          <p:nvPr/>
        </p:nvSpPr>
        <p:spPr>
          <a:xfrm>
            <a:off x="378632" y="4074333"/>
            <a:ext cx="458459" cy="276999"/>
          </a:xfrm>
          <a:prstGeom prst="rect">
            <a:avLst/>
          </a:prstGeom>
          <a:noFill/>
        </p:spPr>
        <p:txBody>
          <a:bodyPr wrap="none" lIns="0" tIns="0" rIns="0" bIns="0" rtlCol="0">
            <a:spAutoFit/>
          </a:bodyPr>
          <a:lstStyle/>
          <a:p>
            <a:pPr algn="ctr"/>
            <a:r>
              <a:rPr lang="en-US" sz="900" b="0" dirty="0">
                <a:latin typeface="+mn-ea"/>
                <a:ea typeface="+mn-ea"/>
              </a:rPr>
              <a:t>Premiere</a:t>
            </a:r>
            <a:br>
              <a:rPr lang="en-US" sz="900" b="0" dirty="0">
                <a:latin typeface="+mn-ea"/>
                <a:ea typeface="+mn-ea"/>
              </a:rPr>
            </a:br>
            <a:r>
              <a:rPr lang="en-US" sz="900" b="0" dirty="0">
                <a:latin typeface="+mn-ea"/>
                <a:ea typeface="+mn-ea"/>
              </a:rPr>
              <a:t>Pro</a:t>
            </a:r>
          </a:p>
        </p:txBody>
      </p:sp>
      <p:sp>
        <p:nvSpPr>
          <p:cNvPr id="10" name="TextBox 9"/>
          <p:cNvSpPr txBox="1"/>
          <p:nvPr/>
        </p:nvSpPr>
        <p:spPr>
          <a:xfrm>
            <a:off x="1087057" y="4074333"/>
            <a:ext cx="341439" cy="276999"/>
          </a:xfrm>
          <a:prstGeom prst="rect">
            <a:avLst/>
          </a:prstGeom>
          <a:noFill/>
        </p:spPr>
        <p:txBody>
          <a:bodyPr wrap="none" lIns="0" tIns="0" rIns="0" bIns="0" rtlCol="0">
            <a:spAutoFit/>
          </a:bodyPr>
          <a:lstStyle/>
          <a:p>
            <a:pPr algn="ctr"/>
            <a:r>
              <a:rPr lang="en-US" sz="900" b="0" dirty="0">
                <a:latin typeface="+mn-ea"/>
                <a:ea typeface="+mn-ea"/>
              </a:rPr>
              <a:t>After</a:t>
            </a:r>
            <a:br>
              <a:rPr lang="en-US" sz="900" b="0" dirty="0">
                <a:latin typeface="+mn-ea"/>
                <a:ea typeface="+mn-ea"/>
              </a:rPr>
            </a:br>
            <a:r>
              <a:rPr lang="en-US" sz="900" b="0" dirty="0">
                <a:latin typeface="+mn-ea"/>
                <a:ea typeface="+mn-ea"/>
              </a:rPr>
              <a:t>Effects</a:t>
            </a:r>
          </a:p>
        </p:txBody>
      </p:sp>
      <p:sp>
        <p:nvSpPr>
          <p:cNvPr id="11" name="TextBox 10"/>
          <p:cNvSpPr txBox="1"/>
          <p:nvPr/>
        </p:nvSpPr>
        <p:spPr>
          <a:xfrm>
            <a:off x="1015591" y="4739260"/>
            <a:ext cx="463267" cy="138499"/>
          </a:xfrm>
          <a:prstGeom prst="rect">
            <a:avLst/>
          </a:prstGeom>
          <a:noFill/>
        </p:spPr>
        <p:txBody>
          <a:bodyPr wrap="none" lIns="0" tIns="0" rIns="0" bIns="0" rtlCol="0">
            <a:spAutoFit/>
          </a:bodyPr>
          <a:lstStyle/>
          <a:p>
            <a:pPr algn="ctr"/>
            <a:r>
              <a:rPr lang="en-US" sz="900" b="0" dirty="0">
                <a:latin typeface="+mn-ea"/>
                <a:ea typeface="+mn-ea"/>
              </a:rPr>
              <a:t>Flash Pro</a:t>
            </a:r>
          </a:p>
        </p:txBody>
      </p:sp>
      <p:sp>
        <p:nvSpPr>
          <p:cNvPr id="12" name="TextBox 11"/>
          <p:cNvSpPr txBox="1"/>
          <p:nvPr/>
        </p:nvSpPr>
        <p:spPr>
          <a:xfrm>
            <a:off x="338848" y="3560241"/>
            <a:ext cx="528991" cy="138499"/>
          </a:xfrm>
          <a:prstGeom prst="rect">
            <a:avLst/>
          </a:prstGeom>
          <a:noFill/>
        </p:spPr>
        <p:txBody>
          <a:bodyPr wrap="none" lIns="0" tIns="0" rIns="0" bIns="0" rtlCol="0">
            <a:spAutoFit/>
          </a:bodyPr>
          <a:lstStyle/>
          <a:p>
            <a:pPr algn="ctr"/>
            <a:r>
              <a:rPr lang="en-US" sz="900" b="0" dirty="0">
                <a:latin typeface="+mn-ea"/>
                <a:ea typeface="+mn-ea"/>
              </a:rPr>
              <a:t>Photoshop</a:t>
            </a:r>
          </a:p>
        </p:txBody>
      </p:sp>
      <p:sp>
        <p:nvSpPr>
          <p:cNvPr id="13" name="TextBox 12"/>
          <p:cNvSpPr txBox="1"/>
          <p:nvPr/>
        </p:nvSpPr>
        <p:spPr>
          <a:xfrm>
            <a:off x="993610" y="3560241"/>
            <a:ext cx="477695" cy="138499"/>
          </a:xfrm>
          <a:prstGeom prst="rect">
            <a:avLst/>
          </a:prstGeom>
          <a:noFill/>
        </p:spPr>
        <p:txBody>
          <a:bodyPr wrap="none" lIns="0" tIns="0" rIns="0" bIns="0" rtlCol="0">
            <a:spAutoFit/>
          </a:bodyPr>
          <a:lstStyle/>
          <a:p>
            <a:pPr algn="ctr"/>
            <a:r>
              <a:rPr lang="en-US" sz="900" b="0" dirty="0">
                <a:latin typeface="+mn-ea"/>
                <a:ea typeface="+mn-ea"/>
              </a:rPr>
              <a:t>Illustrator</a:t>
            </a:r>
          </a:p>
        </p:txBody>
      </p:sp>
      <p:sp>
        <p:nvSpPr>
          <p:cNvPr id="14" name="TextBox 13"/>
          <p:cNvSpPr txBox="1"/>
          <p:nvPr/>
        </p:nvSpPr>
        <p:spPr>
          <a:xfrm>
            <a:off x="1650337" y="4731048"/>
            <a:ext cx="480901" cy="138499"/>
          </a:xfrm>
          <a:prstGeom prst="rect">
            <a:avLst/>
          </a:prstGeom>
          <a:noFill/>
        </p:spPr>
        <p:txBody>
          <a:bodyPr wrap="none" lIns="0" tIns="0" rIns="0" bIns="0" rtlCol="0">
            <a:spAutoFit/>
          </a:bodyPr>
          <a:lstStyle/>
          <a:p>
            <a:pPr algn="ctr"/>
            <a:r>
              <a:rPr lang="en-US" sz="900" b="0" dirty="0">
                <a:latin typeface="+mn-ea"/>
                <a:ea typeface="+mn-ea"/>
              </a:rPr>
              <a:t>Fireworks</a:t>
            </a:r>
          </a:p>
        </p:txBody>
      </p:sp>
      <p:sp>
        <p:nvSpPr>
          <p:cNvPr id="15" name="TextBox 14"/>
          <p:cNvSpPr txBox="1"/>
          <p:nvPr/>
        </p:nvSpPr>
        <p:spPr>
          <a:xfrm>
            <a:off x="1682470" y="5300707"/>
            <a:ext cx="384721" cy="138499"/>
          </a:xfrm>
          <a:prstGeom prst="rect">
            <a:avLst/>
          </a:prstGeom>
          <a:noFill/>
        </p:spPr>
        <p:txBody>
          <a:bodyPr wrap="none" lIns="0" tIns="0" rIns="0" bIns="0" rtlCol="0">
            <a:spAutoFit/>
          </a:bodyPr>
          <a:lstStyle/>
          <a:p>
            <a:pPr algn="ctr"/>
            <a:r>
              <a:rPr lang="en-US" sz="900" b="0" dirty="0">
                <a:latin typeface="+mn-ea"/>
                <a:ea typeface="+mn-ea"/>
              </a:rPr>
              <a:t>Acrobat</a:t>
            </a:r>
          </a:p>
        </p:txBody>
      </p:sp>
      <p:pic>
        <p:nvPicPr>
          <p:cNvPr id="16" name="Picture 1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86045" y="3314697"/>
            <a:ext cx="220942" cy="215418"/>
          </a:xfrm>
          <a:prstGeom prst="rect">
            <a:avLst/>
          </a:prstGeom>
          <a:effectLst>
            <a:outerShdw blurRad="38100" dist="12700" dir="2700000" algn="tl" rotWithShape="0">
              <a:prstClr val="black">
                <a:alpha val="40000"/>
              </a:prstClr>
            </a:outerShdw>
          </a:effectLst>
        </p:spPr>
      </p:pic>
      <p:pic>
        <p:nvPicPr>
          <p:cNvPr id="17" name="Picture 1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29928" y="3835857"/>
            <a:ext cx="220942" cy="215418"/>
          </a:xfrm>
          <a:prstGeom prst="rect">
            <a:avLst/>
          </a:prstGeom>
          <a:effectLst>
            <a:outerShdw blurRad="38100" dist="12700" dir="2700000" algn="tl" rotWithShape="0">
              <a:prstClr val="black">
                <a:alpha val="40000"/>
              </a:prstClr>
            </a:outerShdw>
          </a:effectLst>
        </p:spPr>
      </p:pic>
      <p:pic>
        <p:nvPicPr>
          <p:cNvPr id="18" name="Picture 1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95685" y="3835397"/>
            <a:ext cx="220942" cy="216339"/>
          </a:xfrm>
          <a:prstGeom prst="rect">
            <a:avLst/>
          </a:prstGeom>
          <a:effectLst>
            <a:outerShdw blurRad="38100" dist="12700" dir="2700000" algn="tl" rotWithShape="0">
              <a:prstClr val="black">
                <a:alpha val="40000"/>
              </a:prstClr>
            </a:outerShdw>
          </a:effectLst>
        </p:spPr>
      </p:pic>
      <p:pic>
        <p:nvPicPr>
          <p:cNvPr id="19" name="Picture 1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03725" y="4497313"/>
            <a:ext cx="220942" cy="215418"/>
          </a:xfrm>
          <a:prstGeom prst="rect">
            <a:avLst/>
          </a:prstGeom>
          <a:effectLst>
            <a:outerShdw blurRad="38100" dist="12700" dir="2700000" algn="tl" rotWithShape="0">
              <a:prstClr val="black">
                <a:alpha val="40000"/>
              </a:prstClr>
            </a:outerShdw>
          </a:effectLst>
        </p:spPr>
      </p:pic>
      <p:pic>
        <p:nvPicPr>
          <p:cNvPr id="20" name="Picture 19"/>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783564" y="4492571"/>
            <a:ext cx="220942" cy="215418"/>
          </a:xfrm>
          <a:prstGeom prst="rect">
            <a:avLst/>
          </a:prstGeom>
          <a:effectLst>
            <a:outerShdw blurRad="38100" dist="12700" dir="2700000" algn="tl" rotWithShape="0">
              <a:prstClr val="black">
                <a:alpha val="40000"/>
              </a:prstClr>
            </a:outerShdw>
          </a:effectLst>
        </p:spPr>
      </p:pic>
      <p:pic>
        <p:nvPicPr>
          <p:cNvPr id="21" name="Picture 20"/>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129928" y="4495501"/>
            <a:ext cx="220942" cy="216339"/>
          </a:xfrm>
          <a:prstGeom prst="rect">
            <a:avLst/>
          </a:prstGeom>
          <a:effectLst>
            <a:outerShdw blurRad="38100" dist="12700" dir="2700000" algn="tl" rotWithShape="0">
              <a:prstClr val="black">
                <a:alpha val="40000"/>
              </a:prstClr>
            </a:outerShdw>
          </a:effectLst>
        </p:spPr>
      </p:pic>
      <p:pic>
        <p:nvPicPr>
          <p:cNvPr id="22" name="Picture 2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120285" y="3321914"/>
            <a:ext cx="220942" cy="216339"/>
          </a:xfrm>
          <a:prstGeom prst="rect">
            <a:avLst/>
          </a:prstGeom>
          <a:effectLst>
            <a:outerShdw blurRad="38100" dist="12700" dir="2700000" algn="tl" rotWithShape="0">
              <a:prstClr val="black">
                <a:alpha val="40000"/>
              </a:prstClr>
            </a:outerShdw>
          </a:effectLst>
        </p:spPr>
      </p:pic>
      <p:pic>
        <p:nvPicPr>
          <p:cNvPr id="23" name="Picture 22"/>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754527" y="3322369"/>
            <a:ext cx="220942" cy="215418"/>
          </a:xfrm>
          <a:prstGeom prst="rect">
            <a:avLst/>
          </a:prstGeom>
          <a:effectLst>
            <a:outerShdw blurRad="38100" dist="12700" dir="2700000" algn="tl" rotWithShape="0">
              <a:prstClr val="black">
                <a:alpha val="40000"/>
              </a:prstClr>
            </a:outerShdw>
          </a:effectLst>
        </p:spPr>
      </p:pic>
      <p:sp>
        <p:nvSpPr>
          <p:cNvPr id="24" name="TextBox 23"/>
          <p:cNvSpPr txBox="1"/>
          <p:nvPr/>
        </p:nvSpPr>
        <p:spPr>
          <a:xfrm>
            <a:off x="486607" y="5306707"/>
            <a:ext cx="269304" cy="138499"/>
          </a:xfrm>
          <a:prstGeom prst="rect">
            <a:avLst/>
          </a:prstGeom>
          <a:noFill/>
        </p:spPr>
        <p:txBody>
          <a:bodyPr wrap="none" lIns="0" tIns="0" rIns="0" bIns="0" rtlCol="0">
            <a:spAutoFit/>
          </a:bodyPr>
          <a:lstStyle/>
          <a:p>
            <a:pPr algn="ctr"/>
            <a:r>
              <a:rPr lang="en-US" sz="900" b="0" dirty="0">
                <a:latin typeface="+mn-ea"/>
                <a:ea typeface="+mn-ea"/>
              </a:rPr>
              <a:t>Muse</a:t>
            </a:r>
          </a:p>
        </p:txBody>
      </p:sp>
      <p:pic>
        <p:nvPicPr>
          <p:cNvPr id="25" name="Picture 24"/>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755998" y="3830559"/>
            <a:ext cx="232555" cy="226741"/>
          </a:xfrm>
          <a:prstGeom prst="rect">
            <a:avLst/>
          </a:prstGeom>
          <a:effectLst>
            <a:outerShdw blurRad="50800" dist="38100" dir="2700000" algn="tl" rotWithShape="0">
              <a:prstClr val="black">
                <a:alpha val="40000"/>
              </a:prstClr>
            </a:outerShdw>
          </a:effectLst>
        </p:spPr>
      </p:pic>
      <p:sp>
        <p:nvSpPr>
          <p:cNvPr id="26" name="TextBox 25"/>
          <p:cNvSpPr txBox="1"/>
          <p:nvPr/>
        </p:nvSpPr>
        <p:spPr>
          <a:xfrm>
            <a:off x="1587740" y="4059003"/>
            <a:ext cx="589160" cy="369332"/>
          </a:xfrm>
          <a:prstGeom prst="rect">
            <a:avLst/>
          </a:prstGeom>
          <a:noFill/>
        </p:spPr>
        <p:txBody>
          <a:bodyPr wrap="square" rtlCol="0">
            <a:spAutoFit/>
          </a:bodyPr>
          <a:lstStyle/>
          <a:p>
            <a:pPr algn="ctr"/>
            <a:r>
              <a:rPr lang="en-US" sz="900" b="0" dirty="0">
                <a:latin typeface="+mn-ea"/>
                <a:ea typeface="+mn-ea"/>
              </a:rPr>
              <a:t>Audition</a:t>
            </a:r>
          </a:p>
        </p:txBody>
      </p:sp>
      <p:pic>
        <p:nvPicPr>
          <p:cNvPr id="27" name="Picture 26"/>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70378" y="5054649"/>
            <a:ext cx="275109" cy="268231"/>
          </a:xfrm>
          <a:prstGeom prst="rect">
            <a:avLst/>
          </a:prstGeom>
        </p:spPr>
      </p:pic>
      <p:sp>
        <p:nvSpPr>
          <p:cNvPr id="28" name="TextBox 27"/>
          <p:cNvSpPr txBox="1"/>
          <p:nvPr/>
        </p:nvSpPr>
        <p:spPr>
          <a:xfrm>
            <a:off x="3352407" y="3398678"/>
            <a:ext cx="395942" cy="276999"/>
          </a:xfrm>
          <a:prstGeom prst="rect">
            <a:avLst/>
          </a:prstGeom>
          <a:noFill/>
        </p:spPr>
        <p:txBody>
          <a:bodyPr wrap="none" lIns="0" tIns="0" rIns="0" bIns="0" rtlCol="0">
            <a:spAutoFit/>
          </a:bodyPr>
          <a:lstStyle/>
          <a:p>
            <a:r>
              <a:rPr lang="zh-TW" altLang="en-US" sz="900" b="0" dirty="0" smtClean="0">
                <a:latin typeface="+mn-ea"/>
                <a:ea typeface="+mn-ea"/>
              </a:rPr>
              <a:t>裝置</a:t>
            </a:r>
            <a:r>
              <a:rPr lang="en-US" sz="900" b="0" dirty="0" smtClean="0">
                <a:latin typeface="+mn-ea"/>
                <a:ea typeface="+mn-ea"/>
              </a:rPr>
              <a:t> </a:t>
            </a:r>
            <a:r>
              <a:rPr lang="en-US" sz="900" b="0" dirty="0">
                <a:latin typeface="+mn-ea"/>
                <a:ea typeface="+mn-ea"/>
              </a:rPr>
              <a:t>&amp;</a:t>
            </a:r>
            <a:br>
              <a:rPr lang="en-US" sz="900" b="0" dirty="0">
                <a:latin typeface="+mn-ea"/>
                <a:ea typeface="+mn-ea"/>
              </a:rPr>
            </a:br>
            <a:r>
              <a:rPr lang="en-US" sz="900" b="0" dirty="0">
                <a:latin typeface="+mn-ea"/>
                <a:ea typeface="+mn-ea"/>
              </a:rPr>
              <a:t>PC </a:t>
            </a:r>
            <a:r>
              <a:rPr lang="zh-TW" altLang="en-US" sz="900" b="0" dirty="0" smtClean="0">
                <a:latin typeface="+mn-ea"/>
                <a:ea typeface="+mn-ea"/>
              </a:rPr>
              <a:t>同步</a:t>
            </a:r>
            <a:endParaRPr lang="en-US" sz="900" b="0" dirty="0">
              <a:latin typeface="+mn-ea"/>
              <a:ea typeface="+mn-ea"/>
            </a:endParaRPr>
          </a:p>
        </p:txBody>
      </p:sp>
      <p:sp>
        <p:nvSpPr>
          <p:cNvPr id="29" name="TextBox 28"/>
          <p:cNvSpPr txBox="1"/>
          <p:nvPr/>
        </p:nvSpPr>
        <p:spPr>
          <a:xfrm>
            <a:off x="3352404" y="4414958"/>
            <a:ext cx="846720" cy="138499"/>
          </a:xfrm>
          <a:prstGeom prst="rect">
            <a:avLst/>
          </a:prstGeom>
          <a:noFill/>
        </p:spPr>
        <p:txBody>
          <a:bodyPr wrap="square" lIns="0" tIns="0" rIns="0" bIns="0" rtlCol="0">
            <a:spAutoFit/>
          </a:bodyPr>
          <a:lstStyle/>
          <a:p>
            <a:r>
              <a:rPr lang="zh-TW" altLang="en-US" sz="900" b="0" dirty="0" smtClean="0">
                <a:latin typeface="+mn-ea"/>
                <a:ea typeface="+mn-ea"/>
              </a:rPr>
              <a:t>雲端儲存</a:t>
            </a:r>
            <a:endParaRPr lang="en-US" sz="900" b="0" dirty="0">
              <a:latin typeface="+mn-ea"/>
              <a:ea typeface="+mn-ea"/>
            </a:endParaRPr>
          </a:p>
        </p:txBody>
      </p:sp>
      <p:sp>
        <p:nvSpPr>
          <p:cNvPr id="30" name="Rectangle 4"/>
          <p:cNvSpPr>
            <a:spLocks/>
          </p:cNvSpPr>
          <p:nvPr/>
        </p:nvSpPr>
        <p:spPr bwMode="auto">
          <a:xfrm>
            <a:off x="7602214" y="5243103"/>
            <a:ext cx="867296" cy="3827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rgbClr val="000000"/>
                </a:solidFill>
                <a:round/>
                <a:headEnd type="none" w="med" len="med"/>
                <a:tailEnd type="none" w="med" len="med"/>
              </a14:hiddenLine>
            </a:ext>
          </a:extLst>
        </p:spPr>
        <p:txBody>
          <a:bodyPr lIns="38100" tIns="38100" rIns="38100" bIns="38100"/>
          <a:lstStyle/>
          <a:p>
            <a:r>
              <a:rPr lang="zh-TW" altLang="en-US" sz="900" b="0" dirty="0" smtClean="0">
                <a:latin typeface="+mn-ea"/>
                <a:ea typeface="+mn-ea"/>
                <a:cs typeface="Adobe Clean Bold" charset="0"/>
                <a:sym typeface="Adobe Clean Bold" charset="0"/>
              </a:rPr>
              <a:t>支援</a:t>
            </a:r>
            <a:endParaRPr lang="en-US" sz="900" b="0" dirty="0">
              <a:latin typeface="+mn-ea"/>
              <a:ea typeface="+mn-ea"/>
              <a:cs typeface="Adobe Clean Bold" charset="0"/>
              <a:sym typeface="Adobe Clean Bold" charset="0"/>
            </a:endParaRPr>
          </a:p>
        </p:txBody>
      </p:sp>
      <p:sp>
        <p:nvSpPr>
          <p:cNvPr id="31" name="Rectangle 5"/>
          <p:cNvSpPr>
            <a:spLocks/>
          </p:cNvSpPr>
          <p:nvPr/>
        </p:nvSpPr>
        <p:spPr bwMode="auto">
          <a:xfrm>
            <a:off x="3352405" y="5242545"/>
            <a:ext cx="1098102" cy="3838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rgbClr val="000000"/>
                </a:solidFill>
                <a:round/>
                <a:headEnd type="none" w="med" len="med"/>
                <a:tailEnd type="none" w="med" len="med"/>
              </a14:hiddenLine>
            </a:ext>
          </a:extLst>
        </p:spPr>
        <p:txBody>
          <a:bodyPr lIns="38100" tIns="38100" rIns="38100" bIns="38100"/>
          <a:lstStyle/>
          <a:p>
            <a:r>
              <a:rPr lang="zh-TW" altLang="en-US" sz="900" b="0" dirty="0" smtClean="0">
                <a:latin typeface="+mn-ea"/>
                <a:ea typeface="+mn-ea"/>
                <a:cs typeface="Adobe Clean Bold" charset="0"/>
                <a:sym typeface="Adobe Clean Bold" charset="0"/>
              </a:rPr>
              <a:t>分享、註釋</a:t>
            </a:r>
            <a:r>
              <a:rPr lang="en-US" sz="900" b="0" dirty="0" smtClean="0">
                <a:latin typeface="+mn-ea"/>
                <a:ea typeface="+mn-ea"/>
                <a:cs typeface="Adobe Clean Bold" charset="0"/>
                <a:sym typeface="Adobe Clean Bold" charset="0"/>
              </a:rPr>
              <a:t/>
            </a:r>
            <a:br>
              <a:rPr lang="en-US" sz="900" b="0" dirty="0" smtClean="0">
                <a:latin typeface="+mn-ea"/>
                <a:ea typeface="+mn-ea"/>
                <a:cs typeface="Adobe Clean Bold" charset="0"/>
                <a:sym typeface="Adobe Clean Bold" charset="0"/>
              </a:rPr>
            </a:br>
            <a:r>
              <a:rPr lang="en-US" sz="900" b="0" dirty="0" smtClean="0">
                <a:latin typeface="+mn-ea"/>
                <a:ea typeface="+mn-ea"/>
                <a:cs typeface="Adobe Clean Bold" charset="0"/>
                <a:sym typeface="Adobe Clean Bold" charset="0"/>
              </a:rPr>
              <a:t>&amp; </a:t>
            </a:r>
            <a:r>
              <a:rPr lang="zh-TW" altLang="en-US" sz="900" b="0" dirty="0" smtClean="0">
                <a:latin typeface="+mn-ea"/>
                <a:ea typeface="+mn-ea"/>
                <a:cs typeface="Adobe Clean Bold" charset="0"/>
                <a:sym typeface="Adobe Clean Bold" charset="0"/>
              </a:rPr>
              <a:t>下載</a:t>
            </a:r>
            <a:endParaRPr lang="en-US" sz="900" b="0" dirty="0">
              <a:latin typeface="+mn-ea"/>
              <a:ea typeface="+mn-ea"/>
              <a:cs typeface="Adobe Clean Bold" charset="0"/>
              <a:sym typeface="Adobe Clean Bold" charset="0"/>
            </a:endParaRPr>
          </a:p>
        </p:txBody>
      </p:sp>
      <p:pic>
        <p:nvPicPr>
          <p:cNvPr id="32" name="Picture 31" descr="business_catalyst_mnemonic_no_shadow.png"/>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868174" y="4280670"/>
            <a:ext cx="422464" cy="422464"/>
          </a:xfrm>
          <a:prstGeom prst="rect">
            <a:avLst/>
          </a:prstGeom>
          <a:noFill/>
          <a:ln>
            <a:noFill/>
          </a:ln>
        </p:spPr>
      </p:pic>
      <p:sp>
        <p:nvSpPr>
          <p:cNvPr id="33" name="TextBox 32"/>
          <p:cNvSpPr txBox="1"/>
          <p:nvPr/>
        </p:nvSpPr>
        <p:spPr>
          <a:xfrm>
            <a:off x="5360271" y="4291847"/>
            <a:ext cx="1392635" cy="369332"/>
          </a:xfrm>
          <a:prstGeom prst="rect">
            <a:avLst/>
          </a:prstGeom>
          <a:noFill/>
        </p:spPr>
        <p:txBody>
          <a:bodyPr wrap="square" rtlCol="0">
            <a:spAutoFit/>
          </a:bodyPr>
          <a:lstStyle/>
          <a:p>
            <a:r>
              <a:rPr lang="en-US" sz="900" b="0" dirty="0" smtClean="0">
                <a:latin typeface="+mn-ea"/>
                <a:ea typeface="+mn-ea"/>
              </a:rPr>
              <a:t>Business</a:t>
            </a:r>
            <a:br>
              <a:rPr lang="en-US" sz="900" b="0" dirty="0" smtClean="0">
                <a:latin typeface="+mn-ea"/>
                <a:ea typeface="+mn-ea"/>
              </a:rPr>
            </a:br>
            <a:r>
              <a:rPr lang="en-US" sz="900" b="0" dirty="0" smtClean="0">
                <a:latin typeface="+mn-ea"/>
                <a:ea typeface="+mn-ea"/>
              </a:rPr>
              <a:t>Catalyst</a:t>
            </a:r>
            <a:endParaRPr lang="en-US" sz="900" b="0" dirty="0">
              <a:latin typeface="+mn-ea"/>
              <a:ea typeface="+mn-ea"/>
            </a:endParaRPr>
          </a:p>
        </p:txBody>
      </p:sp>
      <p:sp>
        <p:nvSpPr>
          <p:cNvPr id="34" name="TextBox 33"/>
          <p:cNvSpPr txBox="1"/>
          <p:nvPr/>
        </p:nvSpPr>
        <p:spPr>
          <a:xfrm>
            <a:off x="5360269" y="5234393"/>
            <a:ext cx="1173510" cy="369332"/>
          </a:xfrm>
          <a:prstGeom prst="rect">
            <a:avLst/>
          </a:prstGeom>
          <a:noFill/>
        </p:spPr>
        <p:txBody>
          <a:bodyPr wrap="square" rtlCol="0">
            <a:spAutoFit/>
          </a:bodyPr>
          <a:lstStyle/>
          <a:p>
            <a:r>
              <a:rPr lang="en-US" sz="900" b="0" dirty="0">
                <a:latin typeface="+mn-ea"/>
                <a:ea typeface="+mn-ea"/>
              </a:rPr>
              <a:t>Typekit </a:t>
            </a:r>
            <a:br>
              <a:rPr lang="en-US" sz="900" b="0" dirty="0">
                <a:latin typeface="+mn-ea"/>
                <a:ea typeface="+mn-ea"/>
              </a:rPr>
            </a:br>
            <a:endParaRPr lang="en-US" sz="900" b="0" dirty="0">
              <a:latin typeface="+mn-ea"/>
              <a:ea typeface="+mn-ea"/>
            </a:endParaRPr>
          </a:p>
        </p:txBody>
      </p:sp>
      <p:pic>
        <p:nvPicPr>
          <p:cNvPr id="35" name="Picture 3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868174" y="5250203"/>
            <a:ext cx="377940" cy="368490"/>
          </a:xfrm>
          <a:prstGeom prst="rect">
            <a:avLst/>
          </a:prstGeom>
        </p:spPr>
      </p:pic>
      <p:sp>
        <p:nvSpPr>
          <p:cNvPr id="36" name="TextBox 35"/>
          <p:cNvSpPr txBox="1"/>
          <p:nvPr/>
        </p:nvSpPr>
        <p:spPr>
          <a:xfrm>
            <a:off x="7602214" y="3275564"/>
            <a:ext cx="1206400" cy="369332"/>
          </a:xfrm>
          <a:prstGeom prst="rect">
            <a:avLst/>
          </a:prstGeom>
          <a:noFill/>
        </p:spPr>
        <p:txBody>
          <a:bodyPr wrap="square" rtlCol="0">
            <a:spAutoFit/>
          </a:bodyPr>
          <a:lstStyle>
            <a:defPPr>
              <a:defRPr lang="en-US"/>
            </a:defPPr>
            <a:lvl1pPr>
              <a:defRPr sz="1400" b="1">
                <a:solidFill>
                  <a:schemeClr val="bg2"/>
                </a:solidFill>
                <a:latin typeface="Adobe Clean"/>
              </a:defRPr>
            </a:lvl1pPr>
          </a:lstStyle>
          <a:p>
            <a:r>
              <a:rPr lang="zh-TW" altLang="en-US" sz="900" b="0" dirty="0" smtClean="0">
                <a:solidFill>
                  <a:schemeClr val="tx1"/>
                </a:solidFill>
                <a:latin typeface="+mn-ea"/>
                <a:ea typeface="+mn-ea"/>
              </a:rPr>
              <a:t>即時取得最新產品與更新</a:t>
            </a:r>
            <a:endParaRPr lang="en-US" sz="900" b="0" dirty="0" smtClean="0">
              <a:solidFill>
                <a:schemeClr val="tx1"/>
              </a:solidFill>
              <a:latin typeface="+mn-ea"/>
              <a:ea typeface="+mn-ea"/>
            </a:endParaRPr>
          </a:p>
        </p:txBody>
      </p:sp>
      <p:sp>
        <p:nvSpPr>
          <p:cNvPr id="37" name="TextBox 36"/>
          <p:cNvSpPr txBox="1"/>
          <p:nvPr/>
        </p:nvSpPr>
        <p:spPr>
          <a:xfrm>
            <a:off x="909778" y="5253946"/>
            <a:ext cx="726942" cy="230832"/>
          </a:xfrm>
          <a:prstGeom prst="rect">
            <a:avLst/>
          </a:prstGeom>
          <a:noFill/>
        </p:spPr>
        <p:txBody>
          <a:bodyPr wrap="square" rtlCol="0">
            <a:spAutoFit/>
          </a:bodyPr>
          <a:lstStyle>
            <a:defPPr>
              <a:defRPr lang="en-US"/>
            </a:defPPr>
            <a:lvl1pPr>
              <a:defRPr sz="1400" b="1">
                <a:solidFill>
                  <a:schemeClr val="bg2"/>
                </a:solidFill>
                <a:latin typeface="Adobe Clean"/>
              </a:defRPr>
            </a:lvl1pPr>
          </a:lstStyle>
          <a:p>
            <a:r>
              <a:rPr lang="en-US" sz="900" b="0" dirty="0" err="1" smtClean="0">
                <a:solidFill>
                  <a:schemeClr val="tx1"/>
                </a:solidFill>
                <a:latin typeface="+mn-ea"/>
                <a:ea typeface="+mn-ea"/>
              </a:rPr>
              <a:t>Lightroom</a:t>
            </a:r>
            <a:endParaRPr lang="en-US" sz="900" b="0" dirty="0">
              <a:solidFill>
                <a:schemeClr val="tx1"/>
              </a:solidFill>
              <a:latin typeface="+mn-ea"/>
              <a:ea typeface="+mn-ea"/>
            </a:endParaRPr>
          </a:p>
        </p:txBody>
      </p:sp>
      <p:pic>
        <p:nvPicPr>
          <p:cNvPr id="38" name="Picture 37"/>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122490" y="5075559"/>
            <a:ext cx="217834" cy="212388"/>
          </a:xfrm>
          <a:prstGeom prst="rect">
            <a:avLst/>
          </a:prstGeom>
        </p:spPr>
      </p:pic>
      <p:sp>
        <p:nvSpPr>
          <p:cNvPr id="39" name="TextBox 38"/>
          <p:cNvSpPr txBox="1"/>
          <p:nvPr/>
        </p:nvSpPr>
        <p:spPr>
          <a:xfrm>
            <a:off x="5360268" y="3275561"/>
            <a:ext cx="1041300" cy="369332"/>
          </a:xfrm>
          <a:prstGeom prst="rect">
            <a:avLst/>
          </a:prstGeom>
          <a:noFill/>
        </p:spPr>
        <p:txBody>
          <a:bodyPr wrap="square" rtlCol="0">
            <a:spAutoFit/>
          </a:bodyPr>
          <a:lstStyle>
            <a:defPPr>
              <a:defRPr lang="en-US"/>
            </a:defPPr>
            <a:lvl1pPr>
              <a:defRPr sz="1400" b="1">
                <a:solidFill>
                  <a:schemeClr val="bg2"/>
                </a:solidFill>
                <a:latin typeface="Adobe Clean"/>
              </a:defRPr>
            </a:lvl1pPr>
          </a:lstStyle>
          <a:p>
            <a:r>
              <a:rPr lang="en-US" sz="900" b="0" dirty="0" smtClean="0">
                <a:solidFill>
                  <a:schemeClr val="tx1"/>
                </a:solidFill>
                <a:latin typeface="+mn-ea"/>
                <a:ea typeface="+mn-ea"/>
              </a:rPr>
              <a:t>Digital </a:t>
            </a:r>
            <a:r>
              <a:rPr lang="en-US" sz="900" b="0" dirty="0">
                <a:solidFill>
                  <a:schemeClr val="tx1"/>
                </a:solidFill>
                <a:latin typeface="+mn-ea"/>
                <a:ea typeface="+mn-ea"/>
              </a:rPr>
              <a:t>Publishing</a:t>
            </a:r>
            <a:br>
              <a:rPr lang="en-US" sz="900" b="0" dirty="0">
                <a:solidFill>
                  <a:schemeClr val="tx1"/>
                </a:solidFill>
                <a:latin typeface="+mn-ea"/>
                <a:ea typeface="+mn-ea"/>
              </a:rPr>
            </a:br>
            <a:r>
              <a:rPr lang="en-US" sz="900" b="0" dirty="0">
                <a:solidFill>
                  <a:schemeClr val="tx1"/>
                </a:solidFill>
                <a:latin typeface="+mn-ea"/>
                <a:ea typeface="+mn-ea"/>
              </a:rPr>
              <a:t>Suite</a:t>
            </a:r>
          </a:p>
        </p:txBody>
      </p:sp>
      <p:sp>
        <p:nvSpPr>
          <p:cNvPr id="40" name="TextBox 39"/>
          <p:cNvSpPr txBox="1"/>
          <p:nvPr/>
        </p:nvSpPr>
        <p:spPr>
          <a:xfrm>
            <a:off x="7602214" y="4368798"/>
            <a:ext cx="1206400" cy="230832"/>
          </a:xfrm>
          <a:prstGeom prst="rect">
            <a:avLst/>
          </a:prstGeom>
          <a:noFill/>
        </p:spPr>
        <p:txBody>
          <a:bodyPr wrap="square" rtlCol="0">
            <a:spAutoFit/>
          </a:bodyPr>
          <a:lstStyle>
            <a:defPPr>
              <a:defRPr lang="en-US"/>
            </a:defPPr>
            <a:lvl1pPr>
              <a:defRPr sz="1400" b="1">
                <a:solidFill>
                  <a:schemeClr val="bg2"/>
                </a:solidFill>
                <a:latin typeface="Adobe Clean"/>
              </a:defRPr>
            </a:lvl1pPr>
          </a:lstStyle>
          <a:p>
            <a:r>
              <a:rPr lang="zh-TW" altLang="en-US" sz="900" b="0" dirty="0" smtClean="0">
                <a:solidFill>
                  <a:schemeClr val="tx1"/>
                </a:solidFill>
                <a:latin typeface="+mn-ea"/>
                <a:ea typeface="+mn-ea"/>
              </a:rPr>
              <a:t>教育訓練</a:t>
            </a:r>
            <a:endParaRPr lang="en-US" sz="900" b="0" dirty="0">
              <a:solidFill>
                <a:schemeClr val="tx1"/>
              </a:solidFill>
              <a:latin typeface="+mn-ea"/>
              <a:ea typeface="+mn-ea"/>
            </a:endParaRPr>
          </a:p>
        </p:txBody>
      </p:sp>
      <p:grpSp>
        <p:nvGrpSpPr>
          <p:cNvPr id="41" name="Group 40"/>
          <p:cNvGrpSpPr/>
          <p:nvPr/>
        </p:nvGrpSpPr>
        <p:grpSpPr>
          <a:xfrm>
            <a:off x="479753" y="1211997"/>
            <a:ext cx="1567236" cy="1567236"/>
            <a:chOff x="464344" y="2634258"/>
            <a:chExt cx="1830586" cy="1830586"/>
          </a:xfrm>
        </p:grpSpPr>
        <p:pic>
          <p:nvPicPr>
            <p:cNvPr id="42" name="Picture 3"/>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464344" y="2634258"/>
              <a:ext cx="1830586" cy="18305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a:tailEnd/>
                </a14:hiddenLine>
              </a:ext>
            </a:extLst>
          </p:spPr>
        </p:pic>
        <p:sp>
          <p:nvSpPr>
            <p:cNvPr id="43" name="Rectangle 4"/>
            <p:cNvSpPr>
              <a:spLocks/>
            </p:cNvSpPr>
            <p:nvPr/>
          </p:nvSpPr>
          <p:spPr bwMode="auto">
            <a:xfrm>
              <a:off x="900312" y="3302141"/>
              <a:ext cx="958650" cy="575191"/>
            </a:xfrm>
            <a:prstGeom prst="rect">
              <a:avLst/>
            </a:prstGeom>
            <a:noFill/>
            <a:ln>
              <a:noFill/>
            </a:ln>
            <a:effectLst>
              <a:outerShdw blurRad="152400" dist="50799" dir="5400000" algn="ctr" rotWithShape="0">
                <a:srgbClr val="000000">
                  <a:alpha val="68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type="none" w="med" len="med"/>
                  <a:tailEnd type="none" w="med" len="med"/>
                </a14:hiddenLine>
              </a:ext>
            </a:extLst>
          </p:spPr>
          <p:txBody>
            <a:bodyPr wrap="none" lIns="0" tIns="0" rIns="0" bIns="0" anchor="ctr">
              <a:spAutoFit/>
            </a:bodyPr>
            <a:lstStyle/>
            <a:p>
              <a:pPr algn="ctr"/>
              <a:r>
                <a:rPr lang="zh-TW" altLang="en-US" sz="1600" b="0" dirty="0" smtClean="0">
                  <a:solidFill>
                    <a:srgbClr val="FFFFFF"/>
                  </a:solidFill>
                  <a:latin typeface="Adobe Clean" charset="0"/>
                  <a:ea typeface="Adobe Clean" charset="0"/>
                  <a:cs typeface="Adobe Clean" charset="0"/>
                  <a:sym typeface="Adobe Clean" charset="0"/>
                </a:rPr>
                <a:t>取得全球</a:t>
              </a:r>
            </a:p>
            <a:p>
              <a:pPr algn="ctr"/>
              <a:r>
                <a:rPr lang="zh-TW" altLang="en-US" sz="1600" b="0" dirty="0" smtClean="0">
                  <a:solidFill>
                    <a:srgbClr val="FFFFFF"/>
                  </a:solidFill>
                  <a:latin typeface="Adobe Clean" charset="0"/>
                  <a:ea typeface="Adobe Clean" charset="0"/>
                  <a:cs typeface="Adobe Clean" charset="0"/>
                  <a:sym typeface="Adobe Clean" charset="0"/>
                </a:rPr>
                <a:t>最佳工具</a:t>
              </a:r>
              <a:endParaRPr lang="en-US" sz="1600" b="0" dirty="0">
                <a:solidFill>
                  <a:srgbClr val="FFFFFF"/>
                </a:solidFill>
                <a:latin typeface="Adobe Clean" charset="0"/>
                <a:ea typeface="Adobe Clean" charset="0"/>
                <a:cs typeface="Adobe Clean" charset="0"/>
                <a:sym typeface="Adobe Clean" charset="0"/>
              </a:endParaRPr>
            </a:p>
          </p:txBody>
        </p:sp>
      </p:grpSp>
      <p:grpSp>
        <p:nvGrpSpPr>
          <p:cNvPr id="44" name="Group 43"/>
          <p:cNvGrpSpPr/>
          <p:nvPr/>
        </p:nvGrpSpPr>
        <p:grpSpPr>
          <a:xfrm>
            <a:off x="7118379" y="1211997"/>
            <a:ext cx="1567236" cy="1567236"/>
            <a:chOff x="6847954" y="2634258"/>
            <a:chExt cx="1830586" cy="1830586"/>
          </a:xfrm>
        </p:grpSpPr>
        <p:pic>
          <p:nvPicPr>
            <p:cNvPr id="45" name="Picture 2"/>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6847954" y="2634258"/>
              <a:ext cx="1830586" cy="18305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a:tailEnd/>
                </a14:hiddenLine>
              </a:ext>
            </a:extLst>
          </p:spPr>
        </p:pic>
        <p:sp>
          <p:nvSpPr>
            <p:cNvPr id="46" name="Rectangle 6"/>
            <p:cNvSpPr>
              <a:spLocks/>
            </p:cNvSpPr>
            <p:nvPr/>
          </p:nvSpPr>
          <p:spPr bwMode="auto">
            <a:xfrm>
              <a:off x="7525824" y="3302141"/>
              <a:ext cx="479326" cy="575191"/>
            </a:xfrm>
            <a:prstGeom prst="rect">
              <a:avLst/>
            </a:prstGeom>
            <a:noFill/>
            <a:ln>
              <a:noFill/>
            </a:ln>
            <a:effectLst>
              <a:outerShdw blurRad="152400" dist="50799" dir="5400000" algn="ctr" rotWithShape="0">
                <a:srgbClr val="000000">
                  <a:alpha val="68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type="none" w="med" len="med"/>
                  <a:tailEnd type="none" w="med" len="med"/>
                </a14:hiddenLine>
              </a:ext>
            </a:extLst>
          </p:spPr>
          <p:txBody>
            <a:bodyPr wrap="none" lIns="0" tIns="0" rIns="0" bIns="0" anchor="ctr">
              <a:spAutoFit/>
            </a:bodyPr>
            <a:lstStyle/>
            <a:p>
              <a:pPr algn="ctr"/>
              <a:r>
                <a:rPr lang="zh-TW" altLang="en-US" sz="1600" b="0" dirty="0" smtClean="0">
                  <a:solidFill>
                    <a:srgbClr val="FFFFFF"/>
                  </a:solidFill>
                  <a:latin typeface="Adobe Clean" charset="0"/>
                  <a:ea typeface="Adobe Clean" charset="0"/>
                  <a:cs typeface="Adobe Clean" charset="0"/>
                  <a:sym typeface="Adobe Clean" charset="0"/>
                </a:rPr>
                <a:t>保持</a:t>
              </a:r>
              <a:r>
                <a:rPr lang="en-US" altLang="zh-TW" sz="1600" b="0" dirty="0" smtClean="0">
                  <a:solidFill>
                    <a:srgbClr val="FFFFFF"/>
                  </a:solidFill>
                  <a:latin typeface="Adobe Clean" charset="0"/>
                  <a:ea typeface="Adobe Clean" charset="0"/>
                  <a:cs typeface="Adobe Clean" charset="0"/>
                  <a:sym typeface="Adobe Clean" charset="0"/>
                </a:rPr>
                <a:t/>
              </a:r>
              <a:br>
                <a:rPr lang="en-US" altLang="zh-TW" sz="1600" b="0" dirty="0" smtClean="0">
                  <a:solidFill>
                    <a:srgbClr val="FFFFFF"/>
                  </a:solidFill>
                  <a:latin typeface="Adobe Clean" charset="0"/>
                  <a:ea typeface="Adobe Clean" charset="0"/>
                  <a:cs typeface="Adobe Clean" charset="0"/>
                  <a:sym typeface="Adobe Clean" charset="0"/>
                </a:rPr>
              </a:br>
              <a:r>
                <a:rPr lang="zh-TW" altLang="en-US" sz="1600" b="0" dirty="0" smtClean="0">
                  <a:solidFill>
                    <a:srgbClr val="FFFFFF"/>
                  </a:solidFill>
                  <a:latin typeface="Adobe Clean" charset="0"/>
                  <a:ea typeface="Adobe Clean" charset="0"/>
                  <a:cs typeface="Adobe Clean" charset="0"/>
                  <a:sym typeface="Adobe Clean" charset="0"/>
                </a:rPr>
                <a:t>領先</a:t>
              </a:r>
              <a:endParaRPr lang="en-US" sz="1600" b="0" dirty="0">
                <a:solidFill>
                  <a:srgbClr val="FFFFFF"/>
                </a:solidFill>
                <a:latin typeface="Adobe Clean" charset="0"/>
                <a:ea typeface="Adobe Clean" charset="0"/>
                <a:cs typeface="Adobe Clean" charset="0"/>
                <a:sym typeface="Adobe Clean" charset="0"/>
              </a:endParaRPr>
            </a:p>
          </p:txBody>
        </p:sp>
      </p:grpSp>
      <p:grpSp>
        <p:nvGrpSpPr>
          <p:cNvPr id="47" name="Group 46"/>
          <p:cNvGrpSpPr/>
          <p:nvPr/>
        </p:nvGrpSpPr>
        <p:grpSpPr>
          <a:xfrm>
            <a:off x="2692627" y="1211997"/>
            <a:ext cx="1567236" cy="1567236"/>
            <a:chOff x="2590726" y="2634258"/>
            <a:chExt cx="1830586" cy="1830586"/>
          </a:xfrm>
        </p:grpSpPr>
        <p:pic>
          <p:nvPicPr>
            <p:cNvPr id="48" name="Picture 10"/>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2590726" y="2634258"/>
              <a:ext cx="1830586" cy="18305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a:tailEnd/>
                </a14:hiddenLine>
              </a:ext>
            </a:extLst>
          </p:spPr>
        </p:pic>
        <p:sp>
          <p:nvSpPr>
            <p:cNvPr id="49" name="Rectangle 11"/>
            <p:cNvSpPr>
              <a:spLocks/>
            </p:cNvSpPr>
            <p:nvPr/>
          </p:nvSpPr>
          <p:spPr bwMode="auto">
            <a:xfrm>
              <a:off x="2909096" y="3302141"/>
              <a:ext cx="1198312" cy="575191"/>
            </a:xfrm>
            <a:prstGeom prst="rect">
              <a:avLst/>
            </a:prstGeom>
            <a:noFill/>
            <a:ln>
              <a:noFill/>
            </a:ln>
            <a:effectLst>
              <a:outerShdw blurRad="152400" dist="50799" dir="5400000" algn="ctr" rotWithShape="0">
                <a:srgbClr val="000000">
                  <a:alpha val="68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type="none" w="med" len="med"/>
                  <a:tailEnd type="none" w="med" len="med"/>
                </a14:hiddenLine>
              </a:ext>
            </a:extLst>
          </p:spPr>
          <p:txBody>
            <a:bodyPr wrap="none" lIns="0" tIns="0" rIns="0" bIns="0" anchor="ctr">
              <a:spAutoFit/>
            </a:bodyPr>
            <a:lstStyle/>
            <a:p>
              <a:pPr algn="ctr"/>
              <a:r>
                <a:rPr lang="zh-TW" altLang="en-US" sz="1600" b="0" dirty="0" smtClean="0">
                  <a:solidFill>
                    <a:srgbClr val="FFFFFF"/>
                  </a:solidFill>
                  <a:latin typeface="Adobe Clean" charset="0"/>
                  <a:ea typeface="Adobe Clean" charset="0"/>
                  <a:cs typeface="Adobe Clean" charset="0"/>
                  <a:sym typeface="Adobe Clean" charset="0"/>
                </a:rPr>
                <a:t>同步、儲存</a:t>
              </a:r>
              <a:r>
                <a:rPr lang="en-US" altLang="zh-TW" sz="1600" b="0" dirty="0" smtClean="0">
                  <a:solidFill>
                    <a:srgbClr val="FFFFFF"/>
                  </a:solidFill>
                  <a:latin typeface="Adobe Clean" charset="0"/>
                  <a:ea typeface="Adobe Clean" charset="0"/>
                  <a:cs typeface="Adobe Clean" charset="0"/>
                  <a:sym typeface="Adobe Clean" charset="0"/>
                </a:rPr>
                <a:t/>
              </a:r>
              <a:br>
                <a:rPr lang="en-US" altLang="zh-TW" sz="1600" b="0" dirty="0" smtClean="0">
                  <a:solidFill>
                    <a:srgbClr val="FFFFFF"/>
                  </a:solidFill>
                  <a:latin typeface="Adobe Clean" charset="0"/>
                  <a:ea typeface="Adobe Clean" charset="0"/>
                  <a:cs typeface="Adobe Clean" charset="0"/>
                  <a:sym typeface="Adobe Clean" charset="0"/>
                </a:rPr>
              </a:br>
              <a:r>
                <a:rPr lang="zh-TW" altLang="en-US" sz="1600" b="0" dirty="0" smtClean="0">
                  <a:solidFill>
                    <a:srgbClr val="FFFFFF"/>
                  </a:solidFill>
                  <a:latin typeface="Adobe Clean" charset="0"/>
                  <a:ea typeface="Adobe Clean" charset="0"/>
                  <a:cs typeface="Adobe Clean" charset="0"/>
                  <a:sym typeface="Adobe Clean" charset="0"/>
                </a:rPr>
                <a:t>及分享</a:t>
              </a:r>
              <a:endParaRPr lang="en-US" sz="1600" b="0" dirty="0">
                <a:solidFill>
                  <a:srgbClr val="FFFFFF"/>
                </a:solidFill>
                <a:latin typeface="Adobe Clean" charset="0"/>
                <a:ea typeface="Adobe Clean" charset="0"/>
                <a:cs typeface="Adobe Clean" charset="0"/>
                <a:sym typeface="Adobe Clean" charset="0"/>
              </a:endParaRPr>
            </a:p>
          </p:txBody>
        </p:sp>
      </p:grpSp>
      <p:grpSp>
        <p:nvGrpSpPr>
          <p:cNvPr id="50" name="Group 49"/>
          <p:cNvGrpSpPr/>
          <p:nvPr/>
        </p:nvGrpSpPr>
        <p:grpSpPr>
          <a:xfrm>
            <a:off x="4905503" y="1211997"/>
            <a:ext cx="1567236" cy="1567236"/>
            <a:chOff x="4719340" y="2634258"/>
            <a:chExt cx="1830586" cy="1830586"/>
          </a:xfrm>
        </p:grpSpPr>
        <p:pic>
          <p:nvPicPr>
            <p:cNvPr id="51" name="Picture 9"/>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4719340" y="2634258"/>
              <a:ext cx="1830586" cy="18305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a:tailEnd/>
                </a14:hiddenLine>
              </a:ext>
            </a:extLst>
          </p:spPr>
        </p:pic>
        <p:sp>
          <p:nvSpPr>
            <p:cNvPr id="52" name="Rectangle 12"/>
            <p:cNvSpPr>
              <a:spLocks/>
            </p:cNvSpPr>
            <p:nvPr/>
          </p:nvSpPr>
          <p:spPr bwMode="auto">
            <a:xfrm>
              <a:off x="5048054" y="3302141"/>
              <a:ext cx="1175396" cy="575191"/>
            </a:xfrm>
            <a:prstGeom prst="rect">
              <a:avLst/>
            </a:prstGeom>
            <a:noFill/>
            <a:ln>
              <a:noFill/>
            </a:ln>
            <a:effectLst>
              <a:outerShdw blurRad="152400" dist="50799" dir="5400000" algn="ctr" rotWithShape="0">
                <a:srgbClr val="000000">
                  <a:alpha val="68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type="none" w="med" len="med"/>
                  <a:tailEnd type="none" w="med" len="med"/>
                </a14:hiddenLine>
              </a:ext>
            </a:extLst>
          </p:spPr>
          <p:txBody>
            <a:bodyPr wrap="none" lIns="0" tIns="0" rIns="0" bIns="0" anchor="ctr">
              <a:spAutoFit/>
            </a:bodyPr>
            <a:lstStyle/>
            <a:p>
              <a:pPr algn="ctr"/>
              <a:r>
                <a:rPr lang="zh-TW" altLang="en-US" sz="1600" b="0" dirty="0" smtClean="0">
                  <a:solidFill>
                    <a:srgbClr val="FFFFFF"/>
                  </a:solidFill>
                  <a:latin typeface="Adobe Clean" charset="0"/>
                  <a:ea typeface="Adobe Clean" charset="0"/>
                  <a:cs typeface="Adobe Clean" charset="0"/>
                  <a:sym typeface="Adobe Clean" charset="0"/>
                </a:rPr>
                <a:t>發佈</a:t>
              </a:r>
              <a:r>
                <a:rPr lang="en-US" sz="1600" b="0" dirty="0">
                  <a:solidFill>
                    <a:srgbClr val="FFFFFF"/>
                  </a:solidFill>
                  <a:latin typeface="Adobe Clean" charset="0"/>
                  <a:ea typeface="Adobe Clean" charset="0"/>
                  <a:cs typeface="Adobe Clean" charset="0"/>
                  <a:sym typeface="Adobe Clean" charset="0"/>
                </a:rPr>
                <a:t/>
              </a:r>
              <a:br>
                <a:rPr lang="en-US" sz="1600" b="0" dirty="0">
                  <a:solidFill>
                    <a:srgbClr val="FFFFFF"/>
                  </a:solidFill>
                  <a:latin typeface="Adobe Clean" charset="0"/>
                  <a:ea typeface="Adobe Clean" charset="0"/>
                  <a:cs typeface="Adobe Clean" charset="0"/>
                  <a:sym typeface="Adobe Clean" charset="0"/>
                </a:rPr>
              </a:br>
              <a:r>
                <a:rPr lang="en-US" sz="1600" b="0" dirty="0" smtClean="0">
                  <a:solidFill>
                    <a:srgbClr val="FFFFFF"/>
                  </a:solidFill>
                  <a:latin typeface="Adobe Clean" charset="0"/>
                  <a:ea typeface="Adobe Clean" charset="0"/>
                  <a:cs typeface="Adobe Clean" charset="0"/>
                  <a:sym typeface="Adobe Clean" charset="0"/>
                </a:rPr>
                <a:t>App </a:t>
              </a:r>
              <a:r>
                <a:rPr lang="en-US" sz="1600" b="0" dirty="0">
                  <a:solidFill>
                    <a:srgbClr val="FFFFFF"/>
                  </a:solidFill>
                  <a:latin typeface="Adobe Clean" charset="0"/>
                  <a:ea typeface="Adobe Clean" charset="0"/>
                  <a:cs typeface="Adobe Clean" charset="0"/>
                  <a:sym typeface="Adobe Clean" charset="0"/>
                </a:rPr>
                <a:t>&amp; </a:t>
              </a:r>
              <a:r>
                <a:rPr lang="zh-TW" altLang="en-US" sz="1600" b="0" dirty="0" smtClean="0">
                  <a:solidFill>
                    <a:srgbClr val="FFFFFF"/>
                  </a:solidFill>
                  <a:latin typeface="Adobe Clean" charset="0"/>
                  <a:ea typeface="Adobe Clean" charset="0"/>
                  <a:cs typeface="Adobe Clean" charset="0"/>
                  <a:sym typeface="Adobe Clean" charset="0"/>
                </a:rPr>
                <a:t>網站</a:t>
              </a:r>
              <a:endParaRPr lang="en-US" sz="1600" b="0" dirty="0">
                <a:solidFill>
                  <a:srgbClr val="FFFFFF"/>
                </a:solidFill>
                <a:latin typeface="Adobe Clean" charset="0"/>
                <a:ea typeface="Adobe Clean" charset="0"/>
                <a:cs typeface="Adobe Clean" charset="0"/>
                <a:sym typeface="Adobe Clean" charset="0"/>
              </a:endParaRPr>
            </a:p>
          </p:txBody>
        </p:sp>
      </p:grpSp>
      <p:pic>
        <p:nvPicPr>
          <p:cNvPr id="53" name="Picture 52"/>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779426" y="5075559"/>
            <a:ext cx="225083" cy="219456"/>
          </a:xfrm>
          <a:prstGeom prst="rect">
            <a:avLst/>
          </a:prstGeom>
        </p:spPr>
      </p:pic>
      <p:pic>
        <p:nvPicPr>
          <p:cNvPr id="54" name="Picture 53"/>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4868174" y="3344762"/>
            <a:ext cx="426252" cy="415596"/>
          </a:xfrm>
          <a:prstGeom prst="rect">
            <a:avLst/>
          </a:prstGeom>
        </p:spPr>
      </p:pic>
      <p:pic>
        <p:nvPicPr>
          <p:cNvPr id="55" name="Picture 54"/>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470379" y="5664978"/>
            <a:ext cx="227285" cy="219456"/>
          </a:xfrm>
          <a:prstGeom prst="rect">
            <a:avLst/>
          </a:prstGeom>
        </p:spPr>
      </p:pic>
      <p:pic>
        <p:nvPicPr>
          <p:cNvPr id="56" name="Picture 55"/>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731747" y="5664978"/>
            <a:ext cx="227285" cy="219456"/>
          </a:xfrm>
          <a:prstGeom prst="rect">
            <a:avLst/>
          </a:prstGeom>
        </p:spPr>
      </p:pic>
      <p:pic>
        <p:nvPicPr>
          <p:cNvPr id="57" name="Picture 56"/>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3116" y="5664978"/>
            <a:ext cx="227285" cy="219456"/>
          </a:xfrm>
          <a:prstGeom prst="rect">
            <a:avLst/>
          </a:prstGeom>
        </p:spPr>
      </p:pic>
      <p:pic>
        <p:nvPicPr>
          <p:cNvPr id="58" name="Picture 57"/>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1254487" y="5664978"/>
            <a:ext cx="227285" cy="219456"/>
          </a:xfrm>
          <a:prstGeom prst="rect">
            <a:avLst/>
          </a:prstGeom>
        </p:spPr>
      </p:pic>
      <p:pic>
        <p:nvPicPr>
          <p:cNvPr id="59" name="Picture 58"/>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1515855" y="5664978"/>
            <a:ext cx="227285" cy="219456"/>
          </a:xfrm>
          <a:prstGeom prst="rect">
            <a:avLst/>
          </a:prstGeom>
        </p:spPr>
      </p:pic>
      <p:pic>
        <p:nvPicPr>
          <p:cNvPr id="60" name="Picture 59"/>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1777221" y="5664978"/>
            <a:ext cx="227285" cy="219456"/>
          </a:xfrm>
          <a:prstGeom prst="rect">
            <a:avLst/>
          </a:prstGeom>
        </p:spPr>
      </p:pic>
      <p:pic>
        <p:nvPicPr>
          <p:cNvPr id="61" name="Picture 60"/>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2808286" y="4263302"/>
            <a:ext cx="457200" cy="457200"/>
          </a:xfrm>
          <a:prstGeom prst="rect">
            <a:avLst/>
          </a:prstGeom>
          <a:solidFill>
            <a:schemeClr val="tx2"/>
          </a:solidFill>
        </p:spPr>
      </p:pic>
      <p:pic>
        <p:nvPicPr>
          <p:cNvPr id="62" name="Picture 61"/>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7048486" y="4263302"/>
            <a:ext cx="457200" cy="457200"/>
          </a:xfrm>
          <a:prstGeom prst="rect">
            <a:avLst/>
          </a:prstGeom>
          <a:solidFill>
            <a:schemeClr val="tx2"/>
          </a:solidFill>
        </p:spPr>
      </p:pic>
      <p:pic>
        <p:nvPicPr>
          <p:cNvPr id="63" name="Picture 62"/>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08286" y="5205848"/>
            <a:ext cx="457200" cy="457200"/>
          </a:xfrm>
          <a:prstGeom prst="rect">
            <a:avLst/>
          </a:prstGeom>
          <a:solidFill>
            <a:schemeClr val="tx2"/>
          </a:solidFill>
        </p:spPr>
      </p:pic>
      <p:pic>
        <p:nvPicPr>
          <p:cNvPr id="64" name="Picture 63"/>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7048486" y="5205848"/>
            <a:ext cx="457200" cy="457200"/>
          </a:xfrm>
          <a:prstGeom prst="rect">
            <a:avLst/>
          </a:prstGeom>
          <a:solidFill>
            <a:schemeClr val="tx2"/>
          </a:solidFill>
        </p:spPr>
      </p:pic>
      <p:pic>
        <p:nvPicPr>
          <p:cNvPr id="65" name="Picture 64"/>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2808286" y="3323960"/>
            <a:ext cx="457200" cy="457200"/>
          </a:xfrm>
          <a:prstGeom prst="rect">
            <a:avLst/>
          </a:prstGeom>
          <a:solidFill>
            <a:schemeClr val="tx2"/>
          </a:solidFill>
        </p:spPr>
      </p:pic>
      <p:pic>
        <p:nvPicPr>
          <p:cNvPr id="66" name="Picture 65"/>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7048486" y="3323960"/>
            <a:ext cx="457200" cy="457200"/>
          </a:xfrm>
          <a:prstGeom prst="rect">
            <a:avLst/>
          </a:prstGeom>
          <a:solidFill>
            <a:schemeClr val="tx2"/>
          </a:solidFill>
        </p:spPr>
      </p:pic>
    </p:spTree>
    <p:extLst>
      <p:ext uri="{BB962C8B-B14F-4D97-AF65-F5344CB8AC3E}">
        <p14:creationId xmlns:p14="http://schemas.microsoft.com/office/powerpoint/2010/main" val="40014831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b="1" dirty="0" smtClean="0"/>
              <a:t>重要授權資源</a:t>
            </a:r>
            <a:endParaRPr lang="zh-TW" altLang="en-US" b="1" dirty="0"/>
          </a:p>
        </p:txBody>
      </p:sp>
      <p:sp>
        <p:nvSpPr>
          <p:cNvPr id="3" name="Rectangle 2"/>
          <p:cNvSpPr/>
          <p:nvPr/>
        </p:nvSpPr>
        <p:spPr>
          <a:xfrm>
            <a:off x="685800" y="1524000"/>
            <a:ext cx="4572000" cy="2523768"/>
          </a:xfrm>
          <a:prstGeom prst="rect">
            <a:avLst/>
          </a:prstGeom>
        </p:spPr>
        <p:txBody>
          <a:bodyPr>
            <a:spAutoFit/>
          </a:bodyPr>
          <a:lstStyle/>
          <a:p>
            <a:pPr marL="342900" indent="-342900">
              <a:spcBef>
                <a:spcPts val="600"/>
              </a:spcBef>
              <a:spcAft>
                <a:spcPts val="600"/>
              </a:spcAft>
              <a:buFontTx/>
              <a:buAutoNum type="arabicPeriod"/>
            </a:pPr>
            <a:r>
              <a:rPr lang="zh-TW" altLang="en-US" dirty="0" smtClean="0">
                <a:solidFill>
                  <a:prstClr val="black"/>
                </a:solidFill>
                <a:hlinkClick r:id="rId3"/>
              </a:rPr>
              <a:t>微軟大量授權網站 </a:t>
            </a:r>
            <a:endParaRPr lang="en-US" altLang="zh-TW" dirty="0" smtClean="0">
              <a:solidFill>
                <a:prstClr val="black"/>
              </a:solidFill>
            </a:endParaRPr>
          </a:p>
          <a:p>
            <a:pPr>
              <a:spcBef>
                <a:spcPts val="600"/>
              </a:spcBef>
              <a:spcAft>
                <a:spcPts val="600"/>
              </a:spcAft>
            </a:pPr>
            <a:endParaRPr lang="en-US" altLang="zh-TW" dirty="0">
              <a:solidFill>
                <a:prstClr val="black"/>
              </a:solidFill>
            </a:endParaRPr>
          </a:p>
          <a:p>
            <a:pPr>
              <a:spcBef>
                <a:spcPts val="600"/>
              </a:spcBef>
              <a:spcAft>
                <a:spcPts val="600"/>
              </a:spcAft>
            </a:pPr>
            <a:endParaRPr lang="en-US" altLang="zh-TW" dirty="0" smtClean="0">
              <a:solidFill>
                <a:prstClr val="black"/>
              </a:solidFill>
            </a:endParaRPr>
          </a:p>
          <a:p>
            <a:pPr>
              <a:spcBef>
                <a:spcPts val="600"/>
              </a:spcBef>
              <a:spcAft>
                <a:spcPts val="600"/>
              </a:spcAft>
            </a:pPr>
            <a:endParaRPr lang="en-US" altLang="zh-TW" dirty="0">
              <a:solidFill>
                <a:prstClr val="black"/>
              </a:solidFill>
            </a:endParaRPr>
          </a:p>
          <a:p>
            <a:pPr>
              <a:spcBef>
                <a:spcPts val="600"/>
              </a:spcBef>
              <a:spcAft>
                <a:spcPts val="600"/>
              </a:spcAft>
            </a:pPr>
            <a:endParaRPr lang="en-US" altLang="zh-TW" dirty="0" smtClean="0">
              <a:solidFill>
                <a:prstClr val="black"/>
              </a:solidFill>
            </a:endParaRPr>
          </a:p>
          <a:p>
            <a:pPr>
              <a:spcBef>
                <a:spcPts val="600"/>
              </a:spcBef>
              <a:spcAft>
                <a:spcPts val="600"/>
              </a:spcAft>
            </a:pPr>
            <a:endParaRPr lang="en-US" altLang="zh-TW" dirty="0" smtClean="0">
              <a:solidFill>
                <a:prstClr val="black"/>
              </a:solidFill>
            </a:endParaRPr>
          </a:p>
        </p:txBody>
      </p:sp>
      <p:pic>
        <p:nvPicPr>
          <p:cNvPr id="4" name="Picture 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48272" y="2087999"/>
            <a:ext cx="4191000" cy="3919537"/>
          </a:xfrm>
          <a:prstGeom prst="rect">
            <a:avLst/>
          </a:prstGeom>
        </p:spPr>
      </p:pic>
      <p:sp>
        <p:nvSpPr>
          <p:cNvPr id="5" name="Rectangle 4"/>
          <p:cNvSpPr/>
          <p:nvPr/>
        </p:nvSpPr>
        <p:spPr>
          <a:xfrm>
            <a:off x="5029200" y="1537252"/>
            <a:ext cx="4572000" cy="2954655"/>
          </a:xfrm>
          <a:prstGeom prst="rect">
            <a:avLst/>
          </a:prstGeom>
        </p:spPr>
        <p:txBody>
          <a:bodyPr>
            <a:spAutoFit/>
          </a:bodyPr>
          <a:lstStyle/>
          <a:p>
            <a:pPr marL="342900" indent="-342900">
              <a:spcBef>
                <a:spcPts val="600"/>
              </a:spcBef>
              <a:spcAft>
                <a:spcPts val="600"/>
              </a:spcAft>
              <a:buFont typeface="+mj-lt"/>
              <a:buAutoNum type="arabicPeriod" startAt="2"/>
            </a:pPr>
            <a:r>
              <a:rPr lang="zh-TW" altLang="en-US" dirty="0">
                <a:solidFill>
                  <a:prstClr val="black"/>
                </a:solidFill>
                <a:hlinkClick r:id="rId5"/>
              </a:rPr>
              <a:t>授權三秒教 </a:t>
            </a:r>
            <a:r>
              <a:rPr lang="en-US" altLang="zh-TW" dirty="0">
                <a:solidFill>
                  <a:prstClr val="black"/>
                </a:solidFill>
                <a:hlinkClick r:id="rId5"/>
              </a:rPr>
              <a:t>:</a:t>
            </a:r>
            <a:endParaRPr lang="zh-TW" altLang="en-US" dirty="0">
              <a:solidFill>
                <a:prstClr val="black"/>
              </a:solidFill>
            </a:endParaRPr>
          </a:p>
          <a:p>
            <a:pPr>
              <a:spcBef>
                <a:spcPts val="600"/>
              </a:spcBef>
              <a:spcAft>
                <a:spcPts val="600"/>
              </a:spcAft>
            </a:pPr>
            <a:endParaRPr lang="en-US" altLang="zh-TW" dirty="0" smtClean="0">
              <a:solidFill>
                <a:prstClr val="black"/>
              </a:solidFill>
            </a:endParaRPr>
          </a:p>
          <a:p>
            <a:pPr>
              <a:spcBef>
                <a:spcPts val="600"/>
              </a:spcBef>
              <a:spcAft>
                <a:spcPts val="600"/>
              </a:spcAft>
            </a:pPr>
            <a:endParaRPr lang="en-US" altLang="zh-TW" dirty="0">
              <a:solidFill>
                <a:prstClr val="black"/>
              </a:solidFill>
            </a:endParaRPr>
          </a:p>
          <a:p>
            <a:pPr>
              <a:spcBef>
                <a:spcPts val="600"/>
              </a:spcBef>
              <a:spcAft>
                <a:spcPts val="600"/>
              </a:spcAft>
            </a:pPr>
            <a:endParaRPr lang="en-US" altLang="zh-TW" dirty="0" smtClean="0">
              <a:solidFill>
                <a:prstClr val="black"/>
              </a:solidFill>
            </a:endParaRPr>
          </a:p>
          <a:p>
            <a:pPr>
              <a:spcBef>
                <a:spcPts val="600"/>
              </a:spcBef>
              <a:spcAft>
                <a:spcPts val="600"/>
              </a:spcAft>
            </a:pPr>
            <a:endParaRPr lang="en-US" altLang="zh-TW" dirty="0">
              <a:solidFill>
                <a:prstClr val="black"/>
              </a:solidFill>
            </a:endParaRPr>
          </a:p>
          <a:p>
            <a:pPr>
              <a:spcBef>
                <a:spcPts val="600"/>
              </a:spcBef>
              <a:spcAft>
                <a:spcPts val="600"/>
              </a:spcAft>
            </a:pPr>
            <a:endParaRPr lang="en-US" altLang="zh-TW" dirty="0" smtClean="0">
              <a:solidFill>
                <a:prstClr val="black"/>
              </a:solidFill>
            </a:endParaRPr>
          </a:p>
          <a:p>
            <a:pPr>
              <a:spcBef>
                <a:spcPts val="600"/>
              </a:spcBef>
              <a:spcAft>
                <a:spcPts val="600"/>
              </a:spcAft>
            </a:pPr>
            <a:endParaRPr lang="en-US" altLang="zh-TW" dirty="0" smtClean="0">
              <a:solidFill>
                <a:prstClr val="black"/>
              </a:solidFill>
            </a:endParaRPr>
          </a:p>
        </p:txBody>
      </p:sp>
      <p:pic>
        <p:nvPicPr>
          <p:cNvPr id="7" name="Picture 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572000" y="2209800"/>
            <a:ext cx="4231541" cy="4065255"/>
          </a:xfrm>
          <a:prstGeom prst="rect">
            <a:avLst/>
          </a:prstGeom>
        </p:spPr>
      </p:pic>
    </p:spTree>
    <p:extLst>
      <p:ext uri="{BB962C8B-B14F-4D97-AF65-F5344CB8AC3E}">
        <p14:creationId xmlns:p14="http://schemas.microsoft.com/office/powerpoint/2010/main" val="3815092341"/>
      </p:ext>
    </p:extLst>
  </p:cSld>
  <p:clrMapOvr>
    <a:masterClrMapping/>
  </p:clrMapOvr>
  <p:transition>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zh-TW" altLang="en-US" smtClean="0"/>
              <a:t>常被搞混的授權觀念</a:t>
            </a:r>
            <a:endParaRPr lang="zh-TW" altLang="en-US" dirty="0"/>
          </a:p>
        </p:txBody>
      </p:sp>
      <p:sp>
        <p:nvSpPr>
          <p:cNvPr id="5" name="Text Placeholder 4"/>
          <p:cNvSpPr>
            <a:spLocks noGrp="1"/>
          </p:cNvSpPr>
          <p:nvPr>
            <p:ph type="body" idx="1"/>
          </p:nvPr>
        </p:nvSpPr>
        <p:spPr/>
        <p:txBody>
          <a:bodyPr/>
          <a:lstStyle/>
          <a:p>
            <a:endParaRPr lang="zh-TW" altLang="en-US"/>
          </a:p>
        </p:txBody>
      </p:sp>
      <p:sp>
        <p:nvSpPr>
          <p:cNvPr id="2" name="投影片編號版面配置區 1"/>
          <p:cNvSpPr>
            <a:spLocks noGrp="1"/>
          </p:cNvSpPr>
          <p:nvPr>
            <p:ph type="sldNum" sz="quarter" idx="12"/>
          </p:nvPr>
        </p:nvSpPr>
        <p:spPr/>
        <p:txBody>
          <a:bodyPr/>
          <a:lstStyle/>
          <a:p>
            <a:pPr>
              <a:defRPr/>
            </a:pPr>
            <a:fld id="{24C6579D-D8A0-414D-A023-3E30D95D7F6B}" type="slidenum">
              <a:rPr lang="en-US" smtClean="0"/>
              <a:pPr>
                <a:defRPr/>
              </a:pPr>
              <a:t>61</a:t>
            </a:fld>
            <a:endParaRPr lang="zh-CN" altLang="en-US"/>
          </a:p>
        </p:txBody>
      </p:sp>
    </p:spTree>
    <p:extLst>
      <p:ext uri="{BB962C8B-B14F-4D97-AF65-F5344CB8AC3E}">
        <p14:creationId xmlns:p14="http://schemas.microsoft.com/office/powerpoint/2010/main" val="241334284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內容版面配置區 2"/>
          <p:cNvSpPr>
            <a:spLocks noGrp="1"/>
          </p:cNvSpPr>
          <p:nvPr>
            <p:ph idx="1"/>
          </p:nvPr>
        </p:nvSpPr>
        <p:spPr>
          <a:xfrm>
            <a:off x="442913" y="2590800"/>
            <a:ext cx="8229600" cy="1552575"/>
          </a:xfrm>
        </p:spPr>
        <p:txBody>
          <a:bodyPr>
            <a:normAutofit lnSpcReduction="10000"/>
          </a:bodyPr>
          <a:lstStyle/>
          <a:p>
            <a:pPr eaLnBrk="1" hangingPunct="1"/>
            <a:r>
              <a:rPr lang="zh-TW" altLang="en-US" smtClean="0">
                <a:latin typeface="微軟正黑體" panose="020B0604030504040204" pitchFamily="34" charset="-120"/>
                <a:ea typeface="微軟正黑體" panose="020B0604030504040204" pitchFamily="34" charset="-120"/>
              </a:rPr>
              <a:t>企業目前使用</a:t>
            </a:r>
            <a:r>
              <a:rPr lang="en-US" altLang="zh-TW" smtClean="0">
                <a:latin typeface="微軟正黑體" panose="020B0604030504040204" pitchFamily="34" charset="-120"/>
                <a:ea typeface="微軟正黑體" panose="020B0604030504040204" pitchFamily="34" charset="-120"/>
              </a:rPr>
              <a:t>Windows Server 2003</a:t>
            </a:r>
            <a:r>
              <a:rPr lang="zh-TW" altLang="en-US" smtClean="0">
                <a:latin typeface="微軟正黑體" panose="020B0604030504040204" pitchFamily="34" charset="-120"/>
                <a:ea typeface="微軟正黑體" panose="020B0604030504040204" pitchFamily="34" charset="-120"/>
              </a:rPr>
              <a:t>，所有使用者也都合法取得</a:t>
            </a:r>
            <a:r>
              <a:rPr lang="en-US" altLang="zh-TW" smtClean="0">
                <a:latin typeface="微軟正黑體" panose="020B0604030504040204" pitchFamily="34" charset="-120"/>
                <a:ea typeface="微軟正黑體" panose="020B0604030504040204" pitchFamily="34" charset="-120"/>
              </a:rPr>
              <a:t>Windows CAL</a:t>
            </a:r>
            <a:r>
              <a:rPr lang="zh-TW" altLang="en-US" smtClean="0">
                <a:latin typeface="微軟正黑體" panose="020B0604030504040204" pitchFamily="34" charset="-120"/>
                <a:ea typeface="微軟正黑體" panose="020B0604030504040204" pitchFamily="34" charset="-120"/>
              </a:rPr>
              <a:t>授權連結</a:t>
            </a:r>
            <a:r>
              <a:rPr lang="en-US" altLang="zh-TW" smtClean="0">
                <a:latin typeface="微軟正黑體" panose="020B0604030504040204" pitchFamily="34" charset="-120"/>
                <a:ea typeface="微軟正黑體" panose="020B0604030504040204" pitchFamily="34" charset="-120"/>
              </a:rPr>
              <a:t>Windows 2003</a:t>
            </a:r>
          </a:p>
          <a:p>
            <a:pPr eaLnBrk="1" hangingPunct="1"/>
            <a:r>
              <a:rPr lang="zh-TW" altLang="en-US" smtClean="0">
                <a:latin typeface="微軟正黑體" panose="020B0604030504040204" pitchFamily="34" charset="-120"/>
                <a:ea typeface="微軟正黑體" panose="020B0604030504040204" pitchFamily="34" charset="-120"/>
              </a:rPr>
              <a:t>若規劃要將部份的</a:t>
            </a:r>
            <a:r>
              <a:rPr lang="en-US" altLang="zh-TW" smtClean="0">
                <a:latin typeface="微軟正黑體" panose="020B0604030504040204" pitchFamily="34" charset="-120"/>
                <a:ea typeface="微軟正黑體" panose="020B0604030504040204" pitchFamily="34" charset="-120"/>
              </a:rPr>
              <a:t>Windows Server </a:t>
            </a:r>
            <a:r>
              <a:rPr lang="zh-TW" altLang="en-US" smtClean="0">
                <a:latin typeface="微軟正黑體" panose="020B0604030504040204" pitchFamily="34" charset="-120"/>
                <a:ea typeface="微軟正黑體" panose="020B0604030504040204" pitchFamily="34" charset="-120"/>
              </a:rPr>
              <a:t>升級到</a:t>
            </a:r>
            <a:r>
              <a:rPr lang="en-US" altLang="zh-TW" smtClean="0">
                <a:latin typeface="微軟正黑體" panose="020B0604030504040204" pitchFamily="34" charset="-120"/>
                <a:ea typeface="微軟正黑體" panose="020B0604030504040204" pitchFamily="34" charset="-120"/>
              </a:rPr>
              <a:t>2008</a:t>
            </a:r>
            <a:r>
              <a:rPr lang="zh-TW" altLang="en-US" smtClean="0">
                <a:latin typeface="微軟正黑體" panose="020B0604030504040204" pitchFamily="34" charset="-120"/>
                <a:ea typeface="微軟正黑體" panose="020B0604030504040204" pitchFamily="34" charset="-120"/>
              </a:rPr>
              <a:t>，軟體授權該如何規劃</a:t>
            </a:r>
            <a:r>
              <a:rPr lang="en-US" altLang="zh-TW" smtClean="0">
                <a:latin typeface="微軟正黑體" panose="020B0604030504040204" pitchFamily="34" charset="-120"/>
                <a:ea typeface="微軟正黑體" panose="020B0604030504040204" pitchFamily="34" charset="-120"/>
              </a:rPr>
              <a:t>?</a:t>
            </a:r>
            <a:endParaRPr lang="en-US" altLang="zh-TW" dirty="0" smtClean="0">
              <a:latin typeface="微軟正黑體" panose="020B0604030504040204" pitchFamily="34" charset="-120"/>
              <a:ea typeface="微軟正黑體" panose="020B0604030504040204" pitchFamily="34" charset="-120"/>
            </a:endParaRPr>
          </a:p>
        </p:txBody>
      </p:sp>
      <p:sp>
        <p:nvSpPr>
          <p:cNvPr id="2" name="標題 1"/>
          <p:cNvSpPr>
            <a:spLocks noGrp="1"/>
          </p:cNvSpPr>
          <p:nvPr>
            <p:ph type="title"/>
          </p:nvPr>
        </p:nvSpPr>
        <p:spPr/>
        <p:txBody>
          <a:bodyPr>
            <a:normAutofit fontScale="90000"/>
          </a:bodyPr>
          <a:lstStyle/>
          <a:p>
            <a:pPr>
              <a:defRPr/>
            </a:pPr>
            <a:r>
              <a:rPr lang="zh-TW" altLang="en-US" dirty="0" smtClean="0">
                <a:latin typeface="微軟正黑體" panose="020B0604030504040204" pitchFamily="34" charset="-120"/>
                <a:ea typeface="微軟正黑體" panose="020B0604030504040204" pitchFamily="34" charset="-120"/>
              </a:rPr>
              <a:t>微軟</a:t>
            </a:r>
            <a:r>
              <a:rPr lang="en-US" altLang="zh-TW" dirty="0" smtClean="0">
                <a:latin typeface="微軟正黑體" panose="020B0604030504040204" pitchFamily="34" charset="-120"/>
                <a:ea typeface="微軟正黑體" panose="020B0604030504040204" pitchFamily="34" charset="-120"/>
              </a:rPr>
              <a:t>Server/CAL</a:t>
            </a:r>
            <a:r>
              <a:rPr lang="zh-TW" altLang="en-US" dirty="0" smtClean="0">
                <a:latin typeface="微軟正黑體" panose="020B0604030504040204" pitchFamily="34" charset="-120"/>
                <a:ea typeface="微軟正黑體" panose="020B0604030504040204" pitchFamily="34" charset="-120"/>
              </a:rPr>
              <a:t>常見的授權疑問一</a:t>
            </a:r>
            <a:r>
              <a:rPr lang="en-US" altLang="zh-TW" dirty="0" smtClean="0">
                <a:latin typeface="微軟正黑體" panose="020B0604030504040204" pitchFamily="34" charset="-120"/>
                <a:ea typeface="微軟正黑體" panose="020B0604030504040204" pitchFamily="34" charset="-120"/>
              </a:rPr>
              <a:t>:</a:t>
            </a:r>
            <a:endParaRPr lang="zh-TW" altLang="en-US" dirty="0">
              <a:latin typeface="微軟正黑體" panose="020B0604030504040204" pitchFamily="34" charset="-120"/>
              <a:ea typeface="微軟正黑體" panose="020B0604030504040204" pitchFamily="34" charset="-120"/>
            </a:endParaRPr>
          </a:p>
        </p:txBody>
      </p:sp>
      <p:sp>
        <p:nvSpPr>
          <p:cNvPr id="5" name="矩形 4"/>
          <p:cNvSpPr/>
          <p:nvPr/>
        </p:nvSpPr>
        <p:spPr>
          <a:xfrm>
            <a:off x="557213" y="4214813"/>
            <a:ext cx="8143875" cy="2308225"/>
          </a:xfrm>
          <a:prstGeom prst="rect">
            <a:avLst/>
          </a:prstGeom>
        </p:spPr>
        <p:style>
          <a:lnRef idx="1">
            <a:schemeClr val="accent3"/>
          </a:lnRef>
          <a:fillRef idx="2">
            <a:schemeClr val="accent3"/>
          </a:fillRef>
          <a:effectRef idx="1">
            <a:schemeClr val="accent3"/>
          </a:effectRef>
          <a:fontRef idx="minor">
            <a:schemeClr val="dk1"/>
          </a:fontRef>
        </p:style>
        <p:txBody>
          <a:bodyPr>
            <a:spAutoFit/>
          </a:bodyPr>
          <a:lstStyle/>
          <a:p>
            <a:pPr>
              <a:defRPr/>
            </a:pPr>
            <a:r>
              <a:rPr lang="en-US" altLang="zh-TW" sz="2400" dirty="0">
                <a:latin typeface="微軟正黑體" pitchFamily="34" charset="-120"/>
                <a:ea typeface="微軟正黑體" panose="020B0604030504040204" pitchFamily="34" charset="-120"/>
              </a:rPr>
              <a:t>CAL</a:t>
            </a:r>
            <a:r>
              <a:rPr lang="zh-TW" altLang="en-US" sz="2400" dirty="0">
                <a:latin typeface="微軟正黑體" pitchFamily="34" charset="-120"/>
                <a:ea typeface="微軟正黑體" panose="020B0604030504040204" pitchFamily="34" charset="-120"/>
              </a:rPr>
              <a:t>存取</a:t>
            </a:r>
            <a:r>
              <a:rPr lang="en-US" altLang="zh-TW" sz="2400" dirty="0">
                <a:latin typeface="微軟正黑體" pitchFamily="34" charset="-120"/>
                <a:ea typeface="微軟正黑體" panose="020B0604030504040204" pitchFamily="34" charset="-120"/>
              </a:rPr>
              <a:t>Server</a:t>
            </a:r>
            <a:r>
              <a:rPr lang="zh-TW" altLang="en-US" sz="2400" dirty="0">
                <a:latin typeface="微軟正黑體" pitchFamily="34" charset="-120"/>
                <a:ea typeface="微軟正黑體" panose="020B0604030504040204" pitchFamily="34" charset="-120"/>
              </a:rPr>
              <a:t>的版本要一致</a:t>
            </a:r>
            <a:r>
              <a:rPr lang="en-US" altLang="zh-TW" sz="2400" dirty="0">
                <a:latin typeface="微軟正黑體" pitchFamily="34" charset="-120"/>
                <a:ea typeface="微軟正黑體" panose="020B0604030504040204" pitchFamily="34" charset="-120"/>
              </a:rPr>
              <a:t>!</a:t>
            </a:r>
          </a:p>
          <a:p>
            <a:pPr>
              <a:defRPr/>
            </a:pPr>
            <a:r>
              <a:rPr lang="zh-TW" altLang="en-US" sz="2400" dirty="0">
                <a:latin typeface="微軟正黑體" pitchFamily="34" charset="-120"/>
                <a:ea typeface="微軟正黑體" panose="020B0604030504040204" pitchFamily="34" charset="-120"/>
              </a:rPr>
              <a:t>如果客戶所有的使用者都會存取到新的</a:t>
            </a:r>
            <a:r>
              <a:rPr lang="en-US" altLang="zh-TW" sz="2400" dirty="0">
                <a:latin typeface="微軟正黑體" pitchFamily="34" charset="-120"/>
                <a:ea typeface="微軟正黑體" panose="020B0604030504040204" pitchFamily="34" charset="-120"/>
              </a:rPr>
              <a:t>Windows Server 2008</a:t>
            </a:r>
            <a:r>
              <a:rPr lang="zh-TW" altLang="en-US" sz="2400" dirty="0">
                <a:latin typeface="微軟正黑體" pitchFamily="34" charset="-120"/>
                <a:ea typeface="微軟正黑體" panose="020B0604030504040204" pitchFamily="34" charset="-120"/>
              </a:rPr>
              <a:t>，那就要為使用者購買</a:t>
            </a:r>
            <a:r>
              <a:rPr lang="en-US" altLang="zh-TW" sz="2400" dirty="0">
                <a:latin typeface="微軟正黑體" pitchFamily="34" charset="-120"/>
                <a:ea typeface="微軟正黑體" panose="020B0604030504040204" pitchFamily="34" charset="-120"/>
              </a:rPr>
              <a:t>Windows Server 2008 CAL</a:t>
            </a:r>
            <a:r>
              <a:rPr lang="zh-TW" altLang="en-US" sz="2400" dirty="0">
                <a:latin typeface="微軟正黑體" pitchFamily="34" charset="-120"/>
                <a:ea typeface="微軟正黑體" panose="020B0604030504040204" pitchFamily="34" charset="-120"/>
              </a:rPr>
              <a:t>。</a:t>
            </a:r>
            <a:endParaRPr lang="en-US" altLang="zh-TW" sz="2400" dirty="0">
              <a:latin typeface="微軟正黑體" pitchFamily="34" charset="-120"/>
              <a:ea typeface="微軟正黑體" panose="020B0604030504040204" pitchFamily="34" charset="-120"/>
            </a:endParaRPr>
          </a:p>
          <a:p>
            <a:pPr>
              <a:defRPr/>
            </a:pPr>
            <a:endParaRPr lang="en-US" altLang="zh-TW" sz="2400" dirty="0">
              <a:latin typeface="微軟正黑體" pitchFamily="34" charset="-120"/>
              <a:ea typeface="微軟正黑體" panose="020B0604030504040204" pitchFamily="34" charset="-120"/>
            </a:endParaRPr>
          </a:p>
          <a:p>
            <a:pPr>
              <a:defRPr/>
            </a:pPr>
            <a:r>
              <a:rPr lang="zh-TW" altLang="en-US" sz="2400" dirty="0">
                <a:latin typeface="微軟正黑體" pitchFamily="34" charset="-120"/>
                <a:ea typeface="微軟正黑體" panose="020B0604030504040204" pitchFamily="34" charset="-120"/>
              </a:rPr>
              <a:t>所以客戶在規劃軟體授權時要計算</a:t>
            </a:r>
            <a:r>
              <a:rPr lang="en-US" altLang="zh-TW" sz="2400" dirty="0">
                <a:latin typeface="微軟正黑體" pitchFamily="34" charset="-120"/>
                <a:ea typeface="微軟正黑體" panose="020B0604030504040204" pitchFamily="34" charset="-120"/>
              </a:rPr>
              <a:t>Windows Server </a:t>
            </a:r>
            <a:r>
              <a:rPr lang="zh-TW" altLang="en-US" sz="2400" dirty="0">
                <a:latin typeface="微軟正黑體" pitchFamily="34" charset="-120"/>
                <a:ea typeface="微軟正黑體" panose="020B0604030504040204" pitchFamily="34" charset="-120"/>
              </a:rPr>
              <a:t>及 </a:t>
            </a:r>
            <a:r>
              <a:rPr lang="en-US" altLang="zh-TW" sz="2400" dirty="0">
                <a:latin typeface="微軟正黑體" pitchFamily="34" charset="-120"/>
                <a:ea typeface="微軟正黑體" panose="020B0604030504040204" pitchFamily="34" charset="-120"/>
              </a:rPr>
              <a:t>CAL</a:t>
            </a:r>
            <a:r>
              <a:rPr lang="zh-TW" altLang="en-US" sz="2400" dirty="0">
                <a:latin typeface="微軟正黑體" pitchFamily="34" charset="-120"/>
                <a:ea typeface="微軟正黑體" panose="020B0604030504040204" pitchFamily="34" charset="-120"/>
              </a:rPr>
              <a:t>數量。</a:t>
            </a:r>
          </a:p>
        </p:txBody>
      </p:sp>
      <p:sp>
        <p:nvSpPr>
          <p:cNvPr id="3" name="投影片編號版面配置區 2"/>
          <p:cNvSpPr>
            <a:spLocks noGrp="1"/>
          </p:cNvSpPr>
          <p:nvPr>
            <p:ph type="sldNum" sz="quarter" idx="12"/>
          </p:nvPr>
        </p:nvSpPr>
        <p:spPr/>
        <p:txBody>
          <a:bodyPr/>
          <a:lstStyle/>
          <a:p>
            <a:pPr>
              <a:defRPr/>
            </a:pPr>
            <a:fld id="{1D9970BA-2F58-4996-9806-696110DA0FEA}" type="slidenum">
              <a:rPr lang="en-US" smtClean="0"/>
              <a:pPr>
                <a:defRPr/>
              </a:pPr>
              <a:t>62</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內容版面配置區 2"/>
          <p:cNvSpPr>
            <a:spLocks noGrp="1"/>
          </p:cNvSpPr>
          <p:nvPr>
            <p:ph idx="1"/>
          </p:nvPr>
        </p:nvSpPr>
        <p:spPr>
          <a:xfrm>
            <a:off x="855406" y="1838632"/>
            <a:ext cx="7831394" cy="1447493"/>
          </a:xfrm>
        </p:spPr>
        <p:txBody>
          <a:bodyPr/>
          <a:lstStyle/>
          <a:p>
            <a:pPr eaLnBrk="1" hangingPunct="1"/>
            <a:r>
              <a:rPr lang="en-US" altLang="zh-TW" b="1" smtClean="0">
                <a:latin typeface="微軟正黑體" panose="020B0604030504040204" pitchFamily="34" charset="-120"/>
                <a:ea typeface="微軟正黑體" panose="020B0604030504040204" pitchFamily="34" charset="-120"/>
              </a:rPr>
              <a:t>CRM</a:t>
            </a:r>
            <a:r>
              <a:rPr lang="zh-TW" altLang="en-US" b="1" smtClean="0">
                <a:latin typeface="微軟正黑體" panose="020B0604030504040204" pitchFamily="34" charset="-120"/>
                <a:ea typeface="微軟正黑體" panose="020B0604030504040204" pitchFamily="34" charset="-120"/>
              </a:rPr>
              <a:t>系統後端使用</a:t>
            </a:r>
            <a:r>
              <a:rPr lang="en-US" altLang="zh-TW" b="1" smtClean="0">
                <a:latin typeface="微軟正黑體" panose="020B0604030504040204" pitchFamily="34" charset="-120"/>
                <a:ea typeface="微軟正黑體" panose="020B0604030504040204" pitchFamily="34" charset="-120"/>
              </a:rPr>
              <a:t>SQL Server</a:t>
            </a:r>
            <a:r>
              <a:rPr lang="zh-TW" altLang="en-US" b="1" smtClean="0">
                <a:latin typeface="微軟正黑體" panose="020B0604030504040204" pitchFamily="34" charset="-120"/>
                <a:ea typeface="微軟正黑體" panose="020B0604030504040204" pitchFamily="34" charset="-120"/>
              </a:rPr>
              <a:t>，使用者並沒有直接存取</a:t>
            </a:r>
            <a:r>
              <a:rPr lang="en-US" altLang="zh-TW" b="1" smtClean="0">
                <a:latin typeface="微軟正黑體" panose="020B0604030504040204" pitchFamily="34" charset="-120"/>
                <a:ea typeface="微軟正黑體" panose="020B0604030504040204" pitchFamily="34" charset="-120"/>
              </a:rPr>
              <a:t>SQL Server</a:t>
            </a:r>
            <a:r>
              <a:rPr lang="zh-TW" altLang="en-US" b="1" smtClean="0">
                <a:latin typeface="微軟正黑體" panose="020B0604030504040204" pitchFamily="34" charset="-120"/>
                <a:ea typeface="微軟正黑體" panose="020B0604030504040204" pitchFamily="34" charset="-120"/>
              </a:rPr>
              <a:t>，這樣需要買</a:t>
            </a:r>
            <a:r>
              <a:rPr lang="en-US" altLang="zh-TW" b="1" smtClean="0">
                <a:latin typeface="微軟正黑體" panose="020B0604030504040204" pitchFamily="34" charset="-120"/>
                <a:ea typeface="微軟正黑體" panose="020B0604030504040204" pitchFamily="34" charset="-120"/>
              </a:rPr>
              <a:t>SQL CAL</a:t>
            </a:r>
            <a:r>
              <a:rPr lang="zh-TW" altLang="en-US" b="1" smtClean="0">
                <a:latin typeface="微軟正黑體" panose="020B0604030504040204" pitchFamily="34" charset="-120"/>
                <a:ea typeface="微軟正黑體" panose="020B0604030504040204" pitchFamily="34" charset="-120"/>
              </a:rPr>
              <a:t>嗎</a:t>
            </a:r>
            <a:r>
              <a:rPr lang="en-US" altLang="zh-TW" b="1" smtClean="0">
                <a:latin typeface="微軟正黑體" panose="020B0604030504040204" pitchFamily="34" charset="-120"/>
                <a:ea typeface="微軟正黑體" panose="020B0604030504040204" pitchFamily="34" charset="-120"/>
              </a:rPr>
              <a:t>?</a:t>
            </a:r>
            <a:endParaRPr lang="en-US" altLang="zh-TW" b="1" dirty="0" smtClean="0">
              <a:latin typeface="微軟正黑體" panose="020B0604030504040204" pitchFamily="34" charset="-120"/>
              <a:ea typeface="微軟正黑體" panose="020B0604030504040204" pitchFamily="34" charset="-120"/>
            </a:endParaRPr>
          </a:p>
        </p:txBody>
      </p:sp>
      <p:sp>
        <p:nvSpPr>
          <p:cNvPr id="2" name="標題 1"/>
          <p:cNvSpPr>
            <a:spLocks noGrp="1"/>
          </p:cNvSpPr>
          <p:nvPr>
            <p:ph type="title"/>
          </p:nvPr>
        </p:nvSpPr>
        <p:spPr/>
        <p:txBody>
          <a:bodyPr>
            <a:normAutofit fontScale="90000"/>
          </a:bodyPr>
          <a:lstStyle/>
          <a:p>
            <a:pPr>
              <a:defRPr/>
            </a:pPr>
            <a:r>
              <a:rPr lang="zh-TW" altLang="en-US" smtClean="0">
                <a:latin typeface="微軟正黑體" panose="020B0604030504040204" pitchFamily="34" charset="-120"/>
                <a:ea typeface="微軟正黑體" panose="020B0604030504040204" pitchFamily="34" charset="-120"/>
              </a:rPr>
              <a:t>微軟</a:t>
            </a:r>
            <a:r>
              <a:rPr lang="en-US" altLang="zh-TW" smtClean="0">
                <a:latin typeface="微軟正黑體" panose="020B0604030504040204" pitchFamily="34" charset="-120"/>
                <a:ea typeface="微軟正黑體" panose="020B0604030504040204" pitchFamily="34" charset="-120"/>
              </a:rPr>
              <a:t>Server/CAL</a:t>
            </a:r>
            <a:r>
              <a:rPr lang="zh-TW" altLang="en-US" smtClean="0">
                <a:latin typeface="微軟正黑體" panose="020B0604030504040204" pitchFamily="34" charset="-120"/>
                <a:ea typeface="微軟正黑體" panose="020B0604030504040204" pitchFamily="34" charset="-120"/>
              </a:rPr>
              <a:t>常見的授權疑問二</a:t>
            </a:r>
            <a:r>
              <a:rPr lang="en-US" altLang="zh-TW" smtClean="0">
                <a:latin typeface="微軟正黑體" panose="020B0604030504040204" pitchFamily="34" charset="-120"/>
                <a:ea typeface="微軟正黑體" panose="020B0604030504040204" pitchFamily="34" charset="-120"/>
              </a:rPr>
              <a:t>:</a:t>
            </a:r>
            <a:br>
              <a:rPr lang="en-US" altLang="zh-TW" smtClean="0">
                <a:latin typeface="微軟正黑體" panose="020B0604030504040204" pitchFamily="34" charset="-120"/>
                <a:ea typeface="微軟正黑體" panose="020B0604030504040204" pitchFamily="34" charset="-120"/>
              </a:rPr>
            </a:br>
            <a:r>
              <a:rPr lang="en-US" altLang="zh-TW" smtClean="0">
                <a:latin typeface="微軟正黑體" panose="020B0604030504040204" pitchFamily="34" charset="-120"/>
                <a:ea typeface="微軟正黑體" panose="020B0604030504040204" pitchFamily="34" charset="-120"/>
              </a:rPr>
              <a:t>SQL Server - Multiplexing</a:t>
            </a:r>
            <a:endParaRPr lang="zh-TW" altLang="en-US" dirty="0">
              <a:latin typeface="微軟正黑體" panose="020B0604030504040204" pitchFamily="34" charset="-120"/>
              <a:ea typeface="微軟正黑體" panose="020B0604030504040204" pitchFamily="34" charset="-120"/>
            </a:endParaRPr>
          </a:p>
        </p:txBody>
      </p:sp>
      <p:pic>
        <p:nvPicPr>
          <p:cNvPr id="79876" name="Picture 2" descr="slide1"/>
          <p:cNvPicPr>
            <a:picLocks noChangeAspect="1" noChangeArrowheads="1"/>
          </p:cNvPicPr>
          <p:nvPr/>
        </p:nvPicPr>
        <p:blipFill>
          <a:blip r:embed="rId2" cstate="print"/>
          <a:srcRect/>
          <a:stretch>
            <a:fillRect/>
          </a:stretch>
        </p:blipFill>
        <p:spPr bwMode="auto">
          <a:xfrm>
            <a:off x="1990725" y="2643188"/>
            <a:ext cx="5724525" cy="1914525"/>
          </a:xfrm>
          <a:prstGeom prst="rect">
            <a:avLst/>
          </a:prstGeom>
          <a:noFill/>
          <a:ln w="9525">
            <a:noFill/>
            <a:miter lim="800000"/>
            <a:headEnd/>
            <a:tailEnd/>
          </a:ln>
        </p:spPr>
      </p:pic>
      <p:sp>
        <p:nvSpPr>
          <p:cNvPr id="5" name="矩形 4"/>
          <p:cNvSpPr/>
          <p:nvPr/>
        </p:nvSpPr>
        <p:spPr>
          <a:xfrm>
            <a:off x="1331913" y="4776788"/>
            <a:ext cx="7500937" cy="1274762"/>
          </a:xfrm>
          <a:prstGeom prst="rect">
            <a:avLst/>
          </a:prstGeom>
        </p:spPr>
        <p:style>
          <a:lnRef idx="1">
            <a:schemeClr val="accent3"/>
          </a:lnRef>
          <a:fillRef idx="2">
            <a:schemeClr val="accent3"/>
          </a:fillRef>
          <a:effectRef idx="1">
            <a:schemeClr val="accent3"/>
          </a:effectRef>
          <a:fontRef idx="minor">
            <a:schemeClr val="dk1"/>
          </a:fontRef>
        </p:style>
        <p:txBody>
          <a:bodyPr>
            <a:spAutoFit/>
          </a:bodyPr>
          <a:lstStyle/>
          <a:p>
            <a:pPr marL="274320" indent="-274320">
              <a:spcBef>
                <a:spcPct val="20000"/>
              </a:spcBef>
              <a:buClr>
                <a:schemeClr val="accent3"/>
              </a:buClr>
              <a:buSzPct val="95000"/>
              <a:buFont typeface="Wingdings 2"/>
              <a:buChar char=""/>
              <a:defRPr/>
            </a:pPr>
            <a:r>
              <a:rPr lang="zh-TW" altLang="en-US" sz="2400" dirty="0">
                <a:latin typeface="微軟正黑體" panose="020B0604030504040204" pitchFamily="34" charset="-120"/>
                <a:ea typeface="微軟正黑體" panose="020B0604030504040204" pitchFamily="34" charset="-120"/>
              </a:rPr>
              <a:t>需要</a:t>
            </a:r>
            <a:r>
              <a:rPr lang="en-US" altLang="zh-TW" sz="2400" dirty="0">
                <a:latin typeface="微軟正黑體" panose="020B0604030504040204" pitchFamily="34" charset="-120"/>
                <a:ea typeface="微軟正黑體" panose="020B0604030504040204" pitchFamily="34" charset="-120"/>
              </a:rPr>
              <a:t>!</a:t>
            </a:r>
          </a:p>
          <a:p>
            <a:pPr marL="274320" indent="-274320">
              <a:spcBef>
                <a:spcPct val="20000"/>
              </a:spcBef>
              <a:buClr>
                <a:schemeClr val="accent3"/>
              </a:buClr>
              <a:buSzPct val="95000"/>
              <a:buFont typeface="Wingdings 2"/>
              <a:buChar char=""/>
              <a:defRPr/>
            </a:pPr>
            <a:r>
              <a:rPr lang="zh-TW" altLang="en-US" sz="2400" dirty="0">
                <a:latin typeface="微軟正黑體" panose="020B0604030504040204" pitchFamily="34" charset="-120"/>
                <a:ea typeface="微軟正黑體" panose="020B0604030504040204" pitchFamily="34" charset="-120"/>
              </a:rPr>
              <a:t>不論是直接或間接存取</a:t>
            </a:r>
            <a:r>
              <a:rPr lang="en-US" altLang="zh-TW" sz="2400" dirty="0">
                <a:latin typeface="微軟正黑體" panose="020B0604030504040204" pitchFamily="34" charset="-120"/>
                <a:ea typeface="微軟正黑體" panose="020B0604030504040204" pitchFamily="34" charset="-120"/>
              </a:rPr>
              <a:t>SQL Server</a:t>
            </a:r>
            <a:r>
              <a:rPr lang="zh-TW" altLang="en-US" sz="2400" dirty="0">
                <a:latin typeface="微軟正黑體" panose="020B0604030504040204" pitchFamily="34" charset="-120"/>
                <a:ea typeface="微軟正黑體" panose="020B0604030504040204" pitchFamily="34" charset="-120"/>
              </a:rPr>
              <a:t>，只要有使用到</a:t>
            </a:r>
            <a:r>
              <a:rPr lang="en-US" altLang="zh-TW" sz="2400" dirty="0">
                <a:latin typeface="微軟正黑體" panose="020B0604030504040204" pitchFamily="34" charset="-120"/>
                <a:ea typeface="微軟正黑體" panose="020B0604030504040204" pitchFamily="34" charset="-120"/>
              </a:rPr>
              <a:t>SQL Server</a:t>
            </a:r>
            <a:r>
              <a:rPr lang="zh-TW" altLang="en-US" sz="2400" dirty="0">
                <a:latin typeface="微軟正黑體" panose="020B0604030504040204" pitchFamily="34" charset="-120"/>
                <a:ea typeface="微軟正黑體" panose="020B0604030504040204" pitchFamily="34" charset="-120"/>
              </a:rPr>
              <a:t>都需要取得</a:t>
            </a:r>
            <a:r>
              <a:rPr lang="en-US" altLang="zh-TW" sz="2400" dirty="0">
                <a:latin typeface="微軟正黑體" panose="020B0604030504040204" pitchFamily="34" charset="-120"/>
                <a:ea typeface="微軟正黑體" panose="020B0604030504040204" pitchFamily="34" charset="-120"/>
              </a:rPr>
              <a:t>CAL</a:t>
            </a:r>
            <a:r>
              <a:rPr lang="zh-TW" altLang="en-US" sz="2400" dirty="0">
                <a:latin typeface="微軟正黑體" panose="020B0604030504040204" pitchFamily="34" charset="-120"/>
                <a:ea typeface="微軟正黑體" panose="020B0604030504040204" pitchFamily="34" charset="-120"/>
              </a:rPr>
              <a:t>授權。</a:t>
            </a:r>
          </a:p>
        </p:txBody>
      </p:sp>
      <p:sp>
        <p:nvSpPr>
          <p:cNvPr id="3" name="投影片編號版面配置區 2"/>
          <p:cNvSpPr>
            <a:spLocks noGrp="1"/>
          </p:cNvSpPr>
          <p:nvPr>
            <p:ph type="sldNum" sz="quarter" idx="12"/>
          </p:nvPr>
        </p:nvSpPr>
        <p:spPr/>
        <p:txBody>
          <a:bodyPr/>
          <a:lstStyle/>
          <a:p>
            <a:pPr>
              <a:defRPr/>
            </a:pPr>
            <a:fld id="{1D9970BA-2F58-4996-9806-696110DA0FEA}" type="slidenum">
              <a:rPr lang="en-US" smtClean="0"/>
              <a:pPr>
                <a:defRPr/>
              </a:pPr>
              <a:t>63</a:t>
            </a:fld>
            <a:endParaRPr lang="zh-CN" altLang="en-US"/>
          </a:p>
        </p:txBody>
      </p:sp>
    </p:spTree>
    <p:extLst>
      <p:ext uri="{BB962C8B-B14F-4D97-AF65-F5344CB8AC3E}">
        <p14:creationId xmlns:p14="http://schemas.microsoft.com/office/powerpoint/2010/main" val="34860118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53" presetClass="entr" presetSubtype="0" fill="hold" grpId="1"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p:cTn id="13" dur="500" fill="hold"/>
                                        <p:tgtEl>
                                          <p:spTgt spid="5"/>
                                        </p:tgtEl>
                                        <p:attrNameLst>
                                          <p:attrName>ppt_w</p:attrName>
                                        </p:attrNameLst>
                                      </p:cBhvr>
                                      <p:tavLst>
                                        <p:tav tm="0">
                                          <p:val>
                                            <p:fltVal val="0"/>
                                          </p:val>
                                        </p:tav>
                                        <p:tav tm="100000">
                                          <p:val>
                                            <p:strVal val="#ppt_w"/>
                                          </p:val>
                                        </p:tav>
                                      </p:tavLst>
                                    </p:anim>
                                    <p:anim calcmode="lin" valueType="num">
                                      <p:cBhvr>
                                        <p:cTn id="14" dur="500" fill="hold"/>
                                        <p:tgtEl>
                                          <p:spTgt spid="5"/>
                                        </p:tgtEl>
                                        <p:attrNameLst>
                                          <p:attrName>ppt_h</p:attrName>
                                        </p:attrNameLst>
                                      </p:cBhvr>
                                      <p:tavLst>
                                        <p:tav tm="0">
                                          <p:val>
                                            <p:fltVal val="0"/>
                                          </p:val>
                                        </p:tav>
                                        <p:tav tm="100000">
                                          <p:val>
                                            <p:strVal val="#ppt_h"/>
                                          </p:val>
                                        </p:tav>
                                      </p:tavLst>
                                    </p:anim>
                                    <p:animEffect transition="in" filter="fade">
                                      <p:cBhvr>
                                        <p:cTn id="1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內容版面配置區 1"/>
          <p:cNvSpPr>
            <a:spLocks noGrp="1"/>
          </p:cNvSpPr>
          <p:nvPr>
            <p:ph idx="1"/>
          </p:nvPr>
        </p:nvSpPr>
        <p:spPr>
          <a:xfrm>
            <a:off x="1130300" y="2396596"/>
            <a:ext cx="7408333" cy="990071"/>
          </a:xfrm>
        </p:spPr>
        <p:txBody>
          <a:bodyPr>
            <a:normAutofit/>
          </a:bodyPr>
          <a:lstStyle/>
          <a:p>
            <a:pPr marL="0" indent="0">
              <a:buNone/>
            </a:pPr>
            <a:r>
              <a:rPr lang="zh-TW" altLang="en-US" sz="4000" smtClean="0">
                <a:latin typeface="微軟正黑體" panose="020B0604030504040204" pitchFamily="34" charset="-120"/>
                <a:ea typeface="微軟正黑體" panose="020B0604030504040204" pitchFamily="34" charset="-120"/>
              </a:rPr>
              <a:t>伺服器升級</a:t>
            </a:r>
            <a:r>
              <a:rPr lang="en-US" altLang="zh-TW" sz="4000" smtClean="0">
                <a:latin typeface="微軟正黑體" panose="020B0604030504040204" pitchFamily="34" charset="-120"/>
                <a:ea typeface="微軟正黑體" panose="020B0604030504040204" pitchFamily="34" charset="-120"/>
              </a:rPr>
              <a:t>CAL</a:t>
            </a:r>
            <a:r>
              <a:rPr lang="zh-TW" altLang="en-US" sz="4000" smtClean="0">
                <a:latin typeface="微軟正黑體" panose="020B0604030504040204" pitchFamily="34" charset="-120"/>
                <a:ea typeface="微軟正黑體" panose="020B0604030504040204" pitchFamily="34" charset="-120"/>
              </a:rPr>
              <a:t>也要跟著升級嗎</a:t>
            </a:r>
            <a:r>
              <a:rPr lang="en-US" altLang="zh-TW" sz="4000" smtClean="0">
                <a:latin typeface="微軟正黑體" panose="020B0604030504040204" pitchFamily="34" charset="-120"/>
                <a:ea typeface="微軟正黑體" panose="020B0604030504040204" pitchFamily="34" charset="-120"/>
              </a:rPr>
              <a:t>?</a:t>
            </a:r>
          </a:p>
          <a:p>
            <a:pPr marL="0" indent="0">
              <a:buNone/>
            </a:pPr>
            <a:endParaRPr lang="zh-TW" altLang="en-US" sz="4000" dirty="0">
              <a:latin typeface="微軟正黑體" panose="020B0604030504040204" pitchFamily="34" charset="-120"/>
              <a:ea typeface="微軟正黑體" panose="020B0604030504040204" pitchFamily="34" charset="-120"/>
            </a:endParaRPr>
          </a:p>
        </p:txBody>
      </p:sp>
      <p:sp>
        <p:nvSpPr>
          <p:cNvPr id="3" name="標題 2"/>
          <p:cNvSpPr>
            <a:spLocks noGrp="1"/>
          </p:cNvSpPr>
          <p:nvPr>
            <p:ph type="title"/>
          </p:nvPr>
        </p:nvSpPr>
        <p:spPr/>
        <p:txBody>
          <a:bodyPr>
            <a:normAutofit fontScale="90000"/>
          </a:bodyPr>
          <a:lstStyle/>
          <a:p>
            <a:r>
              <a:rPr lang="zh-TW" altLang="en-US" dirty="0">
                <a:latin typeface="微軟正黑體" panose="020B0604030504040204" pitchFamily="34" charset="-120"/>
                <a:ea typeface="微軟正黑體" panose="020B0604030504040204" pitchFamily="34" charset="-120"/>
              </a:rPr>
              <a:t>微軟</a:t>
            </a:r>
            <a:r>
              <a:rPr lang="en-US" altLang="zh-TW" dirty="0">
                <a:latin typeface="微軟正黑體" panose="020B0604030504040204" pitchFamily="34" charset="-120"/>
                <a:ea typeface="微軟正黑體" panose="020B0604030504040204" pitchFamily="34" charset="-120"/>
              </a:rPr>
              <a:t>Server/CAL</a:t>
            </a:r>
            <a:r>
              <a:rPr lang="zh-TW" altLang="en-US" dirty="0">
                <a:latin typeface="微軟正黑體" panose="020B0604030504040204" pitchFamily="34" charset="-120"/>
                <a:ea typeface="微軟正黑體" panose="020B0604030504040204" pitchFamily="34" charset="-120"/>
              </a:rPr>
              <a:t>常見的授權</a:t>
            </a:r>
            <a:r>
              <a:rPr lang="zh-TW" altLang="en-US" dirty="0" smtClean="0">
                <a:latin typeface="微軟正黑體" panose="020B0604030504040204" pitchFamily="34" charset="-120"/>
                <a:ea typeface="微軟正黑體" panose="020B0604030504040204" pitchFamily="34" charset="-120"/>
              </a:rPr>
              <a:t>疑問三</a:t>
            </a:r>
            <a:r>
              <a:rPr lang="en-US" altLang="zh-TW" dirty="0" smtClean="0">
                <a:latin typeface="微軟正黑體" panose="020B0604030504040204" pitchFamily="34" charset="-120"/>
                <a:ea typeface="微軟正黑體" panose="020B0604030504040204" pitchFamily="34" charset="-120"/>
              </a:rPr>
              <a:t>:</a:t>
            </a:r>
            <a:endParaRPr lang="zh-TW" altLang="en-US" dirty="0">
              <a:latin typeface="微軟正黑體" panose="020B0604030504040204" pitchFamily="34" charset="-120"/>
              <a:ea typeface="微軟正黑體" panose="020B0604030504040204" pitchFamily="34" charset="-120"/>
            </a:endParaRPr>
          </a:p>
        </p:txBody>
      </p:sp>
      <p:sp>
        <p:nvSpPr>
          <p:cNvPr id="4" name="TextBox 3"/>
          <p:cNvSpPr txBox="1"/>
          <p:nvPr/>
        </p:nvSpPr>
        <p:spPr>
          <a:xfrm>
            <a:off x="1092200" y="3608754"/>
            <a:ext cx="6722533" cy="1754326"/>
          </a:xfrm>
          <a:prstGeom prst="rect">
            <a:avLst/>
          </a:prstGeom>
          <a:noFill/>
        </p:spPr>
        <p:txBody>
          <a:bodyPr wrap="square" rtlCol="0">
            <a:spAutoFit/>
          </a:bodyPr>
          <a:lstStyle/>
          <a:p>
            <a:r>
              <a:rPr lang="zh-TW" altLang="en-US" sz="3600" dirty="0">
                <a:solidFill>
                  <a:srgbClr val="FF0000"/>
                </a:solidFill>
                <a:latin typeface="微軟正黑體" panose="020B0604030504040204" pitchFamily="34" charset="-120"/>
                <a:ea typeface="微軟正黑體" panose="020B0604030504040204" pitchFamily="34" charset="-120"/>
              </a:rPr>
              <a:t>是</a:t>
            </a:r>
            <a:r>
              <a:rPr lang="zh-TW" altLang="en-US" sz="3600" dirty="0" smtClean="0">
                <a:solidFill>
                  <a:srgbClr val="FF0000"/>
                </a:solidFill>
                <a:latin typeface="微軟正黑體" panose="020B0604030504040204" pitchFamily="34" charset="-120"/>
                <a:ea typeface="微軟正黑體" panose="020B0604030504040204" pitchFamily="34" charset="-120"/>
              </a:rPr>
              <a:t>的</a:t>
            </a:r>
            <a:r>
              <a:rPr lang="en-US" altLang="zh-TW" sz="3600" dirty="0" smtClean="0">
                <a:solidFill>
                  <a:srgbClr val="FF0000"/>
                </a:solidFill>
                <a:latin typeface="微軟正黑體" panose="020B0604030504040204" pitchFamily="34" charset="-120"/>
                <a:ea typeface="微軟正黑體" panose="020B0604030504040204" pitchFamily="34" charset="-120"/>
              </a:rPr>
              <a:t>!</a:t>
            </a:r>
          </a:p>
          <a:p>
            <a:r>
              <a:rPr lang="en-US" altLang="zh-TW" sz="3600" dirty="0" smtClean="0">
                <a:latin typeface="微軟正黑體" panose="020B0604030504040204" pitchFamily="34" charset="-120"/>
                <a:ea typeface="微軟正黑體" panose="020B0604030504040204" pitchFamily="34" charset="-120"/>
              </a:rPr>
              <a:t>CAL</a:t>
            </a:r>
            <a:r>
              <a:rPr lang="zh-TW" altLang="en-US" sz="3600" dirty="0" smtClean="0">
                <a:latin typeface="微軟正黑體" panose="020B0604030504040204" pitchFamily="34" charset="-120"/>
                <a:ea typeface="微軟正黑體" panose="020B0604030504040204" pitchFamily="34" charset="-120"/>
              </a:rPr>
              <a:t>的版本必須要高於或等於伺服器版本</a:t>
            </a:r>
            <a:endParaRPr lang="zh-TW" altLang="en-US" sz="3600" dirty="0">
              <a:latin typeface="微軟正黑體" panose="020B0604030504040204" pitchFamily="34" charset="-120"/>
              <a:ea typeface="微軟正黑體" panose="020B0604030504040204" pitchFamily="34" charset="-120"/>
            </a:endParaRPr>
          </a:p>
        </p:txBody>
      </p:sp>
      <p:sp>
        <p:nvSpPr>
          <p:cNvPr id="5" name="投影片編號版面配置區 4"/>
          <p:cNvSpPr>
            <a:spLocks noGrp="1"/>
          </p:cNvSpPr>
          <p:nvPr>
            <p:ph type="sldNum" sz="quarter" idx="12"/>
          </p:nvPr>
        </p:nvSpPr>
        <p:spPr/>
        <p:txBody>
          <a:bodyPr/>
          <a:lstStyle/>
          <a:p>
            <a:pPr>
              <a:defRPr/>
            </a:pPr>
            <a:fld id="{1D9970BA-2F58-4996-9806-696110DA0FEA}" type="slidenum">
              <a:rPr lang="en-US" smtClean="0"/>
              <a:pPr>
                <a:defRPr/>
              </a:pPr>
              <a:t>64</a:t>
            </a:fld>
            <a:endParaRPr lang="zh-CN" altLang="en-US"/>
          </a:p>
        </p:txBody>
      </p:sp>
    </p:spTree>
    <p:extLst>
      <p:ext uri="{BB962C8B-B14F-4D97-AF65-F5344CB8AC3E}">
        <p14:creationId xmlns:p14="http://schemas.microsoft.com/office/powerpoint/2010/main" val="3934331792"/>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40154" y="6059841"/>
            <a:ext cx="4152452" cy="369332"/>
          </a:xfrm>
          <a:prstGeom prst="rect">
            <a:avLst/>
          </a:prstGeom>
          <a:noFill/>
        </p:spPr>
        <p:txBody>
          <a:bodyPr wrap="square" rtlCol="0">
            <a:spAutoFit/>
          </a:bodyPr>
          <a:lstStyle/>
          <a:p>
            <a:r>
              <a:rPr lang="en-US" b="1" dirty="0" smtClean="0">
                <a:gradFill>
                  <a:gsLst>
                    <a:gs pos="0">
                      <a:schemeClr val="tx1">
                        <a:lumMod val="75000"/>
                        <a:lumOff val="25000"/>
                      </a:schemeClr>
                    </a:gs>
                    <a:gs pos="99000">
                      <a:schemeClr val="tx1">
                        <a:lumMod val="75000"/>
                        <a:lumOff val="25000"/>
                      </a:schemeClr>
                    </a:gs>
                  </a:gsLst>
                  <a:lin ang="5400000" scaled="0"/>
                </a:gradFill>
              </a:rPr>
              <a:t>http://rightlicense.tw</a:t>
            </a:r>
          </a:p>
        </p:txBody>
      </p:sp>
      <p:pic>
        <p:nvPicPr>
          <p:cNvPr id="4" name="Picture 3"/>
          <p:cNvPicPr>
            <a:picLocks noChangeAspect="1"/>
          </p:cNvPicPr>
          <p:nvPr/>
        </p:nvPicPr>
        <p:blipFill>
          <a:blip r:embed="rId2"/>
          <a:stretch>
            <a:fillRect/>
          </a:stretch>
        </p:blipFill>
        <p:spPr>
          <a:xfrm>
            <a:off x="0" y="189522"/>
            <a:ext cx="9166240" cy="5883032"/>
          </a:xfrm>
          <a:prstGeom prst="rect">
            <a:avLst/>
          </a:prstGeom>
        </p:spPr>
      </p:pic>
      <p:sp>
        <p:nvSpPr>
          <p:cNvPr id="6" name="Rectangle 5"/>
          <p:cNvSpPr/>
          <p:nvPr/>
        </p:nvSpPr>
        <p:spPr>
          <a:xfrm>
            <a:off x="4072467" y="778932"/>
            <a:ext cx="2565400" cy="29633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Tree>
    <p:extLst>
      <p:ext uri="{BB962C8B-B14F-4D97-AF65-F5344CB8AC3E}">
        <p14:creationId xmlns:p14="http://schemas.microsoft.com/office/powerpoint/2010/main" val="30551814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0898" name="Picture 2" descr="Grid_Corporate_no_title"/>
          <p:cNvPicPr>
            <a:picLocks noChangeAspect="1" noChangeArrowheads="1"/>
          </p:cNvPicPr>
          <p:nvPr/>
        </p:nvPicPr>
        <p:blipFill>
          <a:blip r:embed="rId3" cstate="print"/>
          <a:srcRect/>
          <a:stretch>
            <a:fillRect/>
          </a:stretch>
        </p:blipFill>
        <p:spPr bwMode="auto">
          <a:xfrm>
            <a:off x="0" y="0"/>
            <a:ext cx="9145588" cy="6859588"/>
          </a:xfrm>
          <a:prstGeom prst="rect">
            <a:avLst/>
          </a:prstGeom>
          <a:noFill/>
          <a:ln w="9525">
            <a:noFill/>
            <a:miter lim="800000"/>
            <a:headEnd/>
            <a:tailEnd/>
          </a:ln>
        </p:spPr>
      </p:pic>
      <p:sp>
        <p:nvSpPr>
          <p:cNvPr id="80899" name="Rectangle 3"/>
          <p:cNvSpPr>
            <a:spLocks noGrp="1" noChangeArrowheads="1"/>
          </p:cNvSpPr>
          <p:nvPr/>
        </p:nvSpPr>
        <p:spPr bwMode="auto">
          <a:xfrm>
            <a:off x="319088" y="2449513"/>
            <a:ext cx="8443912" cy="1389062"/>
          </a:xfrm>
          <a:prstGeom prst="rect">
            <a:avLst/>
          </a:prstGeom>
          <a:noFill/>
          <a:ln w="9525">
            <a:noFill/>
            <a:miter lim="800000"/>
            <a:headEnd/>
            <a:tailEnd/>
          </a:ln>
        </p:spPr>
        <p:txBody>
          <a:bodyPr lIns="0" tIns="0" rIns="0" bIns="0"/>
          <a:lstStyle/>
          <a:p>
            <a:pPr eaLnBrk="0" hangingPunct="0">
              <a:spcBef>
                <a:spcPct val="5000"/>
              </a:spcBef>
              <a:spcAft>
                <a:spcPct val="5000"/>
              </a:spcAft>
            </a:pPr>
            <a:r>
              <a:rPr lang="en-US" altLang="zh-TW" sz="4000">
                <a:solidFill>
                  <a:schemeClr val="bg1"/>
                </a:solidFill>
                <a:latin typeface="標楷體" pitchFamily="65" charset="-120"/>
              </a:rPr>
              <a:t>Autodesk </a:t>
            </a:r>
            <a:r>
              <a:rPr lang="zh-TW" altLang="en-US" sz="4000">
                <a:solidFill>
                  <a:schemeClr val="bg1"/>
                </a:solidFill>
                <a:latin typeface="標楷體" pitchFamily="65" charset="-120"/>
              </a:rPr>
              <a:t>軟體檢測</a:t>
            </a:r>
            <a:endParaRPr lang="zh-TW" altLang="en-US">
              <a:solidFill>
                <a:schemeClr val="bg1"/>
              </a:solidFill>
              <a:latin typeface="標楷體" pitchFamily="65" charset="-120"/>
            </a:endParaRPr>
          </a:p>
        </p:txBody>
      </p:sp>
      <p:sp>
        <p:nvSpPr>
          <p:cNvPr id="80900" name="Rectangle 4"/>
          <p:cNvSpPr>
            <a:spLocks noGrp="1" noChangeArrowheads="1"/>
          </p:cNvSpPr>
          <p:nvPr/>
        </p:nvSpPr>
        <p:spPr bwMode="auto">
          <a:xfrm>
            <a:off x="250825" y="3716338"/>
            <a:ext cx="6615113" cy="1008062"/>
          </a:xfrm>
          <a:prstGeom prst="rect">
            <a:avLst/>
          </a:prstGeom>
          <a:noFill/>
          <a:ln w="9525">
            <a:noFill/>
            <a:miter lim="800000"/>
            <a:headEnd/>
            <a:tailEnd/>
          </a:ln>
        </p:spPr>
        <p:txBody>
          <a:bodyPr lIns="0" tIns="0" rIns="0" bIns="0" anchor="b"/>
          <a:lstStyle/>
          <a:p>
            <a:pPr eaLnBrk="0" hangingPunct="0">
              <a:spcBef>
                <a:spcPct val="5000"/>
              </a:spcBef>
              <a:spcAft>
                <a:spcPct val="5000"/>
              </a:spcAft>
            </a:pPr>
            <a:endParaRPr lang="en-US" altLang="zh-TW" sz="1600">
              <a:solidFill>
                <a:schemeClr val="bg1"/>
              </a:solidFill>
              <a:ea typeface="華康新特黑體"/>
              <a:cs typeface="華康新特黑體"/>
            </a:endParaRPr>
          </a:p>
        </p:txBody>
      </p:sp>
      <p:sp>
        <p:nvSpPr>
          <p:cNvPr id="2" name="投影片編號版面配置區 1"/>
          <p:cNvSpPr>
            <a:spLocks noGrp="1"/>
          </p:cNvSpPr>
          <p:nvPr>
            <p:ph type="sldNum" sz="quarter" idx="12"/>
          </p:nvPr>
        </p:nvSpPr>
        <p:spPr/>
        <p:txBody>
          <a:bodyPr/>
          <a:lstStyle/>
          <a:p>
            <a:pPr>
              <a:defRPr/>
            </a:pPr>
            <a:fld id="{1D9970BA-2F58-4996-9806-696110DA0FEA}" type="slidenum">
              <a:rPr lang="en-US" smtClean="0"/>
              <a:pPr>
                <a:defRPr/>
              </a:pPr>
              <a:t>66</a:t>
            </a:fld>
            <a:endParaRPr lang="zh-CN" altLang="en-US"/>
          </a:p>
        </p:txBody>
      </p:sp>
    </p:spTree>
  </p:cSld>
  <p:clrMapOvr>
    <a:masterClrMapping/>
  </p:clrMapOvr>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內容版面配置區 4"/>
          <p:cNvGraphicFramePr>
            <a:graphicFrameLocks noGrp="1"/>
          </p:cNvGraphicFramePr>
          <p:nvPr>
            <p:ph idx="1"/>
          </p:nvPr>
        </p:nvGraphicFramePr>
        <p:xfrm>
          <a:off x="457200" y="1219200"/>
          <a:ext cx="8229600" cy="49371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標題 2"/>
          <p:cNvSpPr>
            <a:spLocks noGrp="1"/>
          </p:cNvSpPr>
          <p:nvPr>
            <p:ph type="title"/>
          </p:nvPr>
        </p:nvSpPr>
        <p:spPr>
          <a:xfrm>
            <a:off x="214282" y="0"/>
            <a:ext cx="8929718" cy="1143000"/>
          </a:xfrm>
        </p:spPr>
        <p:txBody>
          <a:bodyPr>
            <a:normAutofit fontScale="90000"/>
          </a:bodyPr>
          <a:lstStyle/>
          <a:p>
            <a:pPr eaLnBrk="1" fontAlgn="auto" hangingPunct="1">
              <a:spcAft>
                <a:spcPts val="0"/>
              </a:spcAft>
              <a:defRPr/>
            </a:pPr>
            <a:r>
              <a:rPr lang="zh-TW" altLang="en-US" dirty="0" smtClean="0">
                <a:latin typeface="標楷體" pitchFamily="65" charset="-120"/>
                <a:ea typeface="標楷體" pitchFamily="65" charset="-120"/>
              </a:rPr>
              <a:t>如何確認收到的檔案為正版軟體所製作</a:t>
            </a:r>
            <a:endParaRPr lang="zh-TW" altLang="en-US" dirty="0">
              <a:latin typeface="標楷體" pitchFamily="65" charset="-120"/>
              <a:ea typeface="標楷體" pitchFamily="65" charset="-120"/>
            </a:endParaRPr>
          </a:p>
        </p:txBody>
      </p:sp>
      <p:sp>
        <p:nvSpPr>
          <p:cNvPr id="2" name="投影片編號版面配置區 1"/>
          <p:cNvSpPr>
            <a:spLocks noGrp="1"/>
          </p:cNvSpPr>
          <p:nvPr>
            <p:ph type="sldNum" sz="quarter" idx="12"/>
          </p:nvPr>
        </p:nvSpPr>
        <p:spPr/>
        <p:txBody>
          <a:bodyPr/>
          <a:lstStyle/>
          <a:p>
            <a:pPr>
              <a:defRPr/>
            </a:pPr>
            <a:fld id="{1D9970BA-2F58-4996-9806-696110DA0FEA}" type="slidenum">
              <a:rPr lang="en-US" smtClean="0"/>
              <a:pPr>
                <a:defRPr/>
              </a:pPr>
              <a:t>67</a:t>
            </a:fld>
            <a:endParaRPr lang="zh-CN" altLang="en-US"/>
          </a:p>
        </p:txBody>
      </p:sp>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946" name="群組 6"/>
          <p:cNvGrpSpPr>
            <a:grpSpLocks/>
          </p:cNvGrpSpPr>
          <p:nvPr/>
        </p:nvGrpSpPr>
        <p:grpSpPr bwMode="auto">
          <a:xfrm>
            <a:off x="2338388" y="2098675"/>
            <a:ext cx="4532312" cy="4029075"/>
            <a:chOff x="4071934" y="2143116"/>
            <a:chExt cx="4584288" cy="3984633"/>
          </a:xfrm>
        </p:grpSpPr>
        <p:pic>
          <p:nvPicPr>
            <p:cNvPr id="4098" name="圖片 1" descr="cid:image001.png@01C998C8.C79435B0"/>
            <p:cNvPicPr>
              <a:picLocks noChangeAspect="1" noChangeArrowheads="1"/>
            </p:cNvPicPr>
            <p:nvPr/>
          </p:nvPicPr>
          <p:blipFill>
            <a:blip r:embed="rId2" r:link="rId3" cstate="print"/>
            <a:srcRect/>
            <a:stretch>
              <a:fillRect/>
            </a:stretch>
          </p:blipFill>
          <p:spPr bwMode="auto">
            <a:xfrm>
              <a:off x="4071934" y="2143116"/>
              <a:ext cx="4584288" cy="3984633"/>
            </a:xfrm>
            <a:prstGeom prst="rect">
              <a:avLst/>
            </a:prstGeom>
            <a:noFill/>
            <a:ln w="9525">
              <a:noFill/>
              <a:miter lim="800000"/>
              <a:headEnd/>
              <a:tailEnd/>
            </a:ln>
            <a:effectLst>
              <a:reflection blurRad="6350" stA="50000" endA="300" endPos="38500" dist="50800" dir="5400000" sy="-100000" algn="bl" rotWithShape="0"/>
            </a:effectLst>
          </p:spPr>
        </p:pic>
        <p:sp>
          <p:nvSpPr>
            <p:cNvPr id="82950" name="AutoShape 8"/>
            <p:cNvSpPr>
              <a:spLocks noChangeArrowheads="1"/>
            </p:cNvSpPr>
            <p:nvPr/>
          </p:nvSpPr>
          <p:spPr bwMode="auto">
            <a:xfrm>
              <a:off x="5786446" y="4214818"/>
              <a:ext cx="1728788" cy="387350"/>
            </a:xfrm>
            <a:prstGeom prst="roundRect">
              <a:avLst>
                <a:gd name="adj" fmla="val 16667"/>
              </a:avLst>
            </a:prstGeom>
            <a:noFill/>
            <a:ln w="38100">
              <a:solidFill>
                <a:srgbClr val="FF0000"/>
              </a:solidFill>
              <a:round/>
              <a:headEnd/>
              <a:tailEnd/>
            </a:ln>
          </p:spPr>
          <p:txBody>
            <a:bodyPr wrap="none" anchor="ctr"/>
            <a:lstStyle/>
            <a:p>
              <a:endParaRPr lang="zh-TW" altLang="en-US"/>
            </a:p>
          </p:txBody>
        </p:sp>
      </p:grpSp>
      <p:sp>
        <p:nvSpPr>
          <p:cNvPr id="82947" name="內容版面配置區 5"/>
          <p:cNvSpPr>
            <a:spLocks noGrp="1"/>
          </p:cNvSpPr>
          <p:nvPr>
            <p:ph idx="1"/>
          </p:nvPr>
        </p:nvSpPr>
        <p:spPr>
          <a:xfrm>
            <a:off x="428625" y="1500188"/>
            <a:ext cx="8715375" cy="828675"/>
          </a:xfrm>
        </p:spPr>
        <p:txBody>
          <a:bodyPr/>
          <a:lstStyle/>
          <a:p>
            <a:pPr eaLnBrk="1" hangingPunct="1">
              <a:buFont typeface="Wingdings 3" pitchFamily="18" charset="2"/>
              <a:buNone/>
            </a:pPr>
            <a:r>
              <a:rPr lang="zh-TW" altLang="en-US" smtClean="0">
                <a:latin typeface="標楷體" pitchFamily="65" charset="-120"/>
                <a:ea typeface="標楷體" pitchFamily="65" charset="-120"/>
              </a:rPr>
              <a:t>開啟“</a:t>
            </a:r>
            <a:r>
              <a:rPr lang="en-US" altLang="zh-TW" smtClean="0">
                <a:latin typeface="標楷體" pitchFamily="65" charset="-120"/>
                <a:ea typeface="標楷體" pitchFamily="65" charset="-120"/>
              </a:rPr>
              <a:t>Autodesk </a:t>
            </a:r>
            <a:r>
              <a:rPr lang="zh-TW" altLang="en-US" smtClean="0">
                <a:latin typeface="標楷體" pitchFamily="65" charset="-120"/>
                <a:ea typeface="標楷體" pitchFamily="65" charset="-120"/>
              </a:rPr>
              <a:t>軟體”程式；並點選 說明關於</a:t>
            </a:r>
          </a:p>
          <a:p>
            <a:pPr eaLnBrk="1" hangingPunct="1"/>
            <a:endParaRPr lang="zh-TW" altLang="en-US" smtClean="0"/>
          </a:p>
        </p:txBody>
      </p:sp>
      <p:sp>
        <p:nvSpPr>
          <p:cNvPr id="5" name="標題 4"/>
          <p:cNvSpPr>
            <a:spLocks noGrp="1"/>
          </p:cNvSpPr>
          <p:nvPr>
            <p:ph type="title"/>
          </p:nvPr>
        </p:nvSpPr>
        <p:spPr/>
        <p:txBody>
          <a:bodyPr/>
          <a:lstStyle/>
          <a:p>
            <a:pPr eaLnBrk="1" fontAlgn="auto" hangingPunct="1">
              <a:spcAft>
                <a:spcPts val="0"/>
              </a:spcAft>
              <a:defRPr/>
            </a:pPr>
            <a:r>
              <a:rPr lang="zh-TW" altLang="en-US" dirty="0" smtClean="0">
                <a:latin typeface="標楷體" pitchFamily="65" charset="-120"/>
                <a:ea typeface="標楷體" pitchFamily="65" charset="-120"/>
              </a:rPr>
              <a:t>如何進行自我軟體檢測</a:t>
            </a:r>
            <a:endParaRPr lang="zh-TW" altLang="en-US" dirty="0">
              <a:latin typeface="標楷體" pitchFamily="65" charset="-120"/>
              <a:ea typeface="標楷體" pitchFamily="65" charset="-120"/>
            </a:endParaRPr>
          </a:p>
        </p:txBody>
      </p:sp>
      <p:sp>
        <p:nvSpPr>
          <p:cNvPr id="2" name="投影片編號版面配置區 1"/>
          <p:cNvSpPr>
            <a:spLocks noGrp="1"/>
          </p:cNvSpPr>
          <p:nvPr>
            <p:ph type="sldNum" sz="quarter" idx="12"/>
          </p:nvPr>
        </p:nvSpPr>
        <p:spPr/>
        <p:txBody>
          <a:bodyPr/>
          <a:lstStyle/>
          <a:p>
            <a:pPr>
              <a:defRPr/>
            </a:pPr>
            <a:fld id="{1D9970BA-2F58-4996-9806-696110DA0FEA}" type="slidenum">
              <a:rPr lang="en-US" smtClean="0"/>
              <a:pPr>
                <a:defRPr/>
              </a:pPr>
              <a:t>68</a:t>
            </a:fld>
            <a:endParaRPr lang="zh-CN" altLang="en-US"/>
          </a:p>
        </p:txBody>
      </p:sp>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3970" name="群組 5"/>
          <p:cNvGrpSpPr>
            <a:grpSpLocks/>
          </p:cNvGrpSpPr>
          <p:nvPr/>
        </p:nvGrpSpPr>
        <p:grpSpPr bwMode="auto">
          <a:xfrm>
            <a:off x="1071563" y="3571875"/>
            <a:ext cx="6929437" cy="2928938"/>
            <a:chOff x="571472" y="2928934"/>
            <a:chExt cx="7378705" cy="3571875"/>
          </a:xfrm>
        </p:grpSpPr>
        <p:pic>
          <p:nvPicPr>
            <p:cNvPr id="83973" name="圖片 6" descr="cid:image002.png@01C998CB.88DDF380"/>
            <p:cNvPicPr>
              <a:picLocks noChangeAspect="1" noChangeArrowheads="1"/>
            </p:cNvPicPr>
            <p:nvPr/>
          </p:nvPicPr>
          <p:blipFill>
            <a:blip r:embed="rId2" r:link="rId3" cstate="print"/>
            <a:srcRect/>
            <a:stretch>
              <a:fillRect/>
            </a:stretch>
          </p:blipFill>
          <p:spPr bwMode="auto">
            <a:xfrm>
              <a:off x="1285852" y="2928934"/>
              <a:ext cx="6664325" cy="3571875"/>
            </a:xfrm>
            <a:prstGeom prst="rect">
              <a:avLst/>
            </a:prstGeom>
            <a:noFill/>
            <a:ln w="9525">
              <a:noFill/>
              <a:miter lim="800000"/>
              <a:headEnd/>
              <a:tailEnd/>
            </a:ln>
          </p:spPr>
        </p:pic>
        <p:sp>
          <p:nvSpPr>
            <p:cNvPr id="83974" name="AutoShape 9"/>
            <p:cNvSpPr>
              <a:spLocks noChangeArrowheads="1"/>
            </p:cNvSpPr>
            <p:nvPr/>
          </p:nvSpPr>
          <p:spPr bwMode="auto">
            <a:xfrm>
              <a:off x="5857884" y="3714752"/>
              <a:ext cx="1800225" cy="503237"/>
            </a:xfrm>
            <a:prstGeom prst="roundRect">
              <a:avLst>
                <a:gd name="adj" fmla="val 16667"/>
              </a:avLst>
            </a:prstGeom>
            <a:noFill/>
            <a:ln w="38100">
              <a:solidFill>
                <a:srgbClr val="FF0000"/>
              </a:solidFill>
              <a:round/>
              <a:headEnd/>
              <a:tailEnd/>
            </a:ln>
          </p:spPr>
          <p:txBody>
            <a:bodyPr wrap="none" anchor="ctr"/>
            <a:lstStyle/>
            <a:p>
              <a:endParaRPr lang="zh-TW" altLang="en-US"/>
            </a:p>
          </p:txBody>
        </p:sp>
        <p:sp>
          <p:nvSpPr>
            <p:cNvPr id="83975" name="AutoShape 12"/>
            <p:cNvSpPr>
              <a:spLocks noChangeArrowheads="1"/>
            </p:cNvSpPr>
            <p:nvPr/>
          </p:nvSpPr>
          <p:spPr bwMode="auto">
            <a:xfrm>
              <a:off x="571472" y="3571876"/>
              <a:ext cx="571500" cy="285750"/>
            </a:xfrm>
            <a:prstGeom prst="rightArrow">
              <a:avLst>
                <a:gd name="adj1" fmla="val 50000"/>
                <a:gd name="adj2" fmla="val 65278"/>
              </a:avLst>
            </a:prstGeom>
            <a:gradFill rotWithShape="0">
              <a:gsLst>
                <a:gs pos="0">
                  <a:srgbClr val="760000"/>
                </a:gs>
                <a:gs pos="100000">
                  <a:srgbClr val="FF0000"/>
                </a:gs>
              </a:gsLst>
              <a:lin ang="5400000" scaled="1"/>
            </a:gradFill>
            <a:ln w="9525">
              <a:solidFill>
                <a:srgbClr val="000000"/>
              </a:solidFill>
              <a:miter lim="800000"/>
              <a:headEnd/>
              <a:tailEnd/>
            </a:ln>
          </p:spPr>
          <p:txBody>
            <a:bodyPr/>
            <a:lstStyle/>
            <a:p>
              <a:endParaRPr lang="zh-TW" altLang="en-US"/>
            </a:p>
          </p:txBody>
        </p:sp>
      </p:grpSp>
      <p:graphicFrame>
        <p:nvGraphicFramePr>
          <p:cNvPr id="9" name="內容版面配置區 8"/>
          <p:cNvGraphicFramePr>
            <a:graphicFrameLocks noGrp="1"/>
          </p:cNvGraphicFramePr>
          <p:nvPr>
            <p:ph idx="1"/>
          </p:nvPr>
        </p:nvGraphicFramePr>
        <p:xfrm>
          <a:off x="404734" y="1071546"/>
          <a:ext cx="8324900" cy="276593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7" name="標題 6"/>
          <p:cNvSpPr>
            <a:spLocks noGrp="1"/>
          </p:cNvSpPr>
          <p:nvPr>
            <p:ph type="title"/>
          </p:nvPr>
        </p:nvSpPr>
        <p:spPr/>
        <p:txBody>
          <a:bodyPr/>
          <a:lstStyle/>
          <a:p>
            <a:pPr eaLnBrk="1" fontAlgn="auto" hangingPunct="1">
              <a:spcAft>
                <a:spcPts val="0"/>
              </a:spcAft>
              <a:defRPr/>
            </a:pPr>
            <a:r>
              <a:rPr lang="zh-TW" altLang="en-US" dirty="0" smtClean="0">
                <a:latin typeface="標楷體" pitchFamily="65" charset="-120"/>
                <a:ea typeface="標楷體" pitchFamily="65" charset="-120"/>
              </a:rPr>
              <a:t>如何進行自我軟體檢測</a:t>
            </a:r>
            <a:endParaRPr lang="zh-TW" altLang="en-US" dirty="0">
              <a:latin typeface="標楷體" pitchFamily="65" charset="-120"/>
              <a:ea typeface="標楷體" pitchFamily="65" charset="-120"/>
            </a:endParaRPr>
          </a:p>
        </p:txBody>
      </p:sp>
      <p:sp>
        <p:nvSpPr>
          <p:cNvPr id="2" name="投影片編號版面配置區 1"/>
          <p:cNvSpPr>
            <a:spLocks noGrp="1"/>
          </p:cNvSpPr>
          <p:nvPr>
            <p:ph type="sldNum" sz="quarter" idx="12"/>
          </p:nvPr>
        </p:nvSpPr>
        <p:spPr/>
        <p:txBody>
          <a:bodyPr/>
          <a:lstStyle/>
          <a:p>
            <a:pPr>
              <a:defRPr/>
            </a:pPr>
            <a:fld id="{1D9970BA-2F58-4996-9806-696110DA0FEA}" type="slidenum">
              <a:rPr lang="en-US" smtClean="0"/>
              <a:pPr>
                <a:defRPr/>
              </a:pPr>
              <a:t>69</a:t>
            </a:fld>
            <a:endParaRPr lang="zh-CN" altLang="en-US"/>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2"/>
          <p:cNvGrpSpPr>
            <a:grpSpLocks/>
          </p:cNvGrpSpPr>
          <p:nvPr/>
        </p:nvGrpSpPr>
        <p:grpSpPr bwMode="auto">
          <a:xfrm>
            <a:off x="1300798" y="1652324"/>
            <a:ext cx="832871" cy="1802724"/>
            <a:chOff x="3614738" y="2333625"/>
            <a:chExt cx="1914525" cy="7905956"/>
          </a:xfrm>
        </p:grpSpPr>
        <p:pic>
          <p:nvPicPr>
            <p:cNvPr id="5" name="Picture 4" descr="Adobe_Creative_Cloud_mnemonic_RGB_no_shadow.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645182" y="2333625"/>
              <a:ext cx="1853639" cy="1803959"/>
            </a:xfrm>
            <a:prstGeom prst="rect">
              <a:avLst/>
            </a:prstGeom>
            <a:effectLst>
              <a:outerShdw blurRad="50800" dist="38100" dir="2700000" algn="tl" rotWithShape="0">
                <a:prstClr val="black">
                  <a:alpha val="40000"/>
                </a:prstClr>
              </a:outerShdw>
            </a:effectLst>
          </p:spPr>
        </p:pic>
        <p:sp>
          <p:nvSpPr>
            <p:cNvPr id="6" name="TextBox 48"/>
            <p:cNvSpPr txBox="1">
              <a:spLocks noChangeArrowheads="1"/>
            </p:cNvSpPr>
            <p:nvPr/>
          </p:nvSpPr>
          <p:spPr bwMode="auto">
            <a:xfrm>
              <a:off x="3614738" y="4165601"/>
              <a:ext cx="1914525" cy="6073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zh-TW" altLang="en-US" sz="1200" b="1" dirty="0" smtClean="0">
                  <a:latin typeface="Adobe Clean" charset="0"/>
                </a:rPr>
                <a:t>適用於團隊的</a:t>
              </a:r>
              <a:r>
                <a:rPr lang="en-US" sz="1200" b="1" dirty="0" smtClean="0">
                  <a:latin typeface="Adobe Clean" charset="0"/>
                </a:rPr>
                <a:t>Creative Cloud</a:t>
              </a:r>
              <a:endParaRPr lang="en-US" sz="1200" dirty="0">
                <a:latin typeface="Adobe Clean" charset="0"/>
              </a:endParaRPr>
            </a:p>
          </p:txBody>
        </p:sp>
      </p:grpSp>
      <p:sp>
        <p:nvSpPr>
          <p:cNvPr id="7" name="Rectangle 6"/>
          <p:cNvSpPr/>
          <p:nvPr/>
        </p:nvSpPr>
        <p:spPr>
          <a:xfrm>
            <a:off x="2358501" y="1735626"/>
            <a:ext cx="1654386" cy="276999"/>
          </a:xfrm>
          <a:prstGeom prst="rect">
            <a:avLst/>
          </a:prstGeom>
        </p:spPr>
        <p:txBody>
          <a:bodyPr wrap="square">
            <a:spAutoFit/>
          </a:bodyPr>
          <a:lstStyle/>
          <a:p>
            <a:pPr>
              <a:defRPr/>
            </a:pPr>
            <a:r>
              <a:rPr lang="en-US" sz="1200" dirty="0">
                <a:latin typeface="+mn-lt"/>
              </a:rPr>
              <a:t>Plus</a:t>
            </a:r>
          </a:p>
        </p:txBody>
      </p:sp>
      <p:sp>
        <p:nvSpPr>
          <p:cNvPr id="8" name="Left Bracket 7"/>
          <p:cNvSpPr/>
          <p:nvPr/>
        </p:nvSpPr>
        <p:spPr>
          <a:xfrm rot="5400000">
            <a:off x="4682738" y="-1562262"/>
            <a:ext cx="134377" cy="6001196"/>
          </a:xfrm>
          <a:prstGeom prst="leftBracket">
            <a:avLst>
              <a:gd name="adj" fmla="val 120820"/>
            </a:avLst>
          </a:prstGeom>
          <a:ln>
            <a:solidFill>
              <a:schemeClr val="bg1"/>
            </a:solidFill>
            <a:prstDash val="dot"/>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200"/>
          </a:p>
        </p:txBody>
      </p:sp>
      <p:grpSp>
        <p:nvGrpSpPr>
          <p:cNvPr id="9" name="Group 8"/>
          <p:cNvGrpSpPr/>
          <p:nvPr/>
        </p:nvGrpSpPr>
        <p:grpSpPr>
          <a:xfrm>
            <a:off x="3301517" y="602873"/>
            <a:ext cx="1883016" cy="479134"/>
            <a:chOff x="5274680" y="3046573"/>
            <a:chExt cx="2031452" cy="985590"/>
          </a:xfrm>
        </p:grpSpPr>
        <p:grpSp>
          <p:nvGrpSpPr>
            <p:cNvPr id="10" name="Group 9"/>
            <p:cNvGrpSpPr/>
            <p:nvPr/>
          </p:nvGrpSpPr>
          <p:grpSpPr>
            <a:xfrm>
              <a:off x="5274680" y="3304846"/>
              <a:ext cx="1696644" cy="727317"/>
              <a:chOff x="890690" y="4396468"/>
              <a:chExt cx="1696644" cy="727317"/>
            </a:xfrm>
          </p:grpSpPr>
          <p:pic>
            <p:nvPicPr>
              <p:cNvPr id="13" name="Picture 12"/>
              <p:cNvPicPr>
                <a:picLocks noChangeAspect="1"/>
              </p:cNvPicPr>
              <p:nvPr/>
            </p:nvPicPr>
            <p:blipFill>
              <a:blip r:embed="rId3">
                <a:duotone>
                  <a:schemeClr val="bg2">
                    <a:shade val="45000"/>
                    <a:satMod val="135000"/>
                  </a:schemeClr>
                  <a:prstClr val="white"/>
                </a:duotone>
              </a:blip>
              <a:stretch>
                <a:fillRect/>
              </a:stretch>
            </p:blipFill>
            <p:spPr>
              <a:xfrm>
                <a:off x="890690" y="4396468"/>
                <a:ext cx="280719" cy="727317"/>
              </a:xfrm>
              <a:prstGeom prst="rect">
                <a:avLst/>
              </a:prstGeom>
            </p:spPr>
          </p:pic>
          <p:pic>
            <p:nvPicPr>
              <p:cNvPr id="14" name="Picture 13"/>
              <p:cNvPicPr>
                <a:picLocks noChangeAspect="1"/>
              </p:cNvPicPr>
              <p:nvPr/>
            </p:nvPicPr>
            <p:blipFill>
              <a:blip r:embed="rId3">
                <a:duotone>
                  <a:schemeClr val="bg2">
                    <a:shade val="45000"/>
                    <a:satMod val="135000"/>
                  </a:schemeClr>
                  <a:prstClr val="white"/>
                </a:duotone>
              </a:blip>
              <a:stretch>
                <a:fillRect/>
              </a:stretch>
            </p:blipFill>
            <p:spPr>
              <a:xfrm>
                <a:off x="1183739" y="4396468"/>
                <a:ext cx="280719" cy="727317"/>
              </a:xfrm>
              <a:prstGeom prst="rect">
                <a:avLst/>
              </a:prstGeom>
            </p:spPr>
          </p:pic>
          <p:pic>
            <p:nvPicPr>
              <p:cNvPr id="15" name="Picture 14"/>
              <p:cNvPicPr>
                <a:picLocks noChangeAspect="1"/>
              </p:cNvPicPr>
              <p:nvPr/>
            </p:nvPicPr>
            <p:blipFill>
              <a:blip r:embed="rId3">
                <a:duotone>
                  <a:schemeClr val="bg2">
                    <a:shade val="45000"/>
                    <a:satMod val="135000"/>
                  </a:schemeClr>
                  <a:prstClr val="white"/>
                </a:duotone>
              </a:blip>
              <a:stretch>
                <a:fillRect/>
              </a:stretch>
            </p:blipFill>
            <p:spPr>
              <a:xfrm>
                <a:off x="1464458" y="4396468"/>
                <a:ext cx="280719" cy="727317"/>
              </a:xfrm>
              <a:prstGeom prst="rect">
                <a:avLst/>
              </a:prstGeom>
            </p:spPr>
          </p:pic>
          <p:pic>
            <p:nvPicPr>
              <p:cNvPr id="16" name="Picture 15"/>
              <p:cNvPicPr>
                <a:picLocks noChangeAspect="1"/>
              </p:cNvPicPr>
              <p:nvPr/>
            </p:nvPicPr>
            <p:blipFill>
              <a:blip r:embed="rId3">
                <a:duotone>
                  <a:schemeClr val="bg2">
                    <a:shade val="45000"/>
                    <a:satMod val="135000"/>
                  </a:schemeClr>
                  <a:prstClr val="white"/>
                </a:duotone>
              </a:blip>
              <a:stretch>
                <a:fillRect/>
              </a:stretch>
            </p:blipFill>
            <p:spPr>
              <a:xfrm>
                <a:off x="1745177" y="4396468"/>
                <a:ext cx="280719" cy="727317"/>
              </a:xfrm>
              <a:prstGeom prst="rect">
                <a:avLst/>
              </a:prstGeom>
            </p:spPr>
          </p:pic>
          <p:pic>
            <p:nvPicPr>
              <p:cNvPr id="17" name="Picture 16"/>
              <p:cNvPicPr>
                <a:picLocks noChangeAspect="1"/>
              </p:cNvPicPr>
              <p:nvPr/>
            </p:nvPicPr>
            <p:blipFill>
              <a:blip r:embed="rId3">
                <a:duotone>
                  <a:schemeClr val="bg2">
                    <a:shade val="45000"/>
                    <a:satMod val="135000"/>
                  </a:schemeClr>
                  <a:prstClr val="white"/>
                </a:duotone>
              </a:blip>
              <a:stretch>
                <a:fillRect/>
              </a:stretch>
            </p:blipFill>
            <p:spPr>
              <a:xfrm>
                <a:off x="2025896" y="4396468"/>
                <a:ext cx="280719" cy="727317"/>
              </a:xfrm>
              <a:prstGeom prst="rect">
                <a:avLst/>
              </a:prstGeom>
            </p:spPr>
          </p:pic>
          <p:pic>
            <p:nvPicPr>
              <p:cNvPr id="18" name="Picture 17"/>
              <p:cNvPicPr>
                <a:picLocks noChangeAspect="1"/>
              </p:cNvPicPr>
              <p:nvPr/>
            </p:nvPicPr>
            <p:blipFill>
              <a:blip r:embed="rId3">
                <a:duotone>
                  <a:schemeClr val="bg2">
                    <a:shade val="45000"/>
                    <a:satMod val="135000"/>
                  </a:schemeClr>
                  <a:prstClr val="white"/>
                </a:duotone>
              </a:blip>
              <a:stretch>
                <a:fillRect/>
              </a:stretch>
            </p:blipFill>
            <p:spPr>
              <a:xfrm>
                <a:off x="2306615" y="4396468"/>
                <a:ext cx="280719" cy="727317"/>
              </a:xfrm>
              <a:prstGeom prst="rect">
                <a:avLst/>
              </a:prstGeom>
            </p:spPr>
          </p:pic>
        </p:grpSp>
        <p:pic>
          <p:nvPicPr>
            <p:cNvPr id="11" name="Picture 10"/>
            <p:cNvPicPr>
              <a:picLocks noChangeAspect="1"/>
            </p:cNvPicPr>
            <p:nvPr/>
          </p:nvPicPr>
          <p:blipFill>
            <a:blip r:embed="rId3">
              <a:duotone>
                <a:schemeClr val="bg2">
                  <a:shade val="45000"/>
                  <a:satMod val="135000"/>
                </a:schemeClr>
                <a:prstClr val="white"/>
              </a:duotone>
            </a:blip>
            <a:stretch>
              <a:fillRect/>
            </a:stretch>
          </p:blipFill>
          <p:spPr>
            <a:xfrm>
              <a:off x="6971324" y="3304846"/>
              <a:ext cx="280719" cy="727317"/>
            </a:xfrm>
            <a:prstGeom prst="rect">
              <a:avLst/>
            </a:prstGeom>
          </p:spPr>
        </p:pic>
        <p:sp>
          <p:nvSpPr>
            <p:cNvPr id="12" name="Rectangle 3"/>
            <p:cNvSpPr>
              <a:spLocks noChangeArrowheads="1"/>
            </p:cNvSpPr>
            <p:nvPr/>
          </p:nvSpPr>
          <p:spPr bwMode="auto">
            <a:xfrm>
              <a:off x="5274680" y="3046573"/>
              <a:ext cx="2031452" cy="569794"/>
            </a:xfrm>
            <a:prstGeom prst="rect">
              <a:avLst/>
            </a:prstGeom>
            <a:noFill/>
            <a:ln w="9525">
              <a:noFill/>
              <a:miter lim="800000"/>
              <a:headEnd/>
              <a:tailEnd/>
            </a:ln>
          </p:spPr>
          <p:txBody>
            <a:bodyPr wrap="square">
              <a:spAutoFit/>
            </a:bodyPr>
            <a:lstStyle/>
            <a:p>
              <a:pPr algn="ctr">
                <a:spcBef>
                  <a:spcPts val="600"/>
                </a:spcBef>
                <a:defRPr/>
              </a:pPr>
              <a:endParaRPr lang="en-US" sz="1200" b="1" dirty="0">
                <a:latin typeface="+mn-lt"/>
                <a:cs typeface="Adobe Clean Light"/>
              </a:endParaRPr>
            </a:p>
          </p:txBody>
        </p:sp>
      </p:grpSp>
      <p:grpSp>
        <p:nvGrpSpPr>
          <p:cNvPr id="19" name="Group 18"/>
          <p:cNvGrpSpPr/>
          <p:nvPr/>
        </p:nvGrpSpPr>
        <p:grpSpPr>
          <a:xfrm>
            <a:off x="3861430" y="1540597"/>
            <a:ext cx="4460577" cy="1070981"/>
            <a:chOff x="3451719" y="3489129"/>
            <a:chExt cx="4812199" cy="2203035"/>
          </a:xfrm>
        </p:grpSpPr>
        <p:grpSp>
          <p:nvGrpSpPr>
            <p:cNvPr id="20" name="Group 1"/>
            <p:cNvGrpSpPr>
              <a:grpSpLocks/>
            </p:cNvGrpSpPr>
            <p:nvPr/>
          </p:nvGrpSpPr>
          <p:grpSpPr bwMode="auto">
            <a:xfrm>
              <a:off x="3451719" y="3515124"/>
              <a:ext cx="3560762" cy="2177040"/>
              <a:chOff x="5045075" y="4312755"/>
              <a:chExt cx="6838950" cy="4181017"/>
            </a:xfrm>
          </p:grpSpPr>
          <p:sp>
            <p:nvSpPr>
              <p:cNvPr id="23" name="Rectangle 22"/>
              <p:cNvSpPr>
                <a:spLocks noChangeArrowheads="1"/>
              </p:cNvSpPr>
              <p:nvPr/>
            </p:nvSpPr>
            <p:spPr bwMode="auto">
              <a:xfrm>
                <a:off x="7381873" y="5940424"/>
                <a:ext cx="2097090" cy="2553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spcBef>
                    <a:spcPts val="600"/>
                  </a:spcBef>
                </a:pPr>
                <a:r>
                  <a:rPr lang="zh-TW" altLang="en-US" sz="1200" dirty="0" smtClean="0">
                    <a:latin typeface="Adobe Clean Light" charset="0"/>
                  </a:rPr>
                  <a:t>更多</a:t>
                </a:r>
                <a:r>
                  <a:rPr lang="en-US" altLang="zh-TW" sz="1200" dirty="0" smtClean="0">
                    <a:latin typeface="Adobe Clean Light" charset="0"/>
                  </a:rPr>
                  <a:t/>
                </a:r>
                <a:br>
                  <a:rPr lang="en-US" altLang="zh-TW" sz="1200" dirty="0" smtClean="0">
                    <a:latin typeface="Adobe Clean Light" charset="0"/>
                  </a:rPr>
                </a:br>
                <a:r>
                  <a:rPr lang="zh-TW" altLang="en-US" sz="1200" dirty="0" smtClean="0">
                    <a:latin typeface="Adobe Clean Light" charset="0"/>
                  </a:rPr>
                  <a:t>儲存空間</a:t>
                </a:r>
                <a:endParaRPr lang="en-US" sz="1200" dirty="0">
                  <a:latin typeface="Adobe Clean Light" charset="0"/>
                </a:endParaRPr>
              </a:p>
            </p:txBody>
          </p:sp>
          <p:sp>
            <p:nvSpPr>
              <p:cNvPr id="24" name="Rectangle 3"/>
              <p:cNvSpPr>
                <a:spLocks noChangeArrowheads="1"/>
              </p:cNvSpPr>
              <p:nvPr/>
            </p:nvSpPr>
            <p:spPr bwMode="auto">
              <a:xfrm>
                <a:off x="5045075" y="5940424"/>
                <a:ext cx="2092326" cy="1823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spcBef>
                    <a:spcPts val="600"/>
                  </a:spcBef>
                </a:pPr>
                <a:r>
                  <a:rPr lang="zh-TW" altLang="en-US" sz="1200" dirty="0" smtClean="0">
                    <a:latin typeface="Adobe Clean Light" charset="0"/>
                  </a:rPr>
                  <a:t>授權</a:t>
                </a:r>
                <a:r>
                  <a:rPr lang="en-US" altLang="zh-TW" sz="1200" dirty="0" smtClean="0">
                    <a:latin typeface="Adobe Clean Light" charset="0"/>
                  </a:rPr>
                  <a:t/>
                </a:r>
                <a:br>
                  <a:rPr lang="en-US" altLang="zh-TW" sz="1200" dirty="0" smtClean="0">
                    <a:latin typeface="Adobe Clean Light" charset="0"/>
                  </a:rPr>
                </a:br>
                <a:r>
                  <a:rPr lang="zh-TW" altLang="en-US" sz="1200" dirty="0" smtClean="0">
                    <a:latin typeface="Adobe Clean Light" charset="0"/>
                  </a:rPr>
                  <a:t>管理</a:t>
                </a:r>
                <a:endParaRPr lang="en-US" sz="1200" dirty="0">
                  <a:latin typeface="Adobe Clean Light" charset="0"/>
                </a:endParaRPr>
              </a:p>
            </p:txBody>
          </p:sp>
          <p:sp>
            <p:nvSpPr>
              <p:cNvPr id="25" name="Rectangle 3"/>
              <p:cNvSpPr>
                <a:spLocks noChangeArrowheads="1"/>
              </p:cNvSpPr>
              <p:nvPr/>
            </p:nvSpPr>
            <p:spPr bwMode="auto">
              <a:xfrm>
                <a:off x="9786938" y="5940424"/>
                <a:ext cx="2097087" cy="1823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spcBef>
                    <a:spcPts val="600"/>
                  </a:spcBef>
                </a:pPr>
                <a:r>
                  <a:rPr lang="zh-TW" altLang="en-US" sz="1200" dirty="0" smtClean="0">
                    <a:latin typeface="Adobe Clean Light" charset="0"/>
                  </a:rPr>
                  <a:t>分享</a:t>
                </a:r>
                <a:r>
                  <a:rPr lang="en-US" altLang="zh-TW" sz="1200" dirty="0" smtClean="0">
                    <a:latin typeface="Adobe Clean Light" charset="0"/>
                  </a:rPr>
                  <a:t/>
                </a:r>
                <a:br>
                  <a:rPr lang="en-US" altLang="zh-TW" sz="1200" dirty="0" smtClean="0">
                    <a:latin typeface="Adobe Clean Light" charset="0"/>
                  </a:rPr>
                </a:br>
                <a:r>
                  <a:rPr lang="zh-TW" altLang="en-US" sz="1200" dirty="0" smtClean="0">
                    <a:latin typeface="Adobe Clean Light" charset="0"/>
                  </a:rPr>
                  <a:t>檔案</a:t>
                </a:r>
                <a:endParaRPr lang="en-US" sz="1200" dirty="0">
                  <a:latin typeface="Adobe Clean Light" charset="0"/>
                </a:endParaRPr>
              </a:p>
            </p:txBody>
          </p:sp>
          <p:pic>
            <p:nvPicPr>
              <p:cNvPr id="26" name="Picture 25" descr="Share.png"/>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10124326" y="4312755"/>
                <a:ext cx="1431087" cy="1431087"/>
              </a:xfrm>
              <a:prstGeom prst="rect">
                <a:avLst/>
              </a:prstGeom>
            </p:spPr>
          </p:pic>
          <p:pic>
            <p:nvPicPr>
              <p:cNvPr id="27" name="Picture 26" descr="Chart_Flow.png"/>
              <p:cNvPicPr>
                <a:picLocks noChangeAspect="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446292" y="4411513"/>
                <a:ext cx="1332329" cy="1332329"/>
              </a:xfrm>
              <a:prstGeom prst="rect">
                <a:avLst/>
              </a:prstGeom>
            </p:spPr>
          </p:pic>
          <p:pic>
            <p:nvPicPr>
              <p:cNvPr id="28" name="Picture 27" descr="Database.png"/>
              <p:cNvPicPr>
                <a:picLocks noChangeAspect="1"/>
              </p:cNvPicPr>
              <p:nvPr/>
            </p:nvPicPr>
            <p:blipFill>
              <a:blip r:embed="rId6"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7790370" y="4412361"/>
                <a:ext cx="1358793" cy="1358793"/>
              </a:xfrm>
              <a:prstGeom prst="rect">
                <a:avLst/>
              </a:prstGeom>
            </p:spPr>
          </p:pic>
          <p:pic>
            <p:nvPicPr>
              <p:cNvPr id="29" name="Picture 17" descr="FirstAid.png"/>
              <p:cNvPicPr>
                <a:picLocks noChangeAspect="1"/>
              </p:cNvPicPr>
              <p:nvPr/>
            </p:nvPicPr>
            <p:blipFill>
              <a:blip r:embed="rId7" cstate="print">
                <a:lum bright="70000" contrast="-70000"/>
                <a:extLst>
                  <a:ext uri="{28A0092B-C50C-407E-A947-70E740481C1C}">
                    <a14:useLocalDpi xmlns:a14="http://schemas.microsoft.com/office/drawing/2010/main" val="0"/>
                  </a:ext>
                </a:extLst>
              </a:blip>
              <a:srcRect/>
              <a:stretch>
                <a:fillRect/>
              </a:stretch>
            </p:blipFill>
            <p:spPr bwMode="auto">
              <a:xfrm>
                <a:off x="8815388" y="5275263"/>
                <a:ext cx="663575" cy="665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1" name="Rectangle 3"/>
            <p:cNvSpPr>
              <a:spLocks noChangeArrowheads="1"/>
            </p:cNvSpPr>
            <p:nvPr/>
          </p:nvSpPr>
          <p:spPr bwMode="auto">
            <a:xfrm>
              <a:off x="7172051" y="4352405"/>
              <a:ext cx="1091867" cy="949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spcBef>
                  <a:spcPts val="600"/>
                </a:spcBef>
              </a:pPr>
              <a:r>
                <a:rPr lang="zh-TW" altLang="en-US" sz="1200" dirty="0" smtClean="0">
                  <a:latin typeface="Adobe Clean Light" charset="0"/>
                </a:rPr>
                <a:t>專家</a:t>
              </a:r>
              <a:r>
                <a:rPr lang="en-US" altLang="zh-TW" sz="1200" dirty="0" smtClean="0">
                  <a:latin typeface="Adobe Clean Light" charset="0"/>
                </a:rPr>
                <a:t/>
              </a:r>
              <a:br>
                <a:rPr lang="en-US" altLang="zh-TW" sz="1200" dirty="0" smtClean="0">
                  <a:latin typeface="Adobe Clean Light" charset="0"/>
                </a:rPr>
              </a:br>
              <a:r>
                <a:rPr lang="en-US" altLang="zh-TW" sz="1200" dirty="0" smtClean="0">
                  <a:latin typeface="Adobe Clean Light" charset="0"/>
                </a:rPr>
                <a:t> </a:t>
              </a:r>
              <a:r>
                <a:rPr lang="zh-TW" altLang="en-US" sz="1200" dirty="0" smtClean="0">
                  <a:latin typeface="Adobe Clean Light" charset="0"/>
                </a:rPr>
                <a:t>支援</a:t>
              </a:r>
              <a:endParaRPr lang="en-US" sz="1200" dirty="0" smtClean="0">
                <a:latin typeface="Adobe Clean Light" charset="0"/>
              </a:endParaRPr>
            </a:p>
          </p:txBody>
        </p:sp>
        <p:pic>
          <p:nvPicPr>
            <p:cNvPr id="22" name="Picture 21" descr="noun_project_5163.png"/>
            <p:cNvPicPr>
              <a:picLocks noChangeAspect="1"/>
            </p:cNvPicPr>
            <p:nvPr/>
          </p:nvPicPr>
          <p:blipFill>
            <a:blip r:embed="rId8">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353060" y="3489129"/>
              <a:ext cx="742445" cy="765407"/>
            </a:xfrm>
            <a:prstGeom prst="rect">
              <a:avLst/>
            </a:prstGeom>
          </p:spPr>
        </p:pic>
      </p:grpSp>
      <p:sp>
        <p:nvSpPr>
          <p:cNvPr id="31" name="Content Placeholder 4"/>
          <p:cNvSpPr txBox="1">
            <a:spLocks/>
          </p:cNvSpPr>
          <p:nvPr/>
        </p:nvSpPr>
        <p:spPr>
          <a:xfrm>
            <a:off x="1393147" y="3009206"/>
            <a:ext cx="6553820" cy="3225339"/>
          </a:xfrm>
          <a:prstGeom prst="rect">
            <a:avLst/>
          </a:prstGeom>
        </p:spPr>
        <p:txBody>
          <a:bodyPr vert="horz" lIns="91440" tIns="45720" rIns="91440" bIns="45720" rtlCol="0">
            <a:normAutofit fontScale="92500" lnSpcReduction="20000"/>
          </a:bodyPr>
          <a:lstStyle>
            <a:lvl1pPr marL="231775" indent="-231775" algn="l" defTabSz="914400" rtl="0" eaLnBrk="1" latinLnBrk="0" hangingPunct="1">
              <a:spcBef>
                <a:spcPts val="600"/>
              </a:spcBef>
              <a:buClr>
                <a:schemeClr val="accent4"/>
              </a:buClr>
              <a:buSzPct val="70000"/>
              <a:buFont typeface="Wingdings" pitchFamily="2" charset="2"/>
              <a:buChar char="§"/>
              <a:defRPr sz="2000" kern="1200">
                <a:solidFill>
                  <a:schemeClr val="tx1"/>
                </a:solidFill>
                <a:latin typeface="+mn-lt"/>
                <a:ea typeface="+mn-ea"/>
                <a:cs typeface="+mn-cs"/>
              </a:defRPr>
            </a:lvl1pPr>
            <a:lvl2pPr marL="463550" indent="-231775" algn="l" defTabSz="914400" rtl="0" eaLnBrk="1" latinLnBrk="0" hangingPunct="1">
              <a:spcBef>
                <a:spcPts val="600"/>
              </a:spcBef>
              <a:buClr>
                <a:schemeClr val="accent4"/>
              </a:buClr>
              <a:buSzPct val="70000"/>
              <a:buFont typeface="Wingdings" pitchFamily="2" charset="2"/>
              <a:buChar char="§"/>
              <a:defRPr sz="1800" kern="1200">
                <a:solidFill>
                  <a:schemeClr val="tx1"/>
                </a:solidFill>
                <a:latin typeface="+mn-lt"/>
                <a:ea typeface="+mn-ea"/>
                <a:cs typeface="+mn-cs"/>
              </a:defRPr>
            </a:lvl2pPr>
            <a:lvl3pPr marL="631825" indent="-168275" algn="l" defTabSz="914400" rtl="0" eaLnBrk="1" latinLnBrk="0" hangingPunct="1">
              <a:spcBef>
                <a:spcPts val="600"/>
              </a:spcBef>
              <a:buClr>
                <a:schemeClr val="accent4"/>
              </a:buClr>
              <a:buSzPct val="70000"/>
              <a:buFont typeface="Wingdings" pitchFamily="2" charset="2"/>
              <a:buChar char="§"/>
              <a:defRPr sz="1600" kern="1200">
                <a:solidFill>
                  <a:schemeClr val="tx1"/>
                </a:solidFill>
                <a:latin typeface="+mn-lt"/>
                <a:ea typeface="+mn-ea"/>
                <a:cs typeface="+mn-cs"/>
              </a:defRPr>
            </a:lvl3pPr>
            <a:lvl4pPr marL="798513" indent="-166688" algn="l" defTabSz="914400" rtl="0" eaLnBrk="1" latinLnBrk="0" hangingPunct="1">
              <a:spcBef>
                <a:spcPts val="600"/>
              </a:spcBef>
              <a:buClr>
                <a:schemeClr val="accent4"/>
              </a:buClr>
              <a:buSzPct val="70000"/>
              <a:buFont typeface="Wingdings" pitchFamily="2" charset="2"/>
              <a:buChar char="§"/>
              <a:defRPr sz="1600" kern="1200">
                <a:solidFill>
                  <a:schemeClr val="tx1"/>
                </a:solidFill>
                <a:latin typeface="+mn-lt"/>
                <a:ea typeface="+mn-ea"/>
                <a:cs typeface="+mn-cs"/>
              </a:defRPr>
            </a:lvl4pPr>
            <a:lvl5pPr marL="914400" indent="-115888" algn="l" defTabSz="914400" rtl="0" eaLnBrk="1" latinLnBrk="0" hangingPunct="1">
              <a:spcBef>
                <a:spcPts val="600"/>
              </a:spcBef>
              <a:buClr>
                <a:schemeClr val="accent4"/>
              </a:buClr>
              <a:buSzPct val="70000"/>
              <a:buFont typeface="Wingdings" pitchFamily="2" charset="2"/>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auto">
              <a:lnSpc>
                <a:spcPct val="150000"/>
              </a:lnSpc>
              <a:spcAft>
                <a:spcPts val="0"/>
              </a:spcAft>
              <a:buClr>
                <a:schemeClr val="bg1"/>
              </a:buClr>
              <a:buFont typeface="Wingdings" pitchFamily="2" charset="2"/>
              <a:buNone/>
            </a:pPr>
            <a:r>
              <a:rPr lang="zh-TW" altLang="en-US" sz="2400" dirty="0" smtClean="0">
                <a:solidFill>
                  <a:srgbClr val="002060"/>
                </a:solidFill>
                <a:latin typeface="Adobe Clean" charset="0"/>
              </a:rPr>
              <a:t>應用程式照常在電腦內安裝及表現無異</a:t>
            </a:r>
            <a:endParaRPr lang="en-US" altLang="zh-TW" sz="2400" dirty="0" smtClean="0">
              <a:solidFill>
                <a:srgbClr val="002060"/>
              </a:solidFill>
              <a:latin typeface="Adobe Clean" charset="0"/>
            </a:endParaRPr>
          </a:p>
          <a:p>
            <a:pPr marL="0" indent="0" algn="ctr" fontAlgn="auto">
              <a:lnSpc>
                <a:spcPct val="150000"/>
              </a:lnSpc>
              <a:spcAft>
                <a:spcPts val="0"/>
              </a:spcAft>
              <a:buClr>
                <a:schemeClr val="bg1"/>
              </a:buClr>
              <a:buFont typeface="Wingdings" pitchFamily="2" charset="2"/>
              <a:buNone/>
            </a:pPr>
            <a:r>
              <a:rPr lang="zh-TW" altLang="en-US" sz="2400" dirty="0">
                <a:solidFill>
                  <a:srgbClr val="002060"/>
                </a:solidFill>
                <a:latin typeface="Adobe Clean" charset="0"/>
              </a:rPr>
              <a:t>新功能不斷更</a:t>
            </a:r>
            <a:r>
              <a:rPr lang="zh-TW" altLang="en-US" sz="2400" dirty="0" smtClean="0">
                <a:solidFill>
                  <a:srgbClr val="002060"/>
                </a:solidFill>
                <a:latin typeface="Adobe Clean" charset="0"/>
              </a:rPr>
              <a:t>新</a:t>
            </a:r>
            <a:endParaRPr lang="en-US" altLang="zh-TW" sz="2400" dirty="0" smtClean="0">
              <a:solidFill>
                <a:srgbClr val="002060"/>
              </a:solidFill>
              <a:latin typeface="Adobe Clean" charset="0"/>
            </a:endParaRPr>
          </a:p>
          <a:p>
            <a:pPr marL="0" indent="0" algn="ctr" fontAlgn="auto">
              <a:lnSpc>
                <a:spcPct val="150000"/>
              </a:lnSpc>
              <a:spcAft>
                <a:spcPts val="0"/>
              </a:spcAft>
              <a:buClr>
                <a:schemeClr val="bg1"/>
              </a:buClr>
              <a:buNone/>
            </a:pPr>
            <a:r>
              <a:rPr lang="zh-TW" altLang="en-US" sz="2400" dirty="0">
                <a:solidFill>
                  <a:srgbClr val="002060"/>
                </a:solidFill>
                <a:latin typeface="Adobe Clean" charset="0"/>
              </a:rPr>
              <a:t>選擇</a:t>
            </a:r>
            <a:r>
              <a:rPr lang="zh-TW" altLang="en-US" sz="2400" dirty="0" smtClean="0">
                <a:solidFill>
                  <a:srgbClr val="002060"/>
                </a:solidFill>
                <a:latin typeface="Adobe Clean" charset="0"/>
              </a:rPr>
              <a:t>性將工作</a:t>
            </a:r>
            <a:r>
              <a:rPr lang="zh-TW" altLang="en-US" sz="2400" dirty="0">
                <a:solidFill>
                  <a:srgbClr val="002060"/>
                </a:solidFill>
                <a:latin typeface="Adobe Clean" charset="0"/>
              </a:rPr>
              <a:t>與</a:t>
            </a:r>
            <a:r>
              <a:rPr lang="en-US" sz="2400" dirty="0" smtClean="0">
                <a:solidFill>
                  <a:srgbClr val="002060"/>
                </a:solidFill>
                <a:latin typeface="Adobe Clean" charset="0"/>
              </a:rPr>
              <a:t>Creative </a:t>
            </a:r>
            <a:r>
              <a:rPr lang="en-US" sz="2400" dirty="0">
                <a:solidFill>
                  <a:srgbClr val="002060"/>
                </a:solidFill>
                <a:latin typeface="Adobe Clean" charset="0"/>
              </a:rPr>
              <a:t>Cloud</a:t>
            </a:r>
            <a:r>
              <a:rPr lang="zh-TW" altLang="en-US" sz="2400" dirty="0" smtClean="0">
                <a:solidFill>
                  <a:srgbClr val="002060"/>
                </a:solidFill>
                <a:latin typeface="Adobe Clean" charset="0"/>
              </a:rPr>
              <a:t>同步</a:t>
            </a:r>
            <a:endParaRPr lang="en-US" altLang="zh-TW" sz="2400" dirty="0" smtClean="0">
              <a:solidFill>
                <a:srgbClr val="002060"/>
              </a:solidFill>
              <a:latin typeface="Adobe Clean" charset="0"/>
            </a:endParaRPr>
          </a:p>
          <a:p>
            <a:pPr marL="0" indent="0" algn="ctr" fontAlgn="auto">
              <a:lnSpc>
                <a:spcPct val="150000"/>
              </a:lnSpc>
              <a:spcAft>
                <a:spcPts val="0"/>
              </a:spcAft>
              <a:buClr>
                <a:schemeClr val="bg1"/>
              </a:buClr>
              <a:buNone/>
            </a:pPr>
            <a:r>
              <a:rPr lang="zh-TW" altLang="en-US" sz="2400" dirty="0" smtClean="0">
                <a:solidFill>
                  <a:srgbClr val="002060"/>
                </a:solidFill>
                <a:latin typeface="Adobe Clean" charset="0"/>
              </a:rPr>
              <a:t>訂閱</a:t>
            </a:r>
            <a:r>
              <a:rPr lang="zh-TW" altLang="en-US" sz="2400" dirty="0">
                <a:solidFill>
                  <a:srgbClr val="002060"/>
                </a:solidFill>
                <a:latin typeface="Adobe Clean" charset="0"/>
              </a:rPr>
              <a:t>授</a:t>
            </a:r>
            <a:r>
              <a:rPr lang="zh-TW" altLang="en-US" sz="2400" dirty="0" smtClean="0">
                <a:solidFill>
                  <a:srgbClr val="002060"/>
                </a:solidFill>
                <a:latin typeface="Adobe Clean" charset="0"/>
              </a:rPr>
              <a:t>權可於不同平台使用</a:t>
            </a:r>
            <a:endParaRPr lang="en-US" altLang="zh-TW" sz="2400" dirty="0">
              <a:solidFill>
                <a:srgbClr val="002060"/>
              </a:solidFill>
              <a:latin typeface="Adobe Clean" charset="0"/>
            </a:endParaRPr>
          </a:p>
          <a:p>
            <a:pPr marL="0" indent="0" algn="ctr" fontAlgn="auto">
              <a:lnSpc>
                <a:spcPct val="150000"/>
              </a:lnSpc>
              <a:spcAft>
                <a:spcPts val="0"/>
              </a:spcAft>
              <a:buClr>
                <a:schemeClr val="bg1"/>
              </a:buClr>
              <a:buNone/>
            </a:pPr>
            <a:r>
              <a:rPr lang="zh-TW" altLang="en-US" sz="2400" dirty="0" smtClean="0">
                <a:solidFill>
                  <a:srgbClr val="002060"/>
                </a:solidFill>
                <a:latin typeface="Adobe Clean" charset="0"/>
              </a:rPr>
              <a:t>產品語言更世界性</a:t>
            </a:r>
            <a:endParaRPr lang="en-US" altLang="zh-TW" sz="2400" dirty="0" smtClean="0">
              <a:solidFill>
                <a:srgbClr val="002060"/>
              </a:solidFill>
              <a:latin typeface="Adobe Clean" charset="0"/>
            </a:endParaRPr>
          </a:p>
          <a:p>
            <a:pPr marL="0" indent="0" algn="ctr" fontAlgn="auto">
              <a:lnSpc>
                <a:spcPct val="150000"/>
              </a:lnSpc>
              <a:spcAft>
                <a:spcPts val="0"/>
              </a:spcAft>
              <a:buClr>
                <a:schemeClr val="bg1"/>
              </a:buClr>
              <a:buNone/>
            </a:pPr>
            <a:r>
              <a:rPr lang="zh-TW" altLang="en-US" sz="2400" dirty="0">
                <a:solidFill>
                  <a:srgbClr val="002060"/>
                </a:solidFill>
                <a:latin typeface="Adobe Clean" charset="0"/>
              </a:rPr>
              <a:t>不需</a:t>
            </a:r>
            <a:r>
              <a:rPr lang="zh-TW" altLang="en-US" sz="2400" dirty="0" smtClean="0">
                <a:solidFill>
                  <a:srgbClr val="002060"/>
                </a:solidFill>
                <a:latin typeface="Adobe Clean" charset="0"/>
              </a:rPr>
              <a:t>要序號安裝</a:t>
            </a:r>
            <a:endParaRPr lang="en-US" sz="2400" dirty="0" smtClean="0">
              <a:solidFill>
                <a:srgbClr val="002060"/>
              </a:solidFill>
              <a:latin typeface="Adobe Clean" charset="0"/>
            </a:endParaRPr>
          </a:p>
        </p:txBody>
      </p:sp>
      <p:sp>
        <p:nvSpPr>
          <p:cNvPr id="32" name="Rectangle 31"/>
          <p:cNvSpPr/>
          <p:nvPr/>
        </p:nvSpPr>
        <p:spPr>
          <a:xfrm>
            <a:off x="296740" y="241646"/>
            <a:ext cx="1224489" cy="584775"/>
          </a:xfrm>
          <a:prstGeom prst="rect">
            <a:avLst/>
          </a:prstGeom>
        </p:spPr>
        <p:txBody>
          <a:bodyPr wrap="square">
            <a:spAutoFit/>
          </a:bodyPr>
          <a:lstStyle/>
          <a:p>
            <a:r>
              <a:rPr lang="zh-TW" altLang="en-US" sz="3200" dirty="0">
                <a:solidFill>
                  <a:schemeClr val="bg2">
                    <a:lumMod val="25000"/>
                  </a:schemeClr>
                </a:solidFill>
              </a:rPr>
              <a:t>總覽</a:t>
            </a:r>
            <a:endParaRPr lang="en-US" sz="3200" dirty="0">
              <a:solidFill>
                <a:schemeClr val="bg2">
                  <a:lumMod val="25000"/>
                </a:schemeClr>
              </a:solidFill>
            </a:endParaRPr>
          </a:p>
        </p:txBody>
      </p:sp>
      <p:sp>
        <p:nvSpPr>
          <p:cNvPr id="2" name="投影片編號版面配置區 1"/>
          <p:cNvSpPr>
            <a:spLocks noGrp="1"/>
          </p:cNvSpPr>
          <p:nvPr>
            <p:ph type="sldNum" sz="quarter" idx="12"/>
          </p:nvPr>
        </p:nvSpPr>
        <p:spPr/>
        <p:txBody>
          <a:bodyPr/>
          <a:lstStyle/>
          <a:p>
            <a:pPr>
              <a:defRPr/>
            </a:pPr>
            <a:fld id="{1D9970BA-2F58-4996-9806-696110DA0FEA}" type="slidenum">
              <a:rPr lang="en-US" smtClean="0"/>
              <a:pPr>
                <a:defRPr/>
              </a:pPr>
              <a:t>7</a:t>
            </a:fld>
            <a:endParaRPr lang="zh-CN" altLang="en-US"/>
          </a:p>
        </p:txBody>
      </p:sp>
    </p:spTree>
    <p:extLst>
      <p:ext uri="{BB962C8B-B14F-4D97-AF65-F5344CB8AC3E}">
        <p14:creationId xmlns:p14="http://schemas.microsoft.com/office/powerpoint/2010/main" val="3816261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0"/>
                                        <p:tgtEl>
                                          <p:spTgt spid="4"/>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childTnLst>
                          </p:cTn>
                        </p:par>
                        <p:par>
                          <p:cTn id="11" fill="hold">
                            <p:stCondLst>
                              <p:cond delay="3000"/>
                            </p:stCondLst>
                            <p:childTnLst>
                              <p:par>
                                <p:cTn id="12" presetID="22" presetClass="entr" presetSubtype="8" fill="hold" nodeType="afterEffect">
                                  <p:stCondLst>
                                    <p:cond delay="2000"/>
                                  </p:stCondLst>
                                  <p:childTnLst>
                                    <p:set>
                                      <p:cBhvr>
                                        <p:cTn id="13" dur="1" fill="hold">
                                          <p:stCondLst>
                                            <p:cond delay="0"/>
                                          </p:stCondLst>
                                        </p:cTn>
                                        <p:tgtEl>
                                          <p:spTgt spid="19"/>
                                        </p:tgtEl>
                                        <p:attrNameLst>
                                          <p:attrName>style.visibility</p:attrName>
                                        </p:attrNameLst>
                                      </p:cBhvr>
                                      <p:to>
                                        <p:strVal val="visible"/>
                                      </p:to>
                                    </p:set>
                                    <p:animEffect transition="in" filter="wipe(left)">
                                      <p:cBhvr>
                                        <p:cTn id="14" dur="3000"/>
                                        <p:tgtEl>
                                          <p:spTgt spid="19"/>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31">
                                            <p:txEl>
                                              <p:pRg st="0" end="0"/>
                                            </p:txEl>
                                          </p:spTgt>
                                        </p:tgtEl>
                                        <p:attrNameLst>
                                          <p:attrName>style.visibility</p:attrName>
                                        </p:attrNameLst>
                                      </p:cBhvr>
                                      <p:to>
                                        <p:strVal val="visible"/>
                                      </p:to>
                                    </p:set>
                                    <p:animEffect transition="in" filter="fade">
                                      <p:cBhvr>
                                        <p:cTn id="19" dur="500"/>
                                        <p:tgtEl>
                                          <p:spTgt spid="31">
                                            <p:txEl>
                                              <p:pRg st="0" end="0"/>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31">
                                            <p:txEl>
                                              <p:pRg st="1" end="1"/>
                                            </p:txEl>
                                          </p:spTgt>
                                        </p:tgtEl>
                                        <p:attrNameLst>
                                          <p:attrName>style.visibility</p:attrName>
                                        </p:attrNameLst>
                                      </p:cBhvr>
                                      <p:to>
                                        <p:strVal val="visible"/>
                                      </p:to>
                                    </p:set>
                                    <p:animEffect transition="in" filter="fade">
                                      <p:cBhvr>
                                        <p:cTn id="24" dur="500"/>
                                        <p:tgtEl>
                                          <p:spTgt spid="31">
                                            <p:txEl>
                                              <p:pRg st="1" end="1"/>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31">
                                            <p:txEl>
                                              <p:pRg st="2" end="2"/>
                                            </p:txEl>
                                          </p:spTgt>
                                        </p:tgtEl>
                                        <p:attrNameLst>
                                          <p:attrName>style.visibility</p:attrName>
                                        </p:attrNameLst>
                                      </p:cBhvr>
                                      <p:to>
                                        <p:strVal val="visible"/>
                                      </p:to>
                                    </p:set>
                                    <p:animEffect transition="in" filter="fade">
                                      <p:cBhvr>
                                        <p:cTn id="29" dur="500"/>
                                        <p:tgtEl>
                                          <p:spTgt spid="31">
                                            <p:txEl>
                                              <p:pRg st="2" end="2"/>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31">
                                            <p:txEl>
                                              <p:pRg st="3" end="3"/>
                                            </p:txEl>
                                          </p:spTgt>
                                        </p:tgtEl>
                                        <p:attrNameLst>
                                          <p:attrName>style.visibility</p:attrName>
                                        </p:attrNameLst>
                                      </p:cBhvr>
                                      <p:to>
                                        <p:strVal val="visible"/>
                                      </p:to>
                                    </p:set>
                                    <p:animEffect transition="in" filter="fade">
                                      <p:cBhvr>
                                        <p:cTn id="34" dur="500"/>
                                        <p:tgtEl>
                                          <p:spTgt spid="31">
                                            <p:txEl>
                                              <p:pRg st="3" end="3"/>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31">
                                            <p:txEl>
                                              <p:pRg st="4" end="4"/>
                                            </p:txEl>
                                          </p:spTgt>
                                        </p:tgtEl>
                                        <p:attrNameLst>
                                          <p:attrName>style.visibility</p:attrName>
                                        </p:attrNameLst>
                                      </p:cBhvr>
                                      <p:to>
                                        <p:strVal val="visible"/>
                                      </p:to>
                                    </p:set>
                                    <p:animEffect transition="in" filter="fade">
                                      <p:cBhvr>
                                        <p:cTn id="39" dur="500"/>
                                        <p:tgtEl>
                                          <p:spTgt spid="31">
                                            <p:txEl>
                                              <p:pRg st="4" end="4"/>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31">
                                            <p:txEl>
                                              <p:pRg st="5" end="5"/>
                                            </p:txEl>
                                          </p:spTgt>
                                        </p:tgtEl>
                                        <p:attrNameLst>
                                          <p:attrName>style.visibility</p:attrName>
                                        </p:attrNameLst>
                                      </p:cBhvr>
                                      <p:to>
                                        <p:strVal val="visible"/>
                                      </p:to>
                                    </p:set>
                                    <p:animEffect transition="in" filter="fade">
                                      <p:cBhvr>
                                        <p:cTn id="44" dur="500"/>
                                        <p:tgtEl>
                                          <p:spTgt spid="31">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31" grpId="0" build="p"/>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內容版面配置區 7"/>
          <p:cNvGraphicFramePr>
            <a:graphicFrameLocks noGrp="1"/>
          </p:cNvGraphicFramePr>
          <p:nvPr>
            <p:ph idx="1"/>
          </p:nvPr>
        </p:nvGraphicFramePr>
        <p:xfrm>
          <a:off x="357158" y="1357298"/>
          <a:ext cx="8229600" cy="11144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標題 4"/>
          <p:cNvSpPr>
            <a:spLocks noGrp="1"/>
          </p:cNvSpPr>
          <p:nvPr>
            <p:ph type="title"/>
          </p:nvPr>
        </p:nvSpPr>
        <p:spPr/>
        <p:txBody>
          <a:bodyPr/>
          <a:lstStyle/>
          <a:p>
            <a:pPr eaLnBrk="1" fontAlgn="auto" hangingPunct="1">
              <a:spcAft>
                <a:spcPts val="0"/>
              </a:spcAft>
              <a:defRPr/>
            </a:pPr>
            <a:r>
              <a:rPr lang="zh-TW" altLang="en-US" dirty="0" smtClean="0">
                <a:latin typeface="標楷體" pitchFamily="65" charset="-120"/>
                <a:ea typeface="標楷體" pitchFamily="65" charset="-120"/>
              </a:rPr>
              <a:t>如何進行自我軟體檢測</a:t>
            </a:r>
            <a:endParaRPr lang="zh-TW" altLang="en-US" dirty="0">
              <a:latin typeface="標楷體" pitchFamily="65" charset="-120"/>
              <a:ea typeface="標楷體" pitchFamily="65" charset="-120"/>
            </a:endParaRPr>
          </a:p>
        </p:txBody>
      </p:sp>
      <p:grpSp>
        <p:nvGrpSpPr>
          <p:cNvPr id="84996" name="群組 6"/>
          <p:cNvGrpSpPr>
            <a:grpSpLocks/>
          </p:cNvGrpSpPr>
          <p:nvPr/>
        </p:nvGrpSpPr>
        <p:grpSpPr bwMode="auto">
          <a:xfrm>
            <a:off x="714375" y="2643188"/>
            <a:ext cx="7286625" cy="3895725"/>
            <a:chOff x="785786" y="2643182"/>
            <a:chExt cx="7286676" cy="3895847"/>
          </a:xfrm>
        </p:grpSpPr>
        <p:pic>
          <p:nvPicPr>
            <p:cNvPr id="84997" name="圖片 4" descr="cid:image006.png@01C998CB.7F077CF0"/>
            <p:cNvPicPr>
              <a:picLocks noChangeAspect="1" noChangeArrowheads="1"/>
            </p:cNvPicPr>
            <p:nvPr/>
          </p:nvPicPr>
          <p:blipFill>
            <a:blip r:embed="rId7" r:link="rId8" cstate="print"/>
            <a:srcRect l="1910" t="3448" r="1572" b="3448"/>
            <a:stretch>
              <a:fillRect/>
            </a:stretch>
          </p:blipFill>
          <p:spPr bwMode="auto">
            <a:xfrm>
              <a:off x="785786" y="2643182"/>
              <a:ext cx="7286676" cy="3895847"/>
            </a:xfrm>
            <a:prstGeom prst="rect">
              <a:avLst/>
            </a:prstGeom>
            <a:noFill/>
            <a:ln w="9525">
              <a:noFill/>
              <a:miter lim="800000"/>
              <a:headEnd/>
              <a:tailEnd/>
            </a:ln>
          </p:spPr>
        </p:pic>
        <p:sp>
          <p:nvSpPr>
            <p:cNvPr id="84998" name="AutoShape 4"/>
            <p:cNvSpPr>
              <a:spLocks noChangeArrowheads="1"/>
            </p:cNvSpPr>
            <p:nvPr/>
          </p:nvSpPr>
          <p:spPr bwMode="auto">
            <a:xfrm>
              <a:off x="4429124" y="3000372"/>
              <a:ext cx="1785950" cy="571504"/>
            </a:xfrm>
            <a:prstGeom prst="roundRect">
              <a:avLst>
                <a:gd name="adj" fmla="val 16667"/>
              </a:avLst>
            </a:prstGeom>
            <a:noFill/>
            <a:ln w="38100">
              <a:solidFill>
                <a:srgbClr val="FF0000"/>
              </a:solidFill>
              <a:round/>
              <a:headEnd/>
              <a:tailEnd/>
            </a:ln>
          </p:spPr>
          <p:txBody>
            <a:bodyPr wrap="none" anchor="ctr"/>
            <a:lstStyle/>
            <a:p>
              <a:endParaRPr lang="zh-TW" altLang="en-US"/>
            </a:p>
          </p:txBody>
        </p:sp>
      </p:grpSp>
      <p:sp>
        <p:nvSpPr>
          <p:cNvPr id="2" name="投影片編號版面配置區 1"/>
          <p:cNvSpPr>
            <a:spLocks noGrp="1"/>
          </p:cNvSpPr>
          <p:nvPr>
            <p:ph type="sldNum" sz="quarter" idx="12"/>
          </p:nvPr>
        </p:nvSpPr>
        <p:spPr/>
        <p:txBody>
          <a:bodyPr/>
          <a:lstStyle/>
          <a:p>
            <a:pPr>
              <a:defRPr/>
            </a:pPr>
            <a:fld id="{1D9970BA-2F58-4996-9806-696110DA0FEA}" type="slidenum">
              <a:rPr lang="en-US" smtClean="0"/>
              <a:pPr>
                <a:defRPr/>
              </a:pPr>
              <a:t>70</a:t>
            </a:fld>
            <a:endParaRPr lang="zh-CN" altLang="en-US"/>
          </a:p>
        </p:txBody>
      </p:sp>
    </p:spTree>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a:xfrm>
            <a:off x="1567878" y="869429"/>
            <a:ext cx="6934200" cy="685800"/>
          </a:xfrm>
        </p:spPr>
        <p:txBody>
          <a:bodyPr>
            <a:normAutofit fontScale="90000"/>
          </a:bodyPr>
          <a:lstStyle/>
          <a:p>
            <a:pPr eaLnBrk="1" fontAlgn="auto" hangingPunct="1">
              <a:spcAft>
                <a:spcPts val="0"/>
              </a:spcAft>
              <a:defRPr/>
            </a:pPr>
            <a:r>
              <a:rPr lang="zh-TW" altLang="en-US" dirty="0" smtClean="0">
                <a:solidFill>
                  <a:schemeClr val="tx1"/>
                </a:solidFill>
                <a:effectLst>
                  <a:outerShdw blurRad="38100" dist="38100" dir="2700000" algn="tl">
                    <a:srgbClr val="000000">
                      <a:alpha val="43137"/>
                    </a:srgbClr>
                  </a:outerShdw>
                </a:effectLst>
                <a:latin typeface="標楷體" pitchFamily="65" charset="-120"/>
                <a:ea typeface="標楷體" pitchFamily="65" charset="-120"/>
              </a:rPr>
              <a:t>問題討論</a:t>
            </a:r>
          </a:p>
        </p:txBody>
      </p:sp>
      <p:pic>
        <p:nvPicPr>
          <p:cNvPr id="90115" name="Picture 3" descr="TM_logo_04"/>
          <p:cNvPicPr>
            <a:picLocks noChangeAspect="1" noChangeArrowheads="1"/>
          </p:cNvPicPr>
          <p:nvPr/>
        </p:nvPicPr>
        <p:blipFill>
          <a:blip r:embed="rId2" cstate="print"/>
          <a:srcRect/>
          <a:stretch>
            <a:fillRect/>
          </a:stretch>
        </p:blipFill>
        <p:spPr bwMode="auto">
          <a:xfrm>
            <a:off x="0" y="5713413"/>
            <a:ext cx="9144000" cy="1144587"/>
          </a:xfrm>
          <a:prstGeom prst="rect">
            <a:avLst/>
          </a:prstGeom>
          <a:noFill/>
          <a:ln w="9525">
            <a:noFill/>
            <a:miter lim="800000"/>
            <a:headEnd/>
            <a:tailEnd/>
          </a:ln>
        </p:spPr>
      </p:pic>
      <p:pic>
        <p:nvPicPr>
          <p:cNvPr id="90116" name="Picture 4" descr="j0223400"/>
          <p:cNvPicPr>
            <a:picLocks noChangeAspect="1" noChangeArrowheads="1"/>
          </p:cNvPicPr>
          <p:nvPr/>
        </p:nvPicPr>
        <p:blipFill>
          <a:blip r:embed="rId3" cstate="print">
            <a:grayscl/>
          </a:blip>
          <a:srcRect/>
          <a:stretch>
            <a:fillRect/>
          </a:stretch>
        </p:blipFill>
        <p:spPr bwMode="auto">
          <a:xfrm>
            <a:off x="1619250" y="1341438"/>
            <a:ext cx="5688013" cy="4119562"/>
          </a:xfrm>
          <a:prstGeom prst="rect">
            <a:avLst/>
          </a:prstGeom>
          <a:noFill/>
          <a:ln w="9525">
            <a:noFill/>
            <a:miter lim="800000"/>
            <a:headEnd/>
            <a:tailEnd/>
          </a:ln>
        </p:spPr>
      </p:pic>
      <p:sp>
        <p:nvSpPr>
          <p:cNvPr id="2" name="投影片編號版面配置區 1"/>
          <p:cNvSpPr>
            <a:spLocks noGrp="1"/>
          </p:cNvSpPr>
          <p:nvPr>
            <p:ph type="sldNum" sz="quarter" idx="12"/>
          </p:nvPr>
        </p:nvSpPr>
        <p:spPr/>
        <p:txBody>
          <a:bodyPr/>
          <a:lstStyle/>
          <a:p>
            <a:pPr>
              <a:defRPr/>
            </a:pPr>
            <a:fld id="{F67FB0A5-B535-4F1C-82E4-6237E3B76FA3}" type="slidenum">
              <a:rPr lang="en-US" smtClean="0"/>
              <a:pPr>
                <a:defRPr/>
              </a:pPr>
              <a:t>71</a:t>
            </a:fld>
            <a:endParaRPr lang="zh-CN" altLang="en-US"/>
          </a:p>
        </p:txBody>
      </p:sp>
    </p:spTree>
  </p:cSld>
  <p:clrMapOvr>
    <a:masterClrMapping/>
  </p:clrMapOvr>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nvPr>
        </p:nvSpPr>
        <p:spPr>
          <a:xfrm>
            <a:off x="537040" y="2773642"/>
            <a:ext cx="8229600" cy="1143000"/>
          </a:xfrm>
        </p:spPr>
        <p:txBody>
          <a:bodyPr>
            <a:noAutofit/>
          </a:bodyPr>
          <a:lstStyle/>
          <a:p>
            <a:pPr algn="r" eaLnBrk="1" fontAlgn="auto" hangingPunct="1">
              <a:spcAft>
                <a:spcPts val="0"/>
              </a:spcAft>
              <a:defRPr/>
            </a:pPr>
            <a:r>
              <a:rPr lang="en-US" altLang="zh-TW" sz="7200" dirty="0" smtClean="0">
                <a:ln w="17780" cmpd="sng">
                  <a:solidFill>
                    <a:srgbClr val="FFFFFF"/>
                  </a:solidFill>
                  <a:prstDash val="solid"/>
                  <a:miter lim="800000"/>
                </a:ln>
                <a:solidFill>
                  <a:srgbClr val="92D050"/>
                </a:solidFill>
                <a:effectLst>
                  <a:outerShdw blurRad="50800" algn="tl" rotWithShape="0">
                    <a:srgbClr val="000000"/>
                  </a:outerShdw>
                </a:effectLst>
              </a:rPr>
              <a:t> </a:t>
            </a:r>
            <a:br>
              <a:rPr lang="en-US" altLang="zh-TW" sz="7200" dirty="0" smtClean="0">
                <a:ln w="17780" cmpd="sng">
                  <a:solidFill>
                    <a:srgbClr val="FFFFFF"/>
                  </a:solidFill>
                  <a:prstDash val="solid"/>
                  <a:miter lim="800000"/>
                </a:ln>
                <a:solidFill>
                  <a:srgbClr val="92D050"/>
                </a:solidFill>
                <a:effectLst>
                  <a:outerShdw blurRad="50800" algn="tl" rotWithShape="0">
                    <a:srgbClr val="000000"/>
                  </a:outerShdw>
                </a:effectLst>
              </a:rPr>
            </a:br>
            <a:r>
              <a:rPr lang="en-US" altLang="zh-TW" sz="7200" dirty="0" smtClean="0">
                <a:ln w="17780" cmpd="sng">
                  <a:solidFill>
                    <a:srgbClr val="FFFFFF"/>
                  </a:solidFill>
                  <a:prstDash val="solid"/>
                  <a:miter lim="800000"/>
                </a:ln>
                <a:solidFill>
                  <a:schemeClr val="tx2">
                    <a:lumMod val="90000"/>
                  </a:schemeClr>
                </a:solidFill>
                <a:effectLst>
                  <a:outerShdw blurRad="50800" algn="tl" rotWithShape="0">
                    <a:srgbClr val="000000"/>
                  </a:outerShdw>
                </a:effectLst>
              </a:rPr>
              <a:t>Thank You</a:t>
            </a:r>
            <a:endParaRPr lang="zh-TW" altLang="en-US" sz="7200" dirty="0">
              <a:ln w="17780" cmpd="sng">
                <a:solidFill>
                  <a:srgbClr val="FFFFFF"/>
                </a:solidFill>
                <a:prstDash val="solid"/>
                <a:miter lim="800000"/>
              </a:ln>
              <a:solidFill>
                <a:schemeClr val="tx2">
                  <a:lumMod val="90000"/>
                </a:schemeClr>
              </a:solidFill>
              <a:effectLst>
                <a:outerShdw blurRad="50800" algn="tl" rotWithShape="0">
                  <a:srgbClr val="000000"/>
                </a:outerShdw>
              </a:effectLst>
            </a:endParaRPr>
          </a:p>
        </p:txBody>
      </p:sp>
      <p:sp>
        <p:nvSpPr>
          <p:cNvPr id="2" name="投影片編號版面配置區 1"/>
          <p:cNvSpPr>
            <a:spLocks noGrp="1"/>
          </p:cNvSpPr>
          <p:nvPr>
            <p:ph type="sldNum" sz="quarter" idx="12"/>
          </p:nvPr>
        </p:nvSpPr>
        <p:spPr/>
        <p:txBody>
          <a:bodyPr/>
          <a:lstStyle/>
          <a:p>
            <a:pPr>
              <a:defRPr/>
            </a:pPr>
            <a:fld id="{F67FB0A5-B535-4F1C-82E4-6237E3B76FA3}" type="slidenum">
              <a:rPr lang="en-US" smtClean="0"/>
              <a:pPr>
                <a:defRPr/>
              </a:pPr>
              <a:t>72</a:t>
            </a:fld>
            <a:endParaRPr lang="zh-CN" altLang="en-US"/>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 6"/>
          <p:cNvGraphicFramePr/>
          <p:nvPr>
            <p:extLst>
              <p:ext uri="{D42A27DB-BD31-4B8C-83A1-F6EECF244321}">
                <p14:modId xmlns:p14="http://schemas.microsoft.com/office/powerpoint/2010/main" val="1091481208"/>
              </p:ext>
            </p:extLst>
          </p:nvPr>
        </p:nvGraphicFramePr>
        <p:xfrm>
          <a:off x="1402077" y="1324154"/>
          <a:ext cx="6328759" cy="397105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itle 2"/>
          <p:cNvSpPr>
            <a:spLocks noGrp="1"/>
          </p:cNvSpPr>
          <p:nvPr>
            <p:ph type="title"/>
          </p:nvPr>
        </p:nvSpPr>
        <p:spPr>
          <a:xfrm>
            <a:off x="448887" y="130509"/>
            <a:ext cx="8229600" cy="1033273"/>
          </a:xfrm>
        </p:spPr>
        <p:txBody>
          <a:bodyPr>
            <a:normAutofit/>
          </a:bodyPr>
          <a:lstStyle/>
          <a:p>
            <a:r>
              <a:rPr lang="zh-TW" altLang="en-US" dirty="0" smtClean="0"/>
              <a:t>如何購買</a:t>
            </a:r>
            <a:endParaRPr lang="en-US" dirty="0"/>
          </a:p>
        </p:txBody>
      </p:sp>
      <p:sp>
        <p:nvSpPr>
          <p:cNvPr id="9" name="Rectangle 8"/>
          <p:cNvSpPr/>
          <p:nvPr/>
        </p:nvSpPr>
        <p:spPr>
          <a:xfrm>
            <a:off x="906086" y="5328458"/>
            <a:ext cx="7872154" cy="1261884"/>
          </a:xfrm>
          <a:prstGeom prst="rect">
            <a:avLst/>
          </a:prstGeom>
        </p:spPr>
        <p:txBody>
          <a:bodyPr wrap="square">
            <a:spAutoFit/>
          </a:bodyPr>
          <a:lstStyle/>
          <a:p>
            <a:r>
              <a:rPr lang="zh-TW" altLang="en-US" dirty="0"/>
              <a:t>政府機關</a:t>
            </a:r>
            <a:r>
              <a:rPr lang="en-US" sz="2400" dirty="0" smtClean="0">
                <a:hlinkClick r:id="rId7"/>
              </a:rPr>
              <a:t>http</a:t>
            </a:r>
            <a:r>
              <a:rPr lang="en-US" sz="2400" dirty="0">
                <a:hlinkClick r:id="rId7"/>
              </a:rPr>
              <a:t>://</a:t>
            </a:r>
            <a:r>
              <a:rPr lang="en-US" sz="2400" dirty="0" smtClean="0">
                <a:hlinkClick r:id="rId7"/>
              </a:rPr>
              <a:t>www.adobe.com/content/dotcom/tw/volume-licensing/government.html</a:t>
            </a:r>
            <a:endParaRPr lang="en-US" sz="2400" dirty="0"/>
          </a:p>
        </p:txBody>
      </p:sp>
      <p:sp>
        <p:nvSpPr>
          <p:cNvPr id="2" name="投影片編號版面配置區 1"/>
          <p:cNvSpPr>
            <a:spLocks noGrp="1"/>
          </p:cNvSpPr>
          <p:nvPr>
            <p:ph type="sldNum" sz="quarter" idx="12"/>
          </p:nvPr>
        </p:nvSpPr>
        <p:spPr/>
        <p:txBody>
          <a:bodyPr/>
          <a:lstStyle/>
          <a:p>
            <a:pPr>
              <a:defRPr/>
            </a:pPr>
            <a:fld id="{1D9970BA-2F58-4996-9806-696110DA0FEA}" type="slidenum">
              <a:rPr lang="en-US" smtClean="0"/>
              <a:pPr>
                <a:defRPr/>
              </a:pPr>
              <a:t>8</a:t>
            </a:fld>
            <a:endParaRPr lang="zh-CN" altLang="en-US"/>
          </a:p>
        </p:txBody>
      </p:sp>
    </p:spTree>
    <p:extLst>
      <p:ext uri="{BB962C8B-B14F-4D97-AF65-F5344CB8AC3E}">
        <p14:creationId xmlns:p14="http://schemas.microsoft.com/office/powerpoint/2010/main" val="107028561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ltLang="zh-TW" sz="2800" b="1" dirty="0">
                <a:solidFill>
                  <a:srgbClr val="FFFF00"/>
                </a:solidFill>
                <a:latin typeface="+mn-ea"/>
              </a:rPr>
              <a:t>Adobe </a:t>
            </a:r>
            <a:r>
              <a:rPr lang="zh-TW" altLang="en-US" sz="2800" b="1" dirty="0">
                <a:solidFill>
                  <a:srgbClr val="FFFF00"/>
                </a:solidFill>
                <a:latin typeface="+mn-ea"/>
              </a:rPr>
              <a:t>軟體常見授權問題 </a:t>
            </a:r>
            <a:r>
              <a:rPr lang="en-US" altLang="zh-TW" sz="2800" b="1" dirty="0">
                <a:solidFill>
                  <a:srgbClr val="FFFF00"/>
                </a:solidFill>
                <a:latin typeface="+mn-ea"/>
              </a:rPr>
              <a:t>Q&amp;A</a:t>
            </a:r>
            <a:endParaRPr lang="en-US" sz="2800" b="1" dirty="0">
              <a:solidFill>
                <a:srgbClr val="FFFF00"/>
              </a:solidFill>
              <a:latin typeface="+mn-ea"/>
            </a:endParaRPr>
          </a:p>
        </p:txBody>
      </p:sp>
      <p:sp>
        <p:nvSpPr>
          <p:cNvPr id="3" name="Content Placeholder 2"/>
          <p:cNvSpPr>
            <a:spLocks noGrp="1"/>
          </p:cNvSpPr>
          <p:nvPr>
            <p:ph idx="1"/>
          </p:nvPr>
        </p:nvSpPr>
        <p:spPr/>
        <p:txBody>
          <a:bodyPr>
            <a:normAutofit fontScale="85000" lnSpcReduction="10000"/>
          </a:bodyPr>
          <a:lstStyle/>
          <a:p>
            <a:pPr marL="457200" lvl="0" indent="-457200">
              <a:buSzPct val="100000"/>
              <a:buFont typeface="+mj-lt"/>
              <a:buAutoNum type="arabicPeriod"/>
            </a:pPr>
            <a:r>
              <a:rPr lang="en-US" b="1" dirty="0" err="1">
                <a:latin typeface="+mn-ea"/>
              </a:rPr>
              <a:t>是否可購買一份授權軟體，然後安裝到多台電腦上</a:t>
            </a:r>
            <a:r>
              <a:rPr lang="en-US" b="1" dirty="0">
                <a:latin typeface="+mn-ea"/>
              </a:rPr>
              <a:t>？ </a:t>
            </a:r>
            <a:endParaRPr lang="en-US" dirty="0">
              <a:latin typeface="+mn-ea"/>
            </a:endParaRPr>
          </a:p>
          <a:p>
            <a:pPr lvl="1"/>
            <a:r>
              <a:rPr lang="en-US" dirty="0" err="1">
                <a:latin typeface="+mn-ea"/>
              </a:rPr>
              <a:t>否。大多數使用者授權規範的條款都不允許這樣做。這意味著不允許您與朋友或同事“共享</a:t>
            </a:r>
            <a:r>
              <a:rPr lang="en-US" dirty="0">
                <a:latin typeface="+mn-ea"/>
              </a:rPr>
              <a:t>” </a:t>
            </a:r>
            <a:r>
              <a:rPr lang="en-US" dirty="0" err="1">
                <a:latin typeface="+mn-ea"/>
              </a:rPr>
              <a:t>軟體，也不允許在家用</a:t>
            </a:r>
            <a:r>
              <a:rPr lang="en-US" dirty="0">
                <a:latin typeface="+mn-ea"/>
              </a:rPr>
              <a:t>/</a:t>
            </a:r>
            <a:r>
              <a:rPr lang="en-US" dirty="0" err="1">
                <a:latin typeface="+mn-ea"/>
              </a:rPr>
              <a:t>筆記本電腦上安裝</a:t>
            </a:r>
            <a:r>
              <a:rPr lang="zh-TW" altLang="en-US" dirty="0">
                <a:latin typeface="+mn-ea"/>
              </a:rPr>
              <a:t>同一份</a:t>
            </a:r>
            <a:r>
              <a:rPr lang="en-US" dirty="0" err="1">
                <a:latin typeface="+mn-ea"/>
              </a:rPr>
              <a:t>軟體，除非</a:t>
            </a:r>
            <a:r>
              <a:rPr lang="zh-TW" altLang="en-US" dirty="0">
                <a:latin typeface="+mn-ea"/>
              </a:rPr>
              <a:t>該軟體的</a:t>
            </a:r>
            <a:r>
              <a:rPr lang="en-US" dirty="0" err="1">
                <a:latin typeface="+mn-ea"/>
              </a:rPr>
              <a:t>授權</a:t>
            </a:r>
            <a:r>
              <a:rPr lang="zh-TW" altLang="en-US" dirty="0">
                <a:latin typeface="+mn-ea"/>
              </a:rPr>
              <a:t>規範有不同的規定</a:t>
            </a:r>
            <a:r>
              <a:rPr lang="en-US" dirty="0" smtClean="0">
                <a:latin typeface="+mn-ea"/>
              </a:rPr>
              <a:t>。</a:t>
            </a:r>
          </a:p>
          <a:p>
            <a:pPr marL="231775" lvl="1" indent="0">
              <a:buNone/>
            </a:pPr>
            <a:endParaRPr lang="en-US" dirty="0">
              <a:latin typeface="+mn-ea"/>
            </a:endParaRPr>
          </a:p>
          <a:p>
            <a:pPr marL="457200" lvl="0" indent="-457200">
              <a:buSzPct val="100000"/>
              <a:buFont typeface="+mj-lt"/>
              <a:buAutoNum type="arabicPeriod"/>
            </a:pPr>
            <a:r>
              <a:rPr lang="en-US" b="1" dirty="0" err="1">
                <a:latin typeface="+mn-ea"/>
              </a:rPr>
              <a:t>是否可購買一份授權軟體，然後安裝到某一電腦或伺服器，讓同事透過遠端存取分享使用其軟體並降低軟體成本</a:t>
            </a:r>
            <a:r>
              <a:rPr lang="en-US" b="1" dirty="0">
                <a:latin typeface="+mn-ea"/>
              </a:rPr>
              <a:t>？ </a:t>
            </a:r>
            <a:endParaRPr lang="en-US" dirty="0">
              <a:latin typeface="+mn-ea"/>
            </a:endParaRPr>
          </a:p>
          <a:p>
            <a:pPr lvl="1"/>
            <a:r>
              <a:rPr lang="en-US" dirty="0" err="1">
                <a:latin typeface="+mn-ea"/>
              </a:rPr>
              <a:t>否。若依上述使用方式，其軟體使用者總人數</a:t>
            </a:r>
            <a:r>
              <a:rPr lang="en-US" dirty="0">
                <a:latin typeface="+mn-ea"/>
              </a:rPr>
              <a:t> (</a:t>
            </a:r>
            <a:r>
              <a:rPr lang="en-US" dirty="0" err="1">
                <a:latin typeface="+mn-ea"/>
              </a:rPr>
              <a:t>非同時使用之人數</a:t>
            </a:r>
            <a:r>
              <a:rPr lang="en-US" dirty="0">
                <a:latin typeface="+mn-ea"/>
              </a:rPr>
              <a:t>) </a:t>
            </a:r>
            <a:r>
              <a:rPr lang="en-US" dirty="0" err="1">
                <a:latin typeface="+mn-ea"/>
              </a:rPr>
              <a:t>仍不得超過授權數量。最佳降低軟體成本的方案應是先實行完整軟體資產管理再依其報告選擇最適合的採購方案</a:t>
            </a:r>
            <a:r>
              <a:rPr lang="en-US" dirty="0" smtClean="0">
                <a:latin typeface="+mn-ea"/>
              </a:rPr>
              <a:t>。</a:t>
            </a:r>
          </a:p>
        </p:txBody>
      </p:sp>
      <p:sp>
        <p:nvSpPr>
          <p:cNvPr id="4" name="Slide Number Placeholder 3"/>
          <p:cNvSpPr>
            <a:spLocks noGrp="1"/>
          </p:cNvSpPr>
          <p:nvPr>
            <p:ph type="sldNum" sz="quarter" idx="12"/>
          </p:nvPr>
        </p:nvSpPr>
        <p:spPr/>
        <p:txBody>
          <a:bodyPr/>
          <a:lstStyle/>
          <a:p>
            <a:pPr algn="ctr"/>
            <a:fld id="{90156F56-D5AE-4C6F-B826-C69D1BC521BB}" type="slidenum">
              <a:rPr lang="en-US" smtClean="0"/>
              <a:pPr algn="ctr"/>
              <a:t>9</a:t>
            </a:fld>
            <a:endParaRPr lang="en-US" dirty="0"/>
          </a:p>
        </p:txBody>
      </p:sp>
    </p:spTree>
    <p:extLst>
      <p:ext uri="{BB962C8B-B14F-4D97-AF65-F5344CB8AC3E}">
        <p14:creationId xmlns:p14="http://schemas.microsoft.com/office/powerpoint/2010/main" val="26563918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A9ha9EdskmRwcLpio2l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3ExAoscC0.5.wcoScrRL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k_lsYvkUkONEcaWB.2M9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3FftBl.mUu8ndHbeo1H_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s.stme8MB06jvvhMyZEBq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eCKhzR1NUmrxPxxilSdu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YYuxGAjgpEewc3aju1zDz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SM46uuB6EKeRggKqkg0ew"/>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SM46uuB6EKeRggKqkg0e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YuxGAjgpEewc3aju1zDz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A7c7tpIoUmOSgNjPoiM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JqMcIxuHkecbcohzRUEj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d7tA13gYFkqkovRhOOH42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d7tA13gYFkqkovRhOOH42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7tA13gYFkqkovRhOOH42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7tA13gYFkqkovRhOOH42A"/>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84sQYj4RUWkGnuJgnjB3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9Qjg8ZpK0eLKnUwIeYi1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daHN2pIskGpSco0o6ZFY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AjrmfnHu06VHfSlzrJ5R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wB7nkbsok.tCv7cEnQxU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qDyRexS7UmovuOb.Z3TPQ"/>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波形">
  <a:themeElements>
    <a:clrScheme name="波形">
      <a:dk1>
        <a:sysClr val="windowText" lastClr="000000"/>
      </a:dk1>
      <a:lt1>
        <a:sysClr val="window" lastClr="FFFFFF"/>
      </a:lt1>
      <a:dk2>
        <a:srgbClr val="073E87"/>
      </a:dk2>
      <a:lt2>
        <a:srgbClr val="C6E7FC"/>
      </a:lt2>
      <a:accent1>
        <a:srgbClr val="31B6FD"/>
      </a:accent1>
      <a:accent2>
        <a:srgbClr val="4584D3"/>
      </a:accent2>
      <a:accent3>
        <a:srgbClr val="5BD078"/>
      </a:accent3>
      <a:accent4>
        <a:srgbClr val="A5D028"/>
      </a:accent4>
      <a:accent5>
        <a:srgbClr val="F5C040"/>
      </a:accent5>
      <a:accent6>
        <a:srgbClr val="05E0DB"/>
      </a:accent6>
      <a:hlink>
        <a:srgbClr val="0080FF"/>
      </a:hlink>
      <a:folHlink>
        <a:srgbClr val="5EAEFF"/>
      </a:folHlink>
    </a:clrScheme>
    <a:fontScheme name="波形">
      <a:majorFont>
        <a:latin typeface="Candara"/>
        <a:ea typeface=""/>
        <a:cs typeface=""/>
        <a:font script="Jpan" typeface="HGP明朝E"/>
        <a:font script="Hang" typeface="HY그래픽M"/>
        <a:font script="Hans" typeface="华文新魏"/>
        <a:font script="Hant" typeface="標楷體"/>
        <a:font script="Arab" typeface="Arial"/>
        <a:font script="Hebr" typeface="Arial"/>
        <a:font script="Thai" typeface="Kodchiang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ndara"/>
        <a:ea typeface=""/>
        <a:cs typeface=""/>
        <a:font script="Jpan" typeface="HGP明朝E"/>
        <a:font script="Hang" typeface="HY그래픽M"/>
        <a:font script="Hans" typeface="华文楷体"/>
        <a:font script="Hant" typeface="標楷體"/>
        <a:font script="Arab" typeface="Arial"/>
        <a:font script="Hebr" typeface="Arial"/>
        <a:font script="Thai" typeface="Kodchiang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波形">
      <a:fillStyleLst>
        <a:solidFill>
          <a:schemeClr val="phClr"/>
        </a:solidFill>
        <a:gradFill rotWithShape="1">
          <a:gsLst>
            <a:gs pos="0">
              <a:schemeClr val="phClr">
                <a:tint val="0"/>
              </a:schemeClr>
            </a:gs>
            <a:gs pos="44000">
              <a:schemeClr val="phClr">
                <a:tint val="60000"/>
                <a:satMod val="120000"/>
              </a:schemeClr>
            </a:gs>
            <a:gs pos="100000">
              <a:schemeClr val="phClr">
                <a:tint val="90000"/>
                <a:alpha val="100000"/>
                <a:lumMod val="90000"/>
              </a:schemeClr>
            </a:gs>
          </a:gsLst>
          <a:lin ang="5400000" scaled="0"/>
        </a:gradFill>
        <a:gradFill rotWithShape="1">
          <a:gsLst>
            <a:gs pos="0">
              <a:schemeClr val="phClr">
                <a:tint val="96000"/>
                <a:satMod val="120000"/>
                <a:lumMod val="120000"/>
              </a:schemeClr>
            </a:gs>
            <a:gs pos="100000">
              <a:schemeClr val="phClr">
                <a:shade val="89000"/>
                <a:lumMod val="90000"/>
              </a:schemeClr>
            </a:gs>
          </a:gsLst>
          <a:lin ang="5400000" scaled="0"/>
        </a:gradFill>
      </a:fillStyleLst>
      <a:lnStyleLst>
        <a:ln w="9525" cap="flat" cmpd="sng" algn="ctr">
          <a:solidFill>
            <a:schemeClr val="phClr"/>
          </a:solidFill>
          <a:prstDash val="solid"/>
        </a:ln>
        <a:ln w="15875" cap="flat" cmpd="sng" algn="ctr">
          <a:solidFill>
            <a:schemeClr val="phClr">
              <a:shade val="75000"/>
              <a:lumMod val="80000"/>
            </a:schemeClr>
          </a:solidFill>
          <a:prstDash val="solid"/>
        </a:ln>
        <a:ln w="25400" cap="flat" cmpd="sng" algn="ctr">
          <a:solidFill>
            <a:schemeClr val="phClr"/>
          </a:solidFill>
          <a:prstDash val="solid"/>
        </a:ln>
      </a:lnStyleLst>
      <a:effectStyleLst>
        <a:effectStyle>
          <a:effectLst/>
        </a:effectStyle>
        <a:effectStyle>
          <a:effectLst>
            <a:outerShdw blurRad="50800" dist="25400" dir="5400000" rotWithShape="0">
              <a:srgbClr val="000000">
                <a:alpha val="38000"/>
              </a:srgbClr>
            </a:outerShdw>
          </a:effectLst>
          <a:scene3d>
            <a:camera prst="orthographicFront">
              <a:rot lat="0" lon="0" rev="0"/>
            </a:camera>
            <a:lightRig rig="flat" dir="tl">
              <a:rot lat="0" lon="0" rev="6360000"/>
            </a:lightRig>
          </a:scene3d>
          <a:sp3d prstMaterial="flat">
            <a:bevelT w="12700" h="12700"/>
          </a:sp3d>
        </a:effectStyle>
        <a:effectStyle>
          <a:effectLst>
            <a:outerShdw blurRad="50800" dist="25400" dir="5400000" rotWithShape="0">
              <a:srgbClr val="000000">
                <a:alpha val="38000"/>
              </a:srgbClr>
            </a:outerShdw>
          </a:effectLst>
          <a:scene3d>
            <a:camera prst="orthographicFront">
              <a:rot lat="0" lon="0" rev="0"/>
            </a:camera>
            <a:lightRig rig="flat" dir="tl">
              <a:rot lat="0" lon="0" rev="6360000"/>
            </a:lightRig>
          </a:scene3d>
          <a:sp3d contourW="19050" prstMaterial="flat">
            <a:bevelT w="63500" h="63500"/>
            <a:contourClr>
              <a:schemeClr val="phClr">
                <a:shade val="25000"/>
                <a:satMod val="180000"/>
              </a:schemeClr>
            </a:contourClr>
          </a:sp3d>
        </a:effectStyle>
      </a:effectStyleLst>
      <a:bgFillStyleLst>
        <a:solidFill>
          <a:schemeClr val="phClr"/>
        </a:solidFill>
        <a:gradFill rotWithShape="1">
          <a:gsLst>
            <a:gs pos="40000">
              <a:schemeClr val="phClr">
                <a:tint val="94000"/>
                <a:shade val="94000"/>
                <a:alpha val="100000"/>
                <a:satMod val="114000"/>
                <a:lumMod val="114000"/>
              </a:schemeClr>
            </a:gs>
            <a:gs pos="74000">
              <a:schemeClr val="phClr">
                <a:tint val="94000"/>
                <a:shade val="94000"/>
                <a:satMod val="128000"/>
                <a:lumMod val="100000"/>
              </a:schemeClr>
            </a:gs>
            <a:gs pos="100000">
              <a:schemeClr val="phClr">
                <a:tint val="98000"/>
                <a:shade val="100000"/>
                <a:hueMod val="98000"/>
                <a:satMod val="100000"/>
                <a:lumMod val="74000"/>
              </a:schemeClr>
            </a:gs>
          </a:gsLst>
          <a:path path="circle">
            <a:fillToRect l="20000" t="-40000" r="20000" b="140000"/>
          </a:path>
        </a:gradFill>
        <a:blipFill rotWithShape="1">
          <a:blip xmlns:r="http://schemas.openxmlformats.org/officeDocument/2006/relationships" r:embed="rId1">
            <a:duotone>
              <a:schemeClr val="phClr">
                <a:tint val="96000"/>
                <a:satMod val="130000"/>
                <a:lumMod val="50000"/>
              </a:schemeClr>
              <a:schemeClr val="phClr">
                <a:tint val="96000"/>
                <a:satMod val="114000"/>
                <a:lumMod val="114000"/>
              </a:schemeClr>
            </a:duotone>
          </a:blip>
          <a:stretch/>
        </a:blipFill>
      </a:bgFillStyleLst>
    </a:fmtScheme>
  </a:themeElements>
  <a:objectDefaults/>
  <a:extraClrSchemeLst/>
</a:theme>
</file>

<file path=ppt/theme/theme2.xml><?xml version="1.0" encoding="utf-8"?>
<a:theme xmlns:a="http://schemas.openxmlformats.org/drawingml/2006/main" name="1_Adobe Master Standard">
  <a:themeElements>
    <a:clrScheme name="Adobe 2009">
      <a:dk1>
        <a:srgbClr val="000000"/>
      </a:dk1>
      <a:lt1>
        <a:sysClr val="window" lastClr="FFFFFF"/>
      </a:lt1>
      <a:dk2>
        <a:srgbClr val="6B737B"/>
      </a:dk2>
      <a:lt2>
        <a:srgbClr val="DADDE0"/>
      </a:lt2>
      <a:accent1>
        <a:srgbClr val="C1D82F"/>
      </a:accent1>
      <a:accent2>
        <a:srgbClr val="00A4E4"/>
      </a:accent2>
      <a:accent3>
        <a:srgbClr val="8348B5"/>
      </a:accent3>
      <a:accent4>
        <a:srgbClr val="FBB034"/>
      </a:accent4>
      <a:accent5>
        <a:srgbClr val="FFDD00"/>
      </a:accent5>
      <a:accent6>
        <a:srgbClr val="FF0000"/>
      </a:accent6>
      <a:hlink>
        <a:srgbClr val="000000"/>
      </a:hlink>
      <a:folHlink>
        <a:srgbClr val="3F3F3F"/>
      </a:folHlink>
    </a:clrScheme>
    <a:fontScheme name="Adobe Clean 2009">
      <a:majorFont>
        <a:latin typeface="Adobe Clean"/>
        <a:ea typeface=""/>
        <a:cs typeface=""/>
      </a:majorFont>
      <a:minorFont>
        <a:latin typeface="Adobe Clean"/>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Windows_Server_Management_Marketing_Template_16x9_v12">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lnSpc>
            <a:spcPct val="90000"/>
          </a:lnSpc>
          <a:spcBef>
            <a:spcPct val="0"/>
          </a:spcBef>
          <a:spcAft>
            <a:spcPct val="0"/>
          </a:spcAft>
          <a:defRPr sz="2000" spc="-50" dirty="0" smtClean="0">
            <a:gradFill>
              <a:gsLst>
                <a:gs pos="0">
                  <a:schemeClr val="bg1"/>
                </a:gs>
                <a:gs pos="100000">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10_Windows8.1FWTheme">
  <a:themeElements>
    <a:clrScheme name="Windows 8">
      <a:dk1>
        <a:srgbClr val="000000"/>
      </a:dk1>
      <a:lt1>
        <a:srgbClr val="FFFFFF"/>
      </a:lt1>
      <a:dk2>
        <a:srgbClr val="00BCF2"/>
      </a:dk2>
      <a:lt2>
        <a:srgbClr val="FFFFFF"/>
      </a:lt2>
      <a:accent1>
        <a:srgbClr val="00BCF2"/>
      </a:accent1>
      <a:accent2>
        <a:srgbClr val="9B4F96"/>
      </a:accent2>
      <a:accent3>
        <a:srgbClr val="E81123"/>
      </a:accent3>
      <a:accent4>
        <a:srgbClr val="00188F"/>
      </a:accent4>
      <a:accent5>
        <a:srgbClr val="7FBA00"/>
      </a:accent5>
      <a:accent6>
        <a:srgbClr val="FF8C00"/>
      </a:accent6>
      <a:hlink>
        <a:srgbClr val="000000"/>
      </a:hlink>
      <a:folHlink>
        <a:srgbClr val="0C0C0C"/>
      </a:folHlink>
    </a:clrScheme>
    <a:fontScheme name="Segoe UI">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solidFill>
              <a:schemeClr val="bg2"/>
            </a:solidFill>
          </a:defRPr>
        </a:defPPr>
      </a:lstStyle>
    </a:txDef>
  </a:objectDefaults>
  <a:extraClrSchemeLst/>
  <a:extLst>
    <a:ext uri="{05A4C25C-085E-4340-85A3-A5531E510DB2}">
      <thm15:themeFamily xmlns:thm15="http://schemas.microsoft.com/office/thememl/2012/main" xmlns="" name="Windows8.1FWTheme" id="{856BAEAE-9858-4E03-999A-BE6B297FCF56}" vid="{73BEDF9F-196D-4134-9F80-010EDE58A4CF}"/>
    </a:ext>
  </a:extLst>
</a:theme>
</file>

<file path=ppt/theme/theme5.xml><?xml version="1.0" encoding="utf-8"?>
<a:theme xmlns:a="http://schemas.openxmlformats.org/drawingml/2006/main" name="WINDOWS_10_COLOR TEMPLATE">
  <a:themeElements>
    <a:clrScheme name="Custom 20">
      <a:dk1>
        <a:srgbClr val="505050"/>
      </a:dk1>
      <a:lt1>
        <a:srgbClr val="FFFFFF"/>
      </a:lt1>
      <a:dk2>
        <a:srgbClr val="0078D7"/>
      </a:dk2>
      <a:lt2>
        <a:srgbClr val="FFFFFF"/>
      </a:lt2>
      <a:accent1>
        <a:srgbClr val="002050"/>
      </a:accent1>
      <a:accent2>
        <a:srgbClr val="B4009E"/>
      </a:accent2>
      <a:accent3>
        <a:srgbClr val="107C10"/>
      </a:accent3>
      <a:accent4>
        <a:srgbClr val="5C2D91"/>
      </a:accent4>
      <a:accent5>
        <a:srgbClr val="004B50"/>
      </a:accent5>
      <a:accent6>
        <a:srgbClr val="E81123"/>
      </a:accent6>
      <a:hlink>
        <a:srgbClr val="CDF4FF"/>
      </a:hlink>
      <a:folHlink>
        <a:srgbClr val="CDF4FF"/>
      </a:folHlink>
    </a:clrScheme>
    <a:fontScheme name="Custom 3">
      <a:majorFont>
        <a:latin typeface="Segoe UI"/>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xmlns="" name="Windows_10_Event_template 1.16" id="{9C961ECC-B3C3-4BB2-B887-A162D3775BDB}" vid="{2221DF70-A440-4103-A493-E728C60D2512}"/>
    </a:ext>
  </a:extLst>
</a:theme>
</file>

<file path=ppt/theme/theme6.xml><?xml version="1.0" encoding="utf-8"?>
<a:theme xmlns:a="http://schemas.openxmlformats.org/drawingml/2006/main" name="Office 佈景主題">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100000" t="-60000" r="100000" b="200000"/>
          </a:path>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7.xml><?xml version="1.0" encoding="utf-8"?>
<a:theme xmlns:a="http://schemas.openxmlformats.org/drawingml/2006/main" name="Office 佈景主題">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100000" t="-60000" r="100000" b="200000"/>
          </a:path>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54212B29FBEAA46B105DFC814A81ED0" ma:contentTypeVersion="0" ma:contentTypeDescription="Create a new document." ma:contentTypeScope="" ma:versionID="15d7e422eba2e0b8c6855e877847b91a">
  <xsd:schema xmlns:xsd="http://www.w3.org/2001/XMLSchema" xmlns:xs="http://www.w3.org/2001/XMLSchema" xmlns:p="http://schemas.microsoft.com/office/2006/metadata/properties" targetNamespace="http://schemas.microsoft.com/office/2006/metadata/properties" ma:root="true" ma:fieldsID="864dd763a4ddfd37160da81595eb4b3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7266D7F-103C-42A4-A46B-EBD6B239D95B}">
  <ds:schemaRefs>
    <ds:schemaRef ds:uri="http://schemas.microsoft.com/sharepoint/v3/contenttype/forms"/>
  </ds:schemaRefs>
</ds:datastoreItem>
</file>

<file path=customXml/itemProps2.xml><?xml version="1.0" encoding="utf-8"?>
<ds:datastoreItem xmlns:ds="http://schemas.openxmlformats.org/officeDocument/2006/customXml" ds:itemID="{796DF88B-A53F-459C-98AA-3776D0BA203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8A644AD7-B151-4AB4-B830-B900D510E48F}">
  <ds:schemaRefs>
    <ds:schemaRef ds:uri="http://purl.org/dc/terms/"/>
    <ds:schemaRef ds:uri="http://schemas.microsoft.com/office/2006/documentManagement/types"/>
    <ds:schemaRef ds:uri="http://schemas.microsoft.com/office/infopath/2007/PartnerControls"/>
    <ds:schemaRef ds:uri="http://schemas.microsoft.com/office/2006/metadata/properties"/>
    <ds:schemaRef ds:uri="http://purl.org/dc/elements/1.1/"/>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0</TotalTime>
  <Words>6136</Words>
  <Application>Microsoft Office PowerPoint</Application>
  <PresentationFormat>如螢幕大小 (4:3)</PresentationFormat>
  <Paragraphs>911</Paragraphs>
  <Slides>72</Slides>
  <Notes>27</Notes>
  <HiddenSlides>1</HiddenSlides>
  <MMClips>0</MMClips>
  <ScaleCrop>false</ScaleCrop>
  <HeadingPairs>
    <vt:vector size="6" baseType="variant">
      <vt:variant>
        <vt:lpstr>佈景主題</vt:lpstr>
      </vt:variant>
      <vt:variant>
        <vt:i4>5</vt:i4>
      </vt:variant>
      <vt:variant>
        <vt:lpstr>內嵌 OLE 伺服程式</vt:lpstr>
      </vt:variant>
      <vt:variant>
        <vt:i4>2</vt:i4>
      </vt:variant>
      <vt:variant>
        <vt:lpstr>投影片標題</vt:lpstr>
      </vt:variant>
      <vt:variant>
        <vt:i4>72</vt:i4>
      </vt:variant>
    </vt:vector>
  </HeadingPairs>
  <TitlesOfParts>
    <vt:vector size="79" baseType="lpstr">
      <vt:lpstr>波形</vt:lpstr>
      <vt:lpstr>1_Adobe Master Standard</vt:lpstr>
      <vt:lpstr>1_Windows_Server_Management_Marketing_Template_16x9_v12</vt:lpstr>
      <vt:lpstr>10_Windows8.1FWTheme</vt:lpstr>
      <vt:lpstr>WINDOWS_10_COLOR TEMPLATE</vt:lpstr>
      <vt:lpstr>Worksheet</vt:lpstr>
      <vt:lpstr>think-cell Slide</vt:lpstr>
      <vt:lpstr>主題二：政府採購常見被誤導或混淆的軟體授權概念 </vt:lpstr>
      <vt:lpstr>政府採購常見被誤導或混淆的軟體授權概念，以Adobe, Autodesk and Microsoft 產品為例</vt:lpstr>
      <vt:lpstr>Adobe 軟體授權說明</vt:lpstr>
      <vt:lpstr>PowerPoint 簡報</vt:lpstr>
      <vt:lpstr>Creative Cloud 的內容</vt:lpstr>
      <vt:lpstr>PowerPoint 簡報</vt:lpstr>
      <vt:lpstr>PowerPoint 簡報</vt:lpstr>
      <vt:lpstr>如何購買</vt:lpstr>
      <vt:lpstr>Adobe 軟體常見授權問題 Q&amp;A</vt:lpstr>
      <vt:lpstr>Adobe 軟體常見授權問題 Q&amp;A</vt:lpstr>
      <vt:lpstr>Adobe 軟體常見授權問題 Q&amp;A</vt:lpstr>
      <vt:lpstr>甚麼是授權？</vt:lpstr>
      <vt:lpstr>購買授權的方式</vt:lpstr>
      <vt:lpstr>Windows  授權模式</vt:lpstr>
      <vt:lpstr>PowerPoint 簡報</vt:lpstr>
      <vt:lpstr>合格的作業系統</vt:lpstr>
      <vt:lpstr>PowerPoint 簡報</vt:lpstr>
      <vt:lpstr>PowerPoint 簡報</vt:lpstr>
      <vt:lpstr>常見微軟授權疑問一: </vt:lpstr>
      <vt:lpstr>Windows 大量授權 vs. 隨機版</vt:lpstr>
      <vt:lpstr>常見微軟授權疑問二: </vt:lpstr>
      <vt:lpstr>常見Windows授權誤用實際案例</vt:lpstr>
      <vt:lpstr>常見微軟Windows作業系統授權疑問三:</vt:lpstr>
      <vt:lpstr>PowerPoint 簡報</vt:lpstr>
      <vt:lpstr>舊機合法專案(GGWA)</vt:lpstr>
      <vt:lpstr>微軟軟體授權的基本規範</vt:lpstr>
      <vt:lpstr>PowerPoint 簡報</vt:lpstr>
      <vt:lpstr>Windows 10 桌面版本</vt:lpstr>
      <vt:lpstr>Windows as a Service 到底是什麼意思？</vt:lpstr>
      <vt:lpstr>Windows 10 “永保更新” 升級計畫</vt:lpstr>
      <vt:lpstr>PowerPoint 簡報</vt:lpstr>
      <vt:lpstr>PowerPoint 簡報</vt:lpstr>
      <vt:lpstr>PowerPoint 簡報</vt:lpstr>
      <vt:lpstr>PowerPoint 簡報</vt:lpstr>
      <vt:lpstr>PowerPoint 簡報</vt:lpstr>
      <vt:lpstr>PowerPoint 簡報</vt:lpstr>
      <vt:lpstr>Office 授權模式</vt:lpstr>
      <vt:lpstr>Office 授權模式一</vt:lpstr>
      <vt:lpstr>Office 授權模式二</vt:lpstr>
      <vt:lpstr>新增Office 授權模式: Office 365 </vt:lpstr>
      <vt:lpstr>Office 365 授權概觀</vt:lpstr>
      <vt:lpstr>O365 通路比較</vt:lpstr>
      <vt:lpstr>Server  授權模式</vt:lpstr>
      <vt:lpstr>三種最常見的 Server 授權模式</vt:lpstr>
      <vt:lpstr>Server/Processor + CAL 的授權模式</vt:lpstr>
      <vt:lpstr>何謂CAL?</vt:lpstr>
      <vt:lpstr>CAL 的指定方式</vt:lpstr>
      <vt:lpstr>間接存取的CAL也需計算</vt:lpstr>
      <vt:lpstr>Windows Server  授權模式</vt:lpstr>
      <vt:lpstr>Windows Server 2012 R2 授權模式</vt:lpstr>
      <vt:lpstr>Windows Server 2012 R2 授權重點</vt:lpstr>
      <vt:lpstr>客戶情境 </vt:lpstr>
      <vt:lpstr>SQL Server  授權模式</vt:lpstr>
      <vt:lpstr>Core 授權模式</vt:lpstr>
      <vt:lpstr>SQL Server 2014 授權</vt:lpstr>
      <vt:lpstr>有 SA 才有 SQL ‘Fail-Over Servers’ 權利</vt:lpstr>
      <vt:lpstr>SQL BI Edition 在多工環境 (Multiplexing) 裡的規範</vt:lpstr>
      <vt:lpstr>Azure 雲端授權概觀</vt:lpstr>
      <vt:lpstr>Azure 雲端授權概觀</vt:lpstr>
      <vt:lpstr>重要授權資源</vt:lpstr>
      <vt:lpstr>常被搞混的授權觀念</vt:lpstr>
      <vt:lpstr>微軟Server/CAL常見的授權疑問一:</vt:lpstr>
      <vt:lpstr>微軟Server/CAL常見的授權疑問二: SQL Server - Multiplexing</vt:lpstr>
      <vt:lpstr>微軟Server/CAL常見的授權疑問三:</vt:lpstr>
      <vt:lpstr>PowerPoint 簡報</vt:lpstr>
      <vt:lpstr>PowerPoint 簡報</vt:lpstr>
      <vt:lpstr>如何確認收到的檔案為正版軟體所製作</vt:lpstr>
      <vt:lpstr>如何進行自我軟體檢測</vt:lpstr>
      <vt:lpstr>如何進行自我軟體檢測</vt:lpstr>
      <vt:lpstr>如何進行自我軟體檢測</vt:lpstr>
      <vt:lpstr>問題討論</vt:lpstr>
      <vt:lpstr>  Thank You</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07-01-28T14:29:29Z</dcterms:created>
  <dcterms:modified xsi:type="dcterms:W3CDTF">2015-08-05T01:07: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54212B29FBEAA46B105DFC814A81ED0</vt:lpwstr>
  </property>
  <property fmtid="{D5CDD505-2E9C-101B-9397-08002B2CF9AE}" pid="3" name="IsMyDocuments">
    <vt:bool>true</vt:bool>
  </property>
</Properties>
</file>